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2.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3.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4.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5.xml" ContentType="application/vnd.openxmlformats-officedocument.them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6.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7.xml" ContentType="application/vnd.openxmlformats-officedocument.theme+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8.xml" ContentType="application/vnd.openxmlformats-officedocument.theme+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theme/theme9.xml" ContentType="application/vnd.openxmlformats-officedocument.theme+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theme/theme10.xml" ContentType="application/vnd.openxmlformats-officedocument.theme+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theme/theme11.xml" ContentType="application/vnd.openxmlformats-officedocument.theme+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theme/theme12.xml" ContentType="application/vnd.openxmlformats-officedocument.theme+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theme/theme13.xml" ContentType="application/vnd.openxmlformats-officedocument.theme+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theme/theme14.xml" ContentType="application/vnd.openxmlformats-officedocument.theme+xml"/>
  <Override PartName="/ppt/tags/tag1.xml" ContentType="application/vnd.openxmlformats-officedocument.presentationml.tags+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theme/theme15.xml" ContentType="application/vnd.openxmlformats-officedocument.theme+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theme/theme16.xml" ContentType="application/vnd.openxmlformats-officedocument.theme+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theme/theme17.xml" ContentType="application/vnd.openxmlformats-officedocument.theme+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theme/theme18.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theme/theme19.xml" ContentType="application/vnd.openxmlformats-officedocument.theme+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theme/theme20.xml" ContentType="application/vnd.openxmlformats-officedocument.theme+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theme/theme21.xml" ContentType="application/vnd.openxmlformats-officedocument.theme+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theme/theme22.xml" ContentType="application/vnd.openxmlformats-officedocument.theme+xml"/>
  <Override PartName="/ppt/theme/theme23.xml" ContentType="application/vnd.openxmlformats-officedocument.theme+xml"/>
  <Override PartName="/ppt/theme/theme2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5.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6.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rts/chart1.xml" ContentType="application/vnd.openxmlformats-officedocument.drawingml.chart+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7.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8.xml" ContentType="application/vnd.openxmlformats-officedocument.presentationml.tags+xml"/>
  <Override PartName="/ppt/notesSlides/notesSlide38.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546" r:id="rId4"/>
    <p:sldMasterId id="2147484591" r:id="rId5"/>
    <p:sldMasterId id="2147484747" r:id="rId6"/>
    <p:sldMasterId id="2147484886" r:id="rId7"/>
    <p:sldMasterId id="2147484905" r:id="rId8"/>
    <p:sldMasterId id="2147484932" r:id="rId9"/>
    <p:sldMasterId id="2147484951" r:id="rId10"/>
    <p:sldMasterId id="2147485005" r:id="rId11"/>
    <p:sldMasterId id="2147485033" r:id="rId12"/>
    <p:sldMasterId id="2147485046" r:id="rId13"/>
    <p:sldMasterId id="2147485085" r:id="rId14"/>
    <p:sldMasterId id="2147485121" r:id="rId15"/>
    <p:sldMasterId id="2147485158" r:id="rId16"/>
    <p:sldMasterId id="2147485232" r:id="rId17"/>
    <p:sldMasterId id="2147485270" r:id="rId18"/>
    <p:sldMasterId id="2147485294" r:id="rId19"/>
    <p:sldMasterId id="2147485326" r:id="rId20"/>
    <p:sldMasterId id="2147485345" r:id="rId21"/>
    <p:sldMasterId id="2147485355" r:id="rId22"/>
    <p:sldMasterId id="2147485390" r:id="rId23"/>
    <p:sldMasterId id="2147485418" r:id="rId24"/>
    <p:sldMasterId id="2147485447" r:id="rId25"/>
  </p:sldMasterIdLst>
  <p:notesMasterIdLst>
    <p:notesMasterId r:id="rId72"/>
  </p:notesMasterIdLst>
  <p:handoutMasterIdLst>
    <p:handoutMasterId r:id="rId73"/>
  </p:handoutMasterIdLst>
  <p:sldIdLst>
    <p:sldId id="1191" r:id="rId26"/>
    <p:sldId id="1310" r:id="rId27"/>
    <p:sldId id="1624" r:id="rId28"/>
    <p:sldId id="1708" r:id="rId29"/>
    <p:sldId id="1751" r:id="rId30"/>
    <p:sldId id="1753" r:id="rId31"/>
    <p:sldId id="1714" r:id="rId32"/>
    <p:sldId id="1707" r:id="rId33"/>
    <p:sldId id="1651" r:id="rId34"/>
    <p:sldId id="1652" r:id="rId35"/>
    <p:sldId id="1653" r:id="rId36"/>
    <p:sldId id="1654" r:id="rId37"/>
    <p:sldId id="1655" r:id="rId38"/>
    <p:sldId id="1735" r:id="rId39"/>
    <p:sldId id="1752" r:id="rId40"/>
    <p:sldId id="1736" r:id="rId41"/>
    <p:sldId id="1737" r:id="rId42"/>
    <p:sldId id="1738" r:id="rId43"/>
    <p:sldId id="1760" r:id="rId44"/>
    <p:sldId id="1706" r:id="rId45"/>
    <p:sldId id="1678" r:id="rId46"/>
    <p:sldId id="1761" r:id="rId47"/>
    <p:sldId id="1767" r:id="rId48"/>
    <p:sldId id="1764" r:id="rId49"/>
    <p:sldId id="1768" r:id="rId50"/>
    <p:sldId id="1769" r:id="rId51"/>
    <p:sldId id="1754" r:id="rId52"/>
    <p:sldId id="1687" r:id="rId53"/>
    <p:sldId id="1762" r:id="rId54"/>
    <p:sldId id="1190" r:id="rId55"/>
    <p:sldId id="1661" r:id="rId56"/>
    <p:sldId id="1697" r:id="rId57"/>
    <p:sldId id="1765" r:id="rId58"/>
    <p:sldId id="1623" r:id="rId59"/>
    <p:sldId id="1625" r:id="rId60"/>
    <p:sldId id="1673" r:id="rId61"/>
    <p:sldId id="1674" r:id="rId62"/>
    <p:sldId id="1739" r:id="rId63"/>
    <p:sldId id="1740" r:id="rId64"/>
    <p:sldId id="1741" r:id="rId65"/>
    <p:sldId id="1742" r:id="rId66"/>
    <p:sldId id="1743" r:id="rId67"/>
    <p:sldId id="1744" r:id="rId68"/>
    <p:sldId id="1745" r:id="rId69"/>
    <p:sldId id="1749" r:id="rId70"/>
    <p:sldId id="1750" r:id="rId71"/>
  </p:sldIdLst>
  <p:sldSz cx="12436475" cy="6994525"/>
  <p:notesSz cx="6858000" cy="9144000"/>
  <p:defaultTextStyle>
    <a:defPPr>
      <a:defRPr lang="en-US"/>
    </a:defPPr>
    <a:lvl1pPr marL="0" algn="l" defTabSz="932631" rtl="0" eaLnBrk="1" latinLnBrk="0" hangingPunct="1">
      <a:defRPr sz="1799" kern="1200">
        <a:solidFill>
          <a:schemeClr val="tx1"/>
        </a:solidFill>
        <a:latin typeface="+mn-lt"/>
        <a:ea typeface="+mn-ea"/>
        <a:cs typeface="+mn-cs"/>
      </a:defRPr>
    </a:lvl1pPr>
    <a:lvl2pPr marL="466314" algn="l" defTabSz="932631" rtl="0" eaLnBrk="1" latinLnBrk="0" hangingPunct="1">
      <a:defRPr sz="1799" kern="1200">
        <a:solidFill>
          <a:schemeClr val="tx1"/>
        </a:solidFill>
        <a:latin typeface="+mn-lt"/>
        <a:ea typeface="+mn-ea"/>
        <a:cs typeface="+mn-cs"/>
      </a:defRPr>
    </a:lvl2pPr>
    <a:lvl3pPr marL="932631" algn="l" defTabSz="932631" rtl="0" eaLnBrk="1" latinLnBrk="0" hangingPunct="1">
      <a:defRPr sz="1799" kern="1200">
        <a:solidFill>
          <a:schemeClr val="tx1"/>
        </a:solidFill>
        <a:latin typeface="+mn-lt"/>
        <a:ea typeface="+mn-ea"/>
        <a:cs typeface="+mn-cs"/>
      </a:defRPr>
    </a:lvl3pPr>
    <a:lvl4pPr marL="1398945" algn="l" defTabSz="932631" rtl="0" eaLnBrk="1" latinLnBrk="0" hangingPunct="1">
      <a:defRPr sz="1799" kern="1200">
        <a:solidFill>
          <a:schemeClr val="tx1"/>
        </a:solidFill>
        <a:latin typeface="+mn-lt"/>
        <a:ea typeface="+mn-ea"/>
        <a:cs typeface="+mn-cs"/>
      </a:defRPr>
    </a:lvl4pPr>
    <a:lvl5pPr marL="1865260" algn="l" defTabSz="932631" rtl="0" eaLnBrk="1" latinLnBrk="0" hangingPunct="1">
      <a:defRPr sz="1799" kern="1200">
        <a:solidFill>
          <a:schemeClr val="tx1"/>
        </a:solidFill>
        <a:latin typeface="+mn-lt"/>
        <a:ea typeface="+mn-ea"/>
        <a:cs typeface="+mn-cs"/>
      </a:defRPr>
    </a:lvl5pPr>
    <a:lvl6pPr marL="2331577" algn="l" defTabSz="932631" rtl="0" eaLnBrk="1" latinLnBrk="0" hangingPunct="1">
      <a:defRPr sz="1799" kern="1200">
        <a:solidFill>
          <a:schemeClr val="tx1"/>
        </a:solidFill>
        <a:latin typeface="+mn-lt"/>
        <a:ea typeface="+mn-ea"/>
        <a:cs typeface="+mn-cs"/>
      </a:defRPr>
    </a:lvl6pPr>
    <a:lvl7pPr marL="2797890" algn="l" defTabSz="932631" rtl="0" eaLnBrk="1" latinLnBrk="0" hangingPunct="1">
      <a:defRPr sz="1799" kern="1200">
        <a:solidFill>
          <a:schemeClr val="tx1"/>
        </a:solidFill>
        <a:latin typeface="+mn-lt"/>
        <a:ea typeface="+mn-ea"/>
        <a:cs typeface="+mn-cs"/>
      </a:defRPr>
    </a:lvl7pPr>
    <a:lvl8pPr marL="3264207" algn="l" defTabSz="932631" rtl="0" eaLnBrk="1" latinLnBrk="0" hangingPunct="1">
      <a:defRPr sz="1799" kern="1200">
        <a:solidFill>
          <a:schemeClr val="tx1"/>
        </a:solidFill>
        <a:latin typeface="+mn-lt"/>
        <a:ea typeface="+mn-ea"/>
        <a:cs typeface="+mn-cs"/>
      </a:defRPr>
    </a:lvl8pPr>
    <a:lvl9pPr marL="3730521" algn="l" defTabSz="932631" rtl="0" eaLnBrk="1" latinLnBrk="0" hangingPunct="1">
      <a:defRPr sz="1799" kern="1200">
        <a:solidFill>
          <a:schemeClr val="tx1"/>
        </a:solidFill>
        <a:latin typeface="+mn-lt"/>
        <a:ea typeface="+mn-ea"/>
        <a:cs typeface="+mn-cs"/>
      </a:defRPr>
    </a:lvl9pPr>
  </p:defaultTextStyle>
  <p:extLst>
    <p:ext uri="{521415D9-36F7-43E2-AB2F-B90AF26B5E84}">
      <p14:sectionLst xmlns:p14="http://schemas.microsoft.com/office/powerpoint/2010/main">
        <p14:section name="Opening &amp; Intro" id="{C1371134-6117-4287-87EC-BCE028145306}">
          <p14:sldIdLst>
            <p14:sldId id="1191"/>
            <p14:sldId id="1310"/>
          </p14:sldIdLst>
        </p14:section>
        <p14:section name="Cloud Vision &amp; Opportunities" id="{A62E485C-0239-4F1E-9ADF-860EEE855342}">
          <p14:sldIdLst>
            <p14:sldId id="1624"/>
            <p14:sldId id="1708"/>
            <p14:sldId id="1751"/>
            <p14:sldId id="1753"/>
            <p14:sldId id="1714"/>
            <p14:sldId id="1707"/>
            <p14:sldId id="1651"/>
            <p14:sldId id="1652"/>
            <p14:sldId id="1653"/>
            <p14:sldId id="1654"/>
            <p14:sldId id="1655"/>
          </p14:sldIdLst>
        </p14:section>
        <p14:section name="What is Power BI" id="{78C84DBC-290A-40A4-8BCA-76151CDFDC85}">
          <p14:sldIdLst>
            <p14:sldId id="1735"/>
            <p14:sldId id="1752"/>
            <p14:sldId id="1736"/>
            <p14:sldId id="1737"/>
            <p14:sldId id="1738"/>
          </p14:sldIdLst>
        </p14:section>
        <p14:section name="Power BI in CSP" id="{08607DEA-A51B-4A30-835B-71D247505C47}">
          <p14:sldIdLst>
            <p14:sldId id="1760"/>
            <p14:sldId id="1706"/>
            <p14:sldId id="1678"/>
            <p14:sldId id="1761"/>
          </p14:sldIdLst>
        </p14:section>
        <p14:section name="Case Studies" id="{C35BA5EB-686C-4804-9946-914AFAA3BDE8}">
          <p14:sldIdLst>
            <p14:sldId id="1767"/>
            <p14:sldId id="1764"/>
            <p14:sldId id="1768"/>
            <p14:sldId id="1769"/>
            <p14:sldId id="1754"/>
          </p14:sldIdLst>
        </p14:section>
        <p14:section name="Summary" id="{5D26DC3F-3322-4661-AC10-973B09309CFF}">
          <p14:sldIdLst>
            <p14:sldId id="1687"/>
            <p14:sldId id="1762"/>
            <p14:sldId id="1190"/>
          </p14:sldIdLst>
        </p14:section>
        <p14:section name="Appendix" id="{3E8B3398-0C4C-4C2A-B5DE-DA51A9FE4B45}">
          <p14:sldIdLst>
            <p14:sldId id="1661"/>
            <p14:sldId id="1697"/>
            <p14:sldId id="1765"/>
            <p14:sldId id="1623"/>
            <p14:sldId id="1625"/>
            <p14:sldId id="1673"/>
            <p14:sldId id="1674"/>
            <p14:sldId id="1739"/>
            <p14:sldId id="1740"/>
            <p14:sldId id="1741"/>
            <p14:sldId id="1742"/>
            <p14:sldId id="1743"/>
            <p14:sldId id="1744"/>
            <p14:sldId id="1745"/>
            <p14:sldId id="1749"/>
            <p14:sldId id="1750"/>
          </p14:sldIdLst>
        </p14:section>
      </p14:sectionLst>
    </p:ext>
    <p:ext uri="{EFAFB233-063F-42B5-8137-9DF3F51BA10A}">
      <p15:sldGuideLst xmlns:p15="http://schemas.microsoft.com/office/powerpoint/2012/main">
        <p15:guide id="1" orient="horz" pos="2371" userDrawn="1">
          <p15:clr>
            <a:srgbClr val="A4A3A4"/>
          </p15:clr>
        </p15:guide>
        <p15:guide id="2" orient="horz" pos="2539" userDrawn="1">
          <p15:clr>
            <a:srgbClr val="A4A3A4"/>
          </p15:clr>
        </p15:guide>
        <p15:guide id="4" orient="horz" pos="2299" userDrawn="1">
          <p15:clr>
            <a:srgbClr val="A4A3A4"/>
          </p15:clr>
        </p15:guide>
        <p15:guide id="5" orient="horz" pos="1555" userDrawn="1">
          <p15:clr>
            <a:srgbClr val="A4A3A4"/>
          </p15:clr>
        </p15:guide>
        <p15:guide id="6" orient="horz" pos="763" userDrawn="1">
          <p15:clr>
            <a:srgbClr val="A4A3A4"/>
          </p15:clr>
        </p15:guide>
        <p15:guide id="7" orient="horz" pos="1243" userDrawn="1">
          <p15:clr>
            <a:srgbClr val="A4A3A4"/>
          </p15:clr>
        </p15:guide>
        <p15:guide id="8" orient="horz" pos="2875" userDrawn="1">
          <p15:clr>
            <a:srgbClr val="A4A3A4"/>
          </p15:clr>
        </p15:guide>
        <p15:guide id="9" pos="6437" userDrawn="1">
          <p15:clr>
            <a:srgbClr val="A4A3A4"/>
          </p15:clr>
        </p15:guide>
        <p15:guide id="10" pos="7085" userDrawn="1">
          <p15:clr>
            <a:srgbClr val="A4A3A4"/>
          </p15:clr>
        </p15:guide>
        <p15:guide id="11" pos="2477" userDrawn="1">
          <p15:clr>
            <a:srgbClr val="A4A3A4"/>
          </p15:clr>
        </p15:guide>
        <p15:guide id="12" pos="4781" userDrawn="1">
          <p15:clr>
            <a:srgbClr val="A4A3A4"/>
          </p15:clr>
        </p15:guide>
        <p15:guide id="13" pos="3630" userDrawn="1">
          <p15:clr>
            <a:srgbClr val="A4A3A4"/>
          </p15:clr>
        </p15:guide>
        <p15:guide id="14" pos="5933" userDrawn="1">
          <p15:clr>
            <a:srgbClr val="A4A3A4"/>
          </p15:clr>
        </p15:guide>
        <p15:guide id="15" pos="1229" userDrawn="1">
          <p15:clr>
            <a:srgbClr val="A4A3A4"/>
          </p15:clr>
        </p15:guide>
        <p15:guide id="16" pos="7663" userDrawn="1">
          <p15:clr>
            <a:srgbClr val="A4A3A4"/>
          </p15:clr>
        </p15:guide>
        <p15:guide id="17" pos="2981" userDrawn="1">
          <p15:clr>
            <a:srgbClr val="A4A3A4"/>
          </p15:clr>
        </p15:guide>
        <p15:guide id="18" pos="1901" userDrawn="1">
          <p15:clr>
            <a:srgbClr val="A4A3A4"/>
          </p15:clr>
        </p15:guide>
        <p15:guide id="19" pos="3053" userDrawn="1">
          <p15:clr>
            <a:srgbClr val="A4A3A4"/>
          </p15:clr>
        </p15:guide>
        <p15:guide id="20" pos="6245" userDrawn="1">
          <p15:clr>
            <a:srgbClr val="A4A3A4"/>
          </p15:clr>
        </p15:guide>
        <p15:guide id="21" pos="5357" userDrawn="1">
          <p15:clr>
            <a:srgbClr val="A4A3A4"/>
          </p15:clr>
        </p15:guide>
        <p15:guide id="22" pos="6509"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338"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353535"/>
    <a:srgbClr val="F2C811"/>
    <a:srgbClr val="DEA900"/>
    <a:srgbClr val="D9D9D9"/>
    <a:srgbClr val="5E5E5E"/>
    <a:srgbClr val="BFBFBF"/>
    <a:srgbClr val="F0CD36"/>
    <a:srgbClr val="7F7F7F"/>
    <a:srgbClr val="F2F2F2"/>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009" autoAdjust="0"/>
    <p:restoredTop sz="89881" autoAdjust="0"/>
  </p:normalViewPr>
  <p:slideViewPr>
    <p:cSldViewPr snapToGrid="0" snapToObjects="1">
      <p:cViewPr varScale="1">
        <p:scale>
          <a:sx n="86" d="100"/>
          <a:sy n="86" d="100"/>
        </p:scale>
        <p:origin x="40" y="224"/>
      </p:cViewPr>
      <p:guideLst>
        <p:guide orient="horz" pos="2371"/>
        <p:guide orient="horz" pos="2539"/>
        <p:guide orient="horz" pos="2299"/>
        <p:guide orient="horz" pos="1555"/>
        <p:guide orient="horz" pos="763"/>
        <p:guide orient="horz" pos="1243"/>
        <p:guide orient="horz" pos="2875"/>
        <p:guide pos="6437"/>
        <p:guide pos="7085"/>
        <p:guide pos="2477"/>
        <p:guide pos="4781"/>
        <p:guide pos="3630"/>
        <p:guide pos="5933"/>
        <p:guide pos="1229"/>
        <p:guide pos="7663"/>
        <p:guide pos="2981"/>
        <p:guide pos="1901"/>
        <p:guide pos="3053"/>
        <p:guide pos="6245"/>
        <p:guide pos="5357"/>
        <p:guide pos="6509"/>
      </p:guideLst>
    </p:cSldViewPr>
  </p:slideViewPr>
  <p:outlineViewPr>
    <p:cViewPr>
      <p:scale>
        <a:sx n="33" d="100"/>
        <a:sy n="33" d="100"/>
      </p:scale>
      <p:origin x="0" y="-720"/>
    </p:cViewPr>
  </p:outlineViewPr>
  <p:notesTextViewPr>
    <p:cViewPr>
      <p:scale>
        <a:sx n="100" d="100"/>
        <a:sy n="100" d="100"/>
      </p:scale>
      <p:origin x="0" y="0"/>
    </p:cViewPr>
  </p:notesTextViewPr>
  <p:sorterViewPr>
    <p:cViewPr>
      <p:scale>
        <a:sx n="200" d="100"/>
        <a:sy n="200" d="100"/>
      </p:scale>
      <p:origin x="0" y="-3966"/>
    </p:cViewPr>
  </p:sorterViewPr>
  <p:notesViewPr>
    <p:cSldViewPr snapToGrid="0" snapToObjects="1" showGuides="1">
      <p:cViewPr>
        <p:scale>
          <a:sx n="268" d="100"/>
          <a:sy n="268" d="100"/>
        </p:scale>
        <p:origin x="-1032" y="-567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1.xml"/><Relationship Id="rId39" Type="http://schemas.openxmlformats.org/officeDocument/2006/relationships/slide" Target="slides/slide14.xml"/><Relationship Id="rId21" Type="http://schemas.openxmlformats.org/officeDocument/2006/relationships/slideMaster" Target="slideMasters/slideMaster18.xml"/><Relationship Id="rId34" Type="http://schemas.openxmlformats.org/officeDocument/2006/relationships/slide" Target="slides/slide9.xml"/><Relationship Id="rId42" Type="http://schemas.openxmlformats.org/officeDocument/2006/relationships/slide" Target="slides/slide17.xml"/><Relationship Id="rId47" Type="http://schemas.openxmlformats.org/officeDocument/2006/relationships/slide" Target="slides/slide22.xml"/><Relationship Id="rId50" Type="http://schemas.openxmlformats.org/officeDocument/2006/relationships/slide" Target="slides/slide25.xml"/><Relationship Id="rId55" Type="http://schemas.openxmlformats.org/officeDocument/2006/relationships/slide" Target="slides/slide30.xml"/><Relationship Id="rId63" Type="http://schemas.openxmlformats.org/officeDocument/2006/relationships/slide" Target="slides/slide38.xml"/><Relationship Id="rId68" Type="http://schemas.openxmlformats.org/officeDocument/2006/relationships/slide" Target="slides/slide43.xml"/><Relationship Id="rId76" Type="http://schemas.openxmlformats.org/officeDocument/2006/relationships/viewProps" Target="viewProps.xml"/><Relationship Id="rId7" Type="http://schemas.openxmlformats.org/officeDocument/2006/relationships/slideMaster" Target="slideMasters/slideMaster4.xml"/><Relationship Id="rId71" Type="http://schemas.openxmlformats.org/officeDocument/2006/relationships/slide" Target="slides/slide46.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4.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7.xml"/><Relationship Id="rId37" Type="http://schemas.openxmlformats.org/officeDocument/2006/relationships/slide" Target="slides/slide12.xml"/><Relationship Id="rId40" Type="http://schemas.openxmlformats.org/officeDocument/2006/relationships/slide" Target="slides/slide15.xml"/><Relationship Id="rId45" Type="http://schemas.openxmlformats.org/officeDocument/2006/relationships/slide" Target="slides/slide20.xml"/><Relationship Id="rId53" Type="http://schemas.openxmlformats.org/officeDocument/2006/relationships/slide" Target="slides/slide28.xml"/><Relationship Id="rId58" Type="http://schemas.openxmlformats.org/officeDocument/2006/relationships/slide" Target="slides/slide33.xml"/><Relationship Id="rId66" Type="http://schemas.openxmlformats.org/officeDocument/2006/relationships/slide" Target="slides/slide41.xml"/><Relationship Id="rId74"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3.xml"/><Relationship Id="rId36" Type="http://schemas.openxmlformats.org/officeDocument/2006/relationships/slide" Target="slides/slide11.xml"/><Relationship Id="rId49" Type="http://schemas.openxmlformats.org/officeDocument/2006/relationships/slide" Target="slides/slide24.xml"/><Relationship Id="rId57" Type="http://schemas.openxmlformats.org/officeDocument/2006/relationships/slide" Target="slides/slide32.xml"/><Relationship Id="rId61" Type="http://schemas.openxmlformats.org/officeDocument/2006/relationships/slide" Target="slides/slide36.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6.xml"/><Relationship Id="rId44" Type="http://schemas.openxmlformats.org/officeDocument/2006/relationships/slide" Target="slides/slide19.xml"/><Relationship Id="rId52" Type="http://schemas.openxmlformats.org/officeDocument/2006/relationships/slide" Target="slides/slide27.xml"/><Relationship Id="rId60" Type="http://schemas.openxmlformats.org/officeDocument/2006/relationships/slide" Target="slides/slide35.xml"/><Relationship Id="rId65" Type="http://schemas.openxmlformats.org/officeDocument/2006/relationships/slide" Target="slides/slide40.xml"/><Relationship Id="rId73" Type="http://schemas.openxmlformats.org/officeDocument/2006/relationships/handoutMaster" Target="handoutMasters/handoutMaster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2.xml"/><Relationship Id="rId30" Type="http://schemas.openxmlformats.org/officeDocument/2006/relationships/slide" Target="slides/slide5.xml"/><Relationship Id="rId35" Type="http://schemas.openxmlformats.org/officeDocument/2006/relationships/slide" Target="slides/slide10.xml"/><Relationship Id="rId43" Type="http://schemas.openxmlformats.org/officeDocument/2006/relationships/slide" Target="slides/slide18.xml"/><Relationship Id="rId48" Type="http://schemas.openxmlformats.org/officeDocument/2006/relationships/slide" Target="slides/slide23.xml"/><Relationship Id="rId56" Type="http://schemas.openxmlformats.org/officeDocument/2006/relationships/slide" Target="slides/slide31.xml"/><Relationship Id="rId64" Type="http://schemas.openxmlformats.org/officeDocument/2006/relationships/slide" Target="slides/slide39.xml"/><Relationship Id="rId69" Type="http://schemas.openxmlformats.org/officeDocument/2006/relationships/slide" Target="slides/slide44.xml"/><Relationship Id="rId77"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26.xml"/><Relationship Id="rId72"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8.xml"/><Relationship Id="rId38" Type="http://schemas.openxmlformats.org/officeDocument/2006/relationships/slide" Target="slides/slide13.xml"/><Relationship Id="rId46" Type="http://schemas.openxmlformats.org/officeDocument/2006/relationships/slide" Target="slides/slide21.xml"/><Relationship Id="rId59" Type="http://schemas.openxmlformats.org/officeDocument/2006/relationships/slide" Target="slides/slide34.xml"/><Relationship Id="rId67" Type="http://schemas.openxmlformats.org/officeDocument/2006/relationships/slide" Target="slides/slide42.xml"/><Relationship Id="rId20" Type="http://schemas.openxmlformats.org/officeDocument/2006/relationships/slideMaster" Target="slideMasters/slideMaster17.xml"/><Relationship Id="rId41" Type="http://schemas.openxmlformats.org/officeDocument/2006/relationships/slide" Target="slides/slide16.xml"/><Relationship Id="rId54" Type="http://schemas.openxmlformats.org/officeDocument/2006/relationships/slide" Target="slides/slide29.xml"/><Relationship Id="rId62" Type="http://schemas.openxmlformats.org/officeDocument/2006/relationships/slide" Target="slides/slide37.xml"/><Relationship Id="rId70" Type="http://schemas.openxmlformats.org/officeDocument/2006/relationships/slide" Target="slides/slide45.xml"/><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976792152232357"/>
          <c:y val="6.1840961602606083E-2"/>
          <c:w val="0.62543940507544493"/>
          <c:h val="0.9381590383973939"/>
        </c:manualLayout>
      </c:layout>
      <c:doughnutChart>
        <c:varyColors val="1"/>
        <c:ser>
          <c:idx val="0"/>
          <c:order val="0"/>
          <c:tx>
            <c:strRef>
              <c:f>Sheet1!$B$1</c:f>
              <c:strCache>
                <c:ptCount val="1"/>
                <c:pt idx="0">
                  <c:v>Column1</c:v>
                </c:pt>
              </c:strCache>
            </c:strRef>
          </c:tx>
          <c:dPt>
            <c:idx val="0"/>
            <c:bubble3D val="0"/>
            <c:spPr>
              <a:solidFill>
                <a:srgbClr val="BFBFBF"/>
              </a:solidFill>
              <a:ln w="19050">
                <a:solidFill>
                  <a:schemeClr val="lt1"/>
                </a:solidFill>
              </a:ln>
              <a:effectLst/>
            </c:spPr>
            <c:extLst>
              <c:ext xmlns:c16="http://schemas.microsoft.com/office/drawing/2014/chart" uri="{C3380CC4-5D6E-409C-BE32-E72D297353CC}">
                <c16:uniqueId val="{00000001-FDBF-44B5-BF67-836739A175EC}"/>
              </c:ext>
            </c:extLst>
          </c:dPt>
          <c:dPt>
            <c:idx val="1"/>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3-FDBF-44B5-BF67-836739A175EC}"/>
              </c:ext>
            </c:extLst>
          </c:dPt>
          <c:dPt>
            <c:idx val="2"/>
            <c:bubble3D val="0"/>
            <c:spPr>
              <a:solidFill>
                <a:schemeClr val="bg1">
                  <a:lumMod val="50000"/>
                </a:schemeClr>
              </a:solidFill>
              <a:ln w="19050">
                <a:solidFill>
                  <a:schemeClr val="lt1"/>
                </a:solidFill>
              </a:ln>
              <a:effectLst/>
            </c:spPr>
            <c:extLst>
              <c:ext xmlns:c16="http://schemas.microsoft.com/office/drawing/2014/chart" uri="{C3380CC4-5D6E-409C-BE32-E72D297353CC}">
                <c16:uniqueId val="{00000005-FDBF-44B5-BF67-836739A175EC}"/>
              </c:ext>
            </c:extLst>
          </c:dPt>
          <c:dPt>
            <c:idx val="3"/>
            <c:bubble3D val="0"/>
            <c:spPr>
              <a:solidFill>
                <a:srgbClr val="353535"/>
              </a:solidFill>
              <a:ln w="19050">
                <a:solidFill>
                  <a:schemeClr val="lt1"/>
                </a:solidFill>
              </a:ln>
              <a:effectLst/>
            </c:spPr>
            <c:extLst>
              <c:ext xmlns:c16="http://schemas.microsoft.com/office/drawing/2014/chart" uri="{C3380CC4-5D6E-409C-BE32-E72D297353CC}">
                <c16:uniqueId val="{00000007-FDBF-44B5-BF67-836739A175EC}"/>
              </c:ext>
            </c:extLst>
          </c:dPt>
          <c:dPt>
            <c:idx val="4"/>
            <c:bubble3D val="0"/>
            <c:spPr>
              <a:solidFill>
                <a:schemeClr val="bg2">
                  <a:lumMod val="10000"/>
                </a:schemeClr>
              </a:solidFill>
              <a:ln w="19050">
                <a:solidFill>
                  <a:schemeClr val="lt1"/>
                </a:solidFill>
              </a:ln>
            </c:spPr>
            <c:extLst>
              <c:ext xmlns:c16="http://schemas.microsoft.com/office/drawing/2014/chart" uri="{C3380CC4-5D6E-409C-BE32-E72D297353CC}">
                <c16:uniqueId val="{00000009-6964-4CC9-8CA1-9E33CDCE7E63}"/>
              </c:ext>
            </c:extLst>
          </c:dPt>
          <c:dPt>
            <c:idx val="5"/>
            <c:bubble3D val="0"/>
            <c:spPr>
              <a:solidFill>
                <a:srgbClr val="F2F2F2"/>
              </a:solidFill>
              <a:ln w="19050">
                <a:solidFill>
                  <a:schemeClr val="lt1"/>
                </a:solidFill>
              </a:ln>
            </c:spPr>
            <c:extLst>
              <c:ext xmlns:c16="http://schemas.microsoft.com/office/drawing/2014/chart" uri="{C3380CC4-5D6E-409C-BE32-E72D297353CC}">
                <c16:uniqueId val="{0000000B-6964-4CC9-8CA1-9E33CDCE7E63}"/>
              </c:ext>
            </c:extLst>
          </c:dPt>
          <c:cat>
            <c:numRef>
              <c:f>Sheet1!$A$2:$A$7</c:f>
              <c:numCache>
                <c:formatCode>General</c:formatCode>
                <c:ptCount val="6"/>
              </c:numCache>
            </c:numRef>
          </c:cat>
          <c:val>
            <c:numRef>
              <c:f>Sheet1!$B$2:$B$7</c:f>
              <c:numCache>
                <c:formatCode>0%</c:formatCode>
                <c:ptCount val="6"/>
                <c:pt idx="0">
                  <c:v>0.04</c:v>
                </c:pt>
                <c:pt idx="1">
                  <c:v>0.09</c:v>
                </c:pt>
                <c:pt idx="2">
                  <c:v>0.09</c:v>
                </c:pt>
                <c:pt idx="3">
                  <c:v>0.12</c:v>
                </c:pt>
                <c:pt idx="4">
                  <c:v>0.13</c:v>
                </c:pt>
                <c:pt idx="5">
                  <c:v>0.2</c:v>
                </c:pt>
              </c:numCache>
            </c:numRef>
          </c:val>
          <c:extLst>
            <c:ext xmlns:c16="http://schemas.microsoft.com/office/drawing/2014/chart" uri="{C3380CC4-5D6E-409C-BE32-E72D297353CC}">
              <c16:uniqueId val="{00000008-FDBF-44B5-BF67-836739A175EC}"/>
            </c:ext>
          </c:extLst>
        </c:ser>
        <c:dLbls>
          <c:showLegendKey val="0"/>
          <c:showVal val="0"/>
          <c:showCatName val="0"/>
          <c:showSerName val="0"/>
          <c:showPercent val="0"/>
          <c:showBubbleSize val="0"/>
          <c:showLeaderLines val="0"/>
        </c:dLbls>
        <c:firstSliceAng val="0"/>
        <c:holeSize val="58"/>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E219B1A-AE41-483B-A766-69B9363DDA6A}" type="datetimeFigureOut">
              <a:rPr lang="en-US" smtClean="0">
                <a:latin typeface="Segoe UI" pitchFamily="34" charset="0"/>
              </a:rPr>
              <a:t>6/10/2016</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51B1278-D92B-4AF3-A9C1-71DD298190CE}" type="datetimeFigureOut">
              <a:rPr lang="en-US" smtClean="0"/>
              <a:pPr/>
              <a:t>6/10/2016</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631"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36" indent="-107943" algn="l" defTabSz="932631"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24" indent="-117388" algn="l" defTabSz="932631"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491" indent="-149771" algn="l" defTabSz="932631"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21" indent="-117388" algn="l" defTabSz="932631"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577" algn="l" defTabSz="932631" rtl="0" eaLnBrk="1" latinLnBrk="0" hangingPunct="1">
      <a:defRPr sz="1200" kern="1200">
        <a:solidFill>
          <a:schemeClr val="tx1"/>
        </a:solidFill>
        <a:latin typeface="+mn-lt"/>
        <a:ea typeface="+mn-ea"/>
        <a:cs typeface="+mn-cs"/>
      </a:defRPr>
    </a:lvl6pPr>
    <a:lvl7pPr marL="2797890" algn="l" defTabSz="932631" rtl="0" eaLnBrk="1" latinLnBrk="0" hangingPunct="1">
      <a:defRPr sz="1200" kern="1200">
        <a:solidFill>
          <a:schemeClr val="tx1"/>
        </a:solidFill>
        <a:latin typeface="+mn-lt"/>
        <a:ea typeface="+mn-ea"/>
        <a:cs typeface="+mn-cs"/>
      </a:defRPr>
    </a:lvl7pPr>
    <a:lvl8pPr marL="3264207" algn="l" defTabSz="932631" rtl="0" eaLnBrk="1" latinLnBrk="0" hangingPunct="1">
      <a:defRPr sz="1200" kern="1200">
        <a:solidFill>
          <a:schemeClr val="tx1"/>
        </a:solidFill>
        <a:latin typeface="+mn-lt"/>
        <a:ea typeface="+mn-ea"/>
        <a:cs typeface="+mn-cs"/>
      </a:defRPr>
    </a:lvl8pPr>
    <a:lvl9pPr marL="3730521" algn="l" defTabSz="932631"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www.microsoft.com/en-us/server-cloud/cloud-os/customer-stories/City-of-Barcelona.aspx" TargetMode="External"/><Relationship Id="rId2" Type="http://schemas.openxmlformats.org/officeDocument/2006/relationships/slide" Target="../slides/slide27.xml"/><Relationship Id="rId1" Type="http://schemas.openxmlformats.org/officeDocument/2006/relationships/notesMaster" Target="../notesMasters/notesMaster1.xml"/><Relationship Id="rId5" Type="http://schemas.openxmlformats.org/officeDocument/2006/relationships/hyperlink" Target="http://blogs.microsoft.com/iot/2015/05/04/data-driven-irrigation-eases-water-distribution-in-california/" TargetMode="External"/><Relationship Id="rId4" Type="http://schemas.openxmlformats.org/officeDocument/2006/relationships/hyperlink" Target="https://customers.microsoft.com/Pages/CustomerStory.aspx?recid=18294" TargetMode="Externa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upport.powerbi.com/knowledgebase/articles/505323-why-you-need-dirsync-to-connect-to-on-premises-ana"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3" Type="http://schemas.openxmlformats.org/officeDocument/2006/relationships/hyperlink" Target="http://support.powerbi.com/knowledgebase/articles/505323-why-you-need-dirsync-to-connect-to-on-premises-ana" TargetMode="External"/><Relationship Id="rId2" Type="http://schemas.openxmlformats.org/officeDocument/2006/relationships/slide" Target="../slides/slide45.xml"/><Relationship Id="rId1" Type="http://schemas.openxmlformats.org/officeDocument/2006/relationships/notesMaster" Target="../notesMasters/notesMaster1.xml"/><Relationship Id="rId4" Type="http://schemas.openxmlformats.org/officeDocument/2006/relationships/hyperlink" Target="http://azure.microsoft.com/en-us/documentation/services/service-bus/" TargetMode="Externa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gigaom.files.wordpress.com/2010/05/2010-digital-universe-iview_5-4-10.pdf"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4483759-BCA5-4B4D-882D-11C200CCC367}" type="datetime1">
              <a:rPr lang="en-US" smtClean="0"/>
              <a:t>6/10/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32498771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urthermore, as a CSP partner, you’ll be able to uncover new ways to differentiate your business and bring</a:t>
            </a:r>
            <a:r>
              <a:rPr lang="en-US" baseline="0" dirty="0"/>
              <a:t> a greater range of opportunities to your offerings.</a:t>
            </a:r>
          </a:p>
          <a:p>
            <a:endParaRPr lang="en-US" baseline="0" dirty="0"/>
          </a:p>
          <a:p>
            <a:r>
              <a:rPr lang="en-US" baseline="0" dirty="0"/>
              <a:t>By offering Managed Services, you can bundle additional Azure services that will deliver more of what your customers need. The CSP program can help you become a one-stop-shop for your customers’ IT needs.</a:t>
            </a:r>
          </a:p>
          <a:p>
            <a:endParaRPr lang="en-US" baseline="0" dirty="0"/>
          </a:p>
          <a:p>
            <a:r>
              <a:rPr lang="en-US" baseline="0" dirty="0"/>
              <a:t>&lt;&lt;click&gt;&gt;</a:t>
            </a:r>
            <a:endParaRPr lang="en-US" dirty="0"/>
          </a:p>
          <a:p>
            <a:endParaRPr lang="en-US" dirty="0"/>
          </a:p>
          <a:p>
            <a:endParaRPr lang="en-US" dirty="0"/>
          </a:p>
          <a:p>
            <a:pPr marL="0" marR="0" indent="0" algn="l" defTabSz="932631" rtl="0" eaLnBrk="1" fontAlgn="auto" latinLnBrk="0" hangingPunct="1">
              <a:lnSpc>
                <a:spcPct val="90000"/>
              </a:lnSpc>
              <a:spcBef>
                <a:spcPts val="0"/>
              </a:spcBef>
              <a:spcAft>
                <a:spcPts val="340"/>
              </a:spcAft>
              <a:buClrTx/>
              <a:buSzTx/>
              <a:buFontTx/>
              <a:buNone/>
              <a:tabLst/>
              <a:defRPr/>
            </a:pPr>
            <a:r>
              <a:rPr lang="en-US" sz="900" b="1" dirty="0">
                <a:solidFill>
                  <a:schemeClr val="tx2"/>
                </a:solidFill>
                <a:cs typeface="Segoe UI Semibold" panose="020B0702040204020203" pitchFamily="34" charset="0"/>
              </a:rPr>
              <a:t>Increased operational line of sight </a:t>
            </a:r>
            <a:r>
              <a:rPr lang="en-US" sz="900" dirty="0">
                <a:solidFill>
                  <a:schemeClr val="tx2"/>
                </a:solidFill>
              </a:rPr>
              <a:t>into sales actuals, margins, variances and forecasts</a:t>
            </a:r>
          </a:p>
          <a:p>
            <a:pPr marL="0" marR="0" indent="0" algn="l" defTabSz="932631" rtl="0" eaLnBrk="1" fontAlgn="auto" latinLnBrk="0" hangingPunct="1">
              <a:lnSpc>
                <a:spcPct val="90000"/>
              </a:lnSpc>
              <a:spcBef>
                <a:spcPts val="0"/>
              </a:spcBef>
              <a:spcAft>
                <a:spcPts val="340"/>
              </a:spcAft>
              <a:buClrTx/>
              <a:buSzTx/>
              <a:buFontTx/>
              <a:buNone/>
              <a:tabLst/>
              <a:defRPr/>
            </a:pPr>
            <a:r>
              <a:rPr lang="en-US" sz="900" b="1" dirty="0">
                <a:solidFill>
                  <a:schemeClr val="tx2"/>
                </a:solidFill>
                <a:cs typeface="Segoe UI Semibold" panose="020B0702040204020203" pitchFamily="34" charset="0"/>
              </a:rPr>
              <a:t>Accelerated decision-making </a:t>
            </a:r>
            <a:r>
              <a:rPr lang="en-US" sz="900" dirty="0">
                <a:solidFill>
                  <a:schemeClr val="tx2"/>
                </a:solidFill>
              </a:rPr>
              <a:t>through faster, easier access to pipeline and quota details</a:t>
            </a:r>
          </a:p>
          <a:p>
            <a:pPr marL="0" marR="0" indent="0" algn="l" defTabSz="932631" rtl="0" eaLnBrk="1" fontAlgn="auto" latinLnBrk="0" hangingPunct="1">
              <a:lnSpc>
                <a:spcPct val="90000"/>
              </a:lnSpc>
              <a:spcBef>
                <a:spcPts val="0"/>
              </a:spcBef>
              <a:spcAft>
                <a:spcPts val="340"/>
              </a:spcAft>
              <a:buClrTx/>
              <a:buSzTx/>
              <a:buFontTx/>
              <a:buNone/>
              <a:tabLst/>
              <a:defRPr/>
            </a:pPr>
            <a:r>
              <a:rPr lang="en-US" sz="900" b="1" dirty="0">
                <a:solidFill>
                  <a:schemeClr val="tx2"/>
                </a:solidFill>
                <a:cs typeface="Segoe UI Semibold" panose="020B0702040204020203" pitchFamily="34" charset="0"/>
              </a:rPr>
              <a:t>Better forecasting </a:t>
            </a:r>
            <a:r>
              <a:rPr lang="en-US" sz="900" dirty="0">
                <a:solidFill>
                  <a:schemeClr val="tx2"/>
                </a:solidFill>
                <a:cs typeface="Segoe UI Semibold" panose="020B0702040204020203" pitchFamily="34" charset="0"/>
              </a:rPr>
              <a:t>and optimized </a:t>
            </a:r>
            <a:r>
              <a:rPr lang="en-US" sz="900" b="1" dirty="0">
                <a:solidFill>
                  <a:schemeClr val="tx2"/>
                </a:solidFill>
                <a:cs typeface="Segoe UI Semibold" panose="020B0702040204020203" pitchFamily="34" charset="0"/>
              </a:rPr>
              <a:t>resource allocation </a:t>
            </a:r>
            <a:r>
              <a:rPr lang="en-US" sz="900" dirty="0">
                <a:solidFill>
                  <a:schemeClr val="tx2"/>
                </a:solidFill>
                <a:cs typeface="Segoe UI Semibold" panose="020B0702040204020203" pitchFamily="34" charset="0"/>
              </a:rPr>
              <a:t>with earlier visibility into trends and opportunities</a:t>
            </a:r>
            <a:endParaRPr lang="en-US" sz="900" dirty="0">
              <a:solidFill>
                <a:schemeClr val="tx2"/>
              </a:solidFill>
            </a:endParaRPr>
          </a:p>
          <a:p>
            <a:pPr marL="0" marR="0" indent="0" algn="l" defTabSz="932631" rtl="0" eaLnBrk="1" fontAlgn="auto" latinLnBrk="0" hangingPunct="1">
              <a:lnSpc>
                <a:spcPct val="90000"/>
              </a:lnSpc>
              <a:spcBef>
                <a:spcPts val="0"/>
              </a:spcBef>
              <a:spcAft>
                <a:spcPts val="340"/>
              </a:spcAft>
              <a:buClrTx/>
              <a:buSzTx/>
              <a:buFontTx/>
              <a:buNone/>
              <a:tabLst/>
              <a:defRPr/>
            </a:pPr>
            <a:r>
              <a:rPr lang="en-US" sz="900" b="1" dirty="0">
                <a:solidFill>
                  <a:schemeClr val="tx2"/>
                </a:solidFill>
                <a:cs typeface="Segoe UI Semibold" panose="020B0702040204020203" pitchFamily="34" charset="0"/>
              </a:rPr>
              <a:t>Greater insight </a:t>
            </a:r>
            <a:r>
              <a:rPr lang="en-US" sz="900" dirty="0">
                <a:solidFill>
                  <a:schemeClr val="tx2"/>
                </a:solidFill>
              </a:rPr>
              <a:t>into key sales attainment metrics,  performance trends and marketing impact on sales</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6 11:0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862454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come a CSP partner to increase your bottom line. By joining and leveraging a wide partner ecosystem, you’ll be able to get to your customer market faster to offer value-added</a:t>
            </a:r>
            <a:r>
              <a:rPr lang="en-US" baseline="0" dirty="0"/>
              <a:t> services, billing, and suppor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6 11:0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96015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t>Section Flow</a:t>
            </a:r>
          </a:p>
          <a:p>
            <a:endParaRPr lang="en-US" sz="1600" dirty="0"/>
          </a:p>
          <a:p>
            <a:r>
              <a:rPr lang="en-US" sz="1600" b="1" dirty="0"/>
              <a:t>What is Power</a:t>
            </a:r>
            <a:r>
              <a:rPr lang="en-US" sz="1600" b="1" baseline="0" dirty="0"/>
              <a:t> BI?</a:t>
            </a:r>
            <a:endParaRPr lang="en-US" sz="1600" b="1" dirty="0"/>
          </a:p>
          <a:p>
            <a:r>
              <a:rPr lang="en-US" sz="1600" dirty="0"/>
              <a:t>BI tools enable</a:t>
            </a:r>
            <a:r>
              <a:rPr lang="en-US" sz="1600" baseline="0" dirty="0"/>
              <a:t> companies to make more informed business decisions. </a:t>
            </a:r>
            <a:r>
              <a:rPr lang="en-US" sz="1600" kern="1200" dirty="0">
                <a:solidFill>
                  <a:schemeClr val="tx1"/>
                </a:solidFill>
                <a:effectLst/>
                <a:latin typeface="Segoe UI Light" pitchFamily="34" charset="0"/>
                <a:ea typeface="+mn-ea"/>
                <a:cs typeface="+mn-cs"/>
              </a:rPr>
              <a:t>Power BI is a business analytics service. With Power BI you can now see all of your data through a single pane of glass. Live Power BI dashboards and reports show visualizations and KPIs from data residing both on-premises and in the cloud, providing a consolidated view across your business regardless of where your data lives.</a:t>
            </a:r>
          </a:p>
          <a:p>
            <a:endParaRPr lang="en-US" sz="1600" baseline="0" dirty="0"/>
          </a:p>
          <a:p>
            <a:r>
              <a:rPr lang="en-US" sz="1600" b="1" baseline="0" dirty="0"/>
              <a:t>Quote slide</a:t>
            </a:r>
          </a:p>
          <a:p>
            <a:r>
              <a:rPr lang="en-US" sz="1600" dirty="0"/>
              <a:t>Power</a:t>
            </a:r>
            <a:r>
              <a:rPr lang="en-US" sz="1600" baseline="0" dirty="0"/>
              <a:t> BI has helped many companies by connecting a huge variety of data sources into one location, making that data easy to visualize and share</a:t>
            </a:r>
          </a:p>
          <a:p>
            <a:endParaRPr lang="en-US" sz="1600" dirty="0"/>
          </a:p>
          <a:p>
            <a:pPr marL="0" marR="0" indent="0" algn="l" defTabSz="932631" rtl="0" eaLnBrk="1" fontAlgn="auto" latinLnBrk="0" hangingPunct="1">
              <a:lnSpc>
                <a:spcPct val="90000"/>
              </a:lnSpc>
              <a:spcBef>
                <a:spcPts val="0"/>
              </a:spcBef>
              <a:spcAft>
                <a:spcPts val="340"/>
              </a:spcAft>
              <a:buClrTx/>
              <a:buSzTx/>
              <a:buFontTx/>
              <a:buNone/>
              <a:tabLst/>
              <a:defRPr/>
            </a:pPr>
            <a:r>
              <a:rPr lang="en-US" sz="1600" b="1" kern="0" dirty="0">
                <a:solidFill>
                  <a:schemeClr val="tx2">
                    <a:lumMod val="10000"/>
                  </a:schemeClr>
                </a:solidFill>
                <a:latin typeface="Segoe UI Light"/>
                <a:cs typeface="+mn-cs"/>
              </a:rPr>
              <a:t>Data is only powerful when used correctly - Common BI challenges are faced by many organizations</a:t>
            </a:r>
          </a:p>
          <a:p>
            <a:pPr marL="0" indent="0">
              <a:buFont typeface="+mj-lt"/>
              <a:buNone/>
            </a:pPr>
            <a:r>
              <a:rPr lang="en-US" sz="1600" dirty="0"/>
              <a:t>We have established in</a:t>
            </a:r>
            <a:r>
              <a:rPr lang="en-US" sz="1600" baseline="0" dirty="0"/>
              <a:t> the past few years that </a:t>
            </a:r>
            <a:r>
              <a:rPr lang="en-US" sz="1600" dirty="0"/>
              <a:t>BI is important</a:t>
            </a:r>
            <a:r>
              <a:rPr lang="en-US" sz="1600" baseline="0" dirty="0"/>
              <a:t> to all organizations, to some degree, and yet there are still challenges that need to be addressed.</a:t>
            </a:r>
          </a:p>
          <a:p>
            <a:pPr marL="285750" lvl="0" indent="-285750">
              <a:buFont typeface="Arial" panose="020B0604020202020204" pitchFamily="34" charset="0"/>
              <a:buChar char="•"/>
            </a:pPr>
            <a:r>
              <a:rPr lang="en-US" sz="1600" baseline="0" dirty="0"/>
              <a:t>These challenges include: </a:t>
            </a:r>
          </a:p>
          <a:p>
            <a:pPr marL="620374" lvl="2" indent="-285750">
              <a:buFont typeface="Arial" panose="020B0604020202020204" pitchFamily="34" charset="0"/>
              <a:buChar char="•"/>
            </a:pPr>
            <a:r>
              <a:rPr lang="en-US" sz="1600" baseline="0" dirty="0"/>
              <a:t>getting a complete view of your org, </a:t>
            </a:r>
          </a:p>
          <a:p>
            <a:pPr marL="620374" lvl="2" indent="-285750">
              <a:buFont typeface="Arial" panose="020B0604020202020204" pitchFamily="34" charset="0"/>
              <a:buChar char="•"/>
            </a:pPr>
            <a:r>
              <a:rPr lang="en-US" sz="1600" baseline="0" dirty="0"/>
              <a:t>managing all the data sources that contribute to your complete view, </a:t>
            </a:r>
          </a:p>
          <a:p>
            <a:pPr marL="620374" lvl="2" indent="-285750">
              <a:buFont typeface="Arial" panose="020B0604020202020204" pitchFamily="34" charset="0"/>
              <a:buChar char="•"/>
            </a:pPr>
            <a:r>
              <a:rPr lang="en-US" sz="1600" baseline="0" dirty="0"/>
              <a:t>and providing access in a timely manner to EVERYONE who needs it</a:t>
            </a:r>
          </a:p>
          <a:p>
            <a:pPr marL="502986" lvl="1" indent="-285750">
              <a:buFont typeface="Arial" panose="020B0604020202020204" pitchFamily="34" charset="0"/>
              <a:buChar char="•"/>
            </a:pPr>
            <a:endParaRPr lang="en-US" sz="1600" baseline="0" dirty="0"/>
          </a:p>
          <a:p>
            <a:pPr marL="0" marR="0" lvl="0" indent="0" algn="l" defTabSz="932631"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600" b="1" kern="0" dirty="0">
                <a:solidFill>
                  <a:schemeClr val="tx2">
                    <a:lumMod val="10000"/>
                  </a:schemeClr>
                </a:solidFill>
                <a:latin typeface="Segoe UI Light"/>
              </a:rPr>
              <a:t>Bring data to life with Power BI - </a:t>
            </a:r>
            <a:r>
              <a:rPr lang="en-US" sz="1050" b="1" kern="0" dirty="0">
                <a:solidFill>
                  <a:schemeClr val="tx2">
                    <a:lumMod val="10000"/>
                  </a:schemeClr>
                </a:solidFill>
                <a:cs typeface="+mn-cs"/>
              </a:rPr>
              <a:t>Power BI is a cloud-based business analytics service that enables:</a:t>
            </a:r>
          </a:p>
          <a:p>
            <a:pPr marL="285750" lvl="0" indent="-285750">
              <a:buFont typeface="Arial" panose="020B0604020202020204" pitchFamily="34" charset="0"/>
              <a:buChar char="•"/>
            </a:pPr>
            <a:r>
              <a:rPr lang="en-US" sz="1600" baseline="0" dirty="0"/>
              <a:t>Power BI is the solution that solves for these challenges</a:t>
            </a:r>
          </a:p>
          <a:p>
            <a:pPr marL="285750" lvl="0" indent="-285750">
              <a:buFont typeface="Arial" panose="020B0604020202020204" pitchFamily="34" charset="0"/>
              <a:buChar char="•"/>
            </a:pPr>
            <a:r>
              <a:rPr lang="en-US" sz="1600" baseline="0" dirty="0"/>
              <a:t>IT professionals and business analysts used to be the keepers of BI, but now EVERYONE can collect, analyze, visualize and publish data</a:t>
            </a:r>
          </a:p>
          <a:p>
            <a:endParaRPr lang="en-US" sz="1600" baseline="0" dirty="0"/>
          </a:p>
          <a:p>
            <a:pPr marL="0" marR="0" lvl="0" indent="0" algn="l" defTabSz="932631" rtl="0" eaLnBrk="1" fontAlgn="auto" latinLnBrk="0" hangingPunct="1">
              <a:lnSpc>
                <a:spcPct val="90000"/>
              </a:lnSpc>
              <a:spcBef>
                <a:spcPts val="0"/>
              </a:spcBef>
              <a:spcAft>
                <a:spcPts val="340"/>
              </a:spcAft>
              <a:buClrTx/>
              <a:buSzTx/>
              <a:buFontTx/>
              <a:buNone/>
              <a:tabLst/>
              <a:defRPr/>
            </a:pPr>
            <a:r>
              <a:rPr lang="en-US" sz="1600" b="1" kern="0" dirty="0">
                <a:solidFill>
                  <a:schemeClr val="tx2">
                    <a:lumMod val="10000"/>
                  </a:schemeClr>
                </a:solidFill>
                <a:latin typeface="Segoe UI Light"/>
              </a:rPr>
              <a:t>Connect customers to data on any device - </a:t>
            </a:r>
            <a:r>
              <a:rPr lang="en-US" sz="1600" b="1" kern="0" dirty="0">
                <a:solidFill>
                  <a:schemeClr val="tx2">
                    <a:lumMod val="10000"/>
                  </a:schemeClr>
                </a:solidFill>
                <a:cs typeface="+mn-cs"/>
              </a:rPr>
              <a:t>Help them stay in the know, spot trends as they happen, and push business further</a:t>
            </a:r>
          </a:p>
          <a:p>
            <a:pPr marL="285750" marR="0" indent="-285750" algn="l" defTabSz="932631" rtl="0" eaLnBrk="1" fontAlgn="auto" latinLnBrk="0" hangingPunct="1">
              <a:lnSpc>
                <a:spcPct val="90000"/>
              </a:lnSpc>
              <a:spcBef>
                <a:spcPts val="0"/>
              </a:spcBef>
              <a:spcAft>
                <a:spcPts val="600"/>
              </a:spcAft>
              <a:buClrTx/>
              <a:buSzTx/>
              <a:buFont typeface="Arial" panose="020B0604020202020204" pitchFamily="34" charset="0"/>
              <a:buChar char="•"/>
              <a:tabLst/>
              <a:defRPr/>
            </a:pPr>
            <a:r>
              <a:rPr lang="en-US" sz="1600" b="0" i="0" u="none" dirty="0">
                <a:solidFill>
                  <a:schemeClr val="bg2"/>
                </a:solidFill>
              </a:rPr>
              <a:t>Power BI is a</a:t>
            </a:r>
            <a:r>
              <a:rPr lang="en-US" sz="1600" b="0" i="0" u="none" baseline="0" dirty="0">
                <a:solidFill>
                  <a:schemeClr val="bg2"/>
                </a:solidFill>
              </a:rPr>
              <a:t> powerful tool, making BI easily accessible.  By leveraging the unique benefits of Power BI, and the vast array of solutions possible, you can position yourself as the go-to </a:t>
            </a:r>
            <a:r>
              <a:rPr lang="en-US" sz="1600" b="0" i="0" u="none" kern="0" spc="0" dirty="0">
                <a:solidFill>
                  <a:schemeClr val="bg2"/>
                </a:solidFill>
                <a:latin typeface="Segoe UI Light" pitchFamily="34" charset="0"/>
                <a:ea typeface="+mn-ea"/>
                <a:cs typeface="+mn-cs"/>
              </a:rPr>
              <a:t>BI solution provider for your customers.</a:t>
            </a:r>
            <a:endParaRPr lang="en-US" sz="1600" dirty="0">
              <a:gradFill>
                <a:gsLst>
                  <a:gs pos="2917">
                    <a:schemeClr val="tx1"/>
                  </a:gs>
                  <a:gs pos="30000">
                    <a:schemeClr val="tx1"/>
                  </a:gs>
                </a:gsLst>
                <a:lin ang="5400000" scaled="0"/>
              </a:gradFill>
            </a:endParaRPr>
          </a:p>
          <a:p>
            <a:pPr marL="502986" lvl="1" indent="-28575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rPr>
              <a:t>Provide solutions quickly</a:t>
            </a:r>
          </a:p>
          <a:p>
            <a:pPr marL="502986" lvl="1" indent="-28575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rPr>
              <a:t>Create solutions that pull from top data sources</a:t>
            </a:r>
          </a:p>
          <a:p>
            <a:pPr marL="502986" lvl="1" indent="-28575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rPr>
              <a:t>Empower customers with data insights</a:t>
            </a:r>
          </a:p>
          <a:p>
            <a:endParaRPr lang="en-US" sz="1600" baseline="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22A586C-25FD-4BB2-86DC-B541A87AECB9}"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374097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631" rtl="0" eaLnBrk="1" fontAlgn="auto" latinLnBrk="0" hangingPunct="1">
              <a:lnSpc>
                <a:spcPct val="90000"/>
              </a:lnSpc>
              <a:spcBef>
                <a:spcPts val="0"/>
              </a:spcBef>
              <a:spcAft>
                <a:spcPts val="340"/>
              </a:spcAft>
              <a:buClrTx/>
              <a:buSzTx/>
              <a:buFontTx/>
              <a:buNone/>
              <a:tabLst/>
              <a:defRPr/>
            </a:pPr>
            <a:r>
              <a:rPr lang="en-US" sz="900" b="1" dirty="0"/>
              <a:t>Key</a:t>
            </a:r>
            <a:r>
              <a:rPr lang="en-US" sz="900" b="1" baseline="0" dirty="0"/>
              <a:t> message</a:t>
            </a:r>
            <a:r>
              <a:rPr lang="en-US" sz="900" b="1" dirty="0"/>
              <a:t>: </a:t>
            </a:r>
            <a:r>
              <a:rPr lang="en-US" sz="900" dirty="0"/>
              <a:t>Power</a:t>
            </a:r>
            <a:r>
              <a:rPr lang="en-US" sz="900" baseline="0" dirty="0"/>
              <a:t> BI has helped many companies by connecting a huge variety of data sources into one location, making that data easy to visualize and share</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2EAEBEF-C1B6-4B3B-ABAF-9A6BD2BA2C24}" type="datetime1">
              <a:rPr lang="en-US" smtClean="0"/>
              <a:t>6/10/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10344891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4000" b="1" dirty="0">
                <a:latin typeface="+mj-lt"/>
              </a:rPr>
              <a:t>Key message: </a:t>
            </a:r>
            <a:r>
              <a:rPr lang="en-US" sz="4000" b="0" dirty="0">
                <a:latin typeface="+mj-lt"/>
              </a:rPr>
              <a:t>w</a:t>
            </a:r>
            <a:r>
              <a:rPr lang="en-US" sz="4000" dirty="0"/>
              <a:t>e have established in</a:t>
            </a:r>
            <a:r>
              <a:rPr lang="en-US" sz="4000" baseline="0" dirty="0"/>
              <a:t> the past few years that </a:t>
            </a:r>
            <a:r>
              <a:rPr lang="en-US" sz="4000" dirty="0"/>
              <a:t>BI is important</a:t>
            </a:r>
            <a:r>
              <a:rPr lang="en-US" sz="4000" baseline="0" dirty="0"/>
              <a:t> to all organizations, to some degree, and yet there are still challenges that need to be addressed</a:t>
            </a:r>
            <a:endParaRPr lang="en-US" sz="4000" dirty="0">
              <a:latin typeface="+mj-lt"/>
            </a:endParaRPr>
          </a:p>
          <a:p>
            <a:pPr algn="l"/>
            <a:endParaRPr lang="en-US" sz="4000" dirty="0">
              <a:latin typeface="+mj-lt"/>
            </a:endParaRPr>
          </a:p>
          <a:p>
            <a:pPr algn="l"/>
            <a:r>
              <a:rPr lang="en-US" sz="4000" b="1" dirty="0">
                <a:latin typeface="+mj-lt"/>
              </a:rPr>
              <a:t>Power</a:t>
            </a:r>
            <a:r>
              <a:rPr lang="en-US" sz="4000" b="1" baseline="0" dirty="0">
                <a:latin typeface="+mj-lt"/>
              </a:rPr>
              <a:t> BI addresses 3 common business intelligence challenges your organization may face:</a:t>
            </a: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6000" b="0" u="sng" kern="1200" dirty="0">
                <a:gradFill>
                  <a:gsLst>
                    <a:gs pos="0">
                      <a:srgbClr val="FFFFFF"/>
                    </a:gs>
                    <a:gs pos="100000">
                      <a:srgbClr val="FFFFFF"/>
                    </a:gs>
                  </a:gsLst>
                  <a:lin ang="5400000" scaled="0"/>
                </a:gradFill>
                <a:latin typeface="+mj-lt"/>
                <a:ea typeface="Segoe UI" pitchFamily="34" charset="0"/>
                <a:cs typeface="Segoe UI" pitchFamily="34" charset="0"/>
              </a:rPr>
              <a:t>Getting an end-to-end view off what is happening</a:t>
            </a:r>
            <a:r>
              <a:rPr lang="en-US" sz="6000" b="0" u="sng" kern="1200" baseline="0" dirty="0">
                <a:gradFill>
                  <a:gsLst>
                    <a:gs pos="0">
                      <a:srgbClr val="FFFFFF"/>
                    </a:gs>
                    <a:gs pos="100000">
                      <a:srgbClr val="FFFFFF"/>
                    </a:gs>
                  </a:gsLst>
                  <a:lin ang="5400000" scaled="0"/>
                </a:gradFill>
                <a:latin typeface="+mj-lt"/>
                <a:ea typeface="Segoe UI" pitchFamily="34" charset="0"/>
                <a:cs typeface="Segoe UI" pitchFamily="34" charset="0"/>
              </a:rPr>
              <a:t> </a:t>
            </a:r>
            <a:r>
              <a:rPr lang="en-US" sz="4000" baseline="0" dirty="0">
                <a:latin typeface="+mj-lt"/>
              </a:rPr>
              <a:t>— because d</a:t>
            </a:r>
            <a:r>
              <a:rPr lang="en-US" sz="4400" kern="1200" dirty="0">
                <a:solidFill>
                  <a:schemeClr val="tx1">
                    <a:lumMod val="75000"/>
                    <a:lumOff val="25000"/>
                  </a:schemeClr>
                </a:solidFill>
                <a:latin typeface="+mj-lt"/>
                <a:ea typeface="Segoe UI" pitchFamily="34" charset="0"/>
                <a:cs typeface="Segoe UI" pitchFamily="34" charset="0"/>
              </a:rPr>
              <a:t>ata is often in disparate locations, </a:t>
            </a:r>
            <a:r>
              <a:rPr lang="en-US" sz="3600" kern="1200" dirty="0">
                <a:solidFill>
                  <a:schemeClr val="tx1">
                    <a:lumMod val="75000"/>
                    <a:lumOff val="25000"/>
                  </a:schemeClr>
                </a:solidFill>
                <a:latin typeface="+mj-lt"/>
                <a:ea typeface="Segoe UI" pitchFamily="34" charset="0"/>
                <a:cs typeface="Segoe UI" pitchFamily="34" charset="0"/>
              </a:rPr>
              <a:t>it can be difficult for business </a:t>
            </a:r>
            <a:r>
              <a:rPr lang="en-US" sz="3600" kern="1200" baseline="0" dirty="0">
                <a:solidFill>
                  <a:schemeClr val="tx1">
                    <a:lumMod val="75000"/>
                    <a:lumOff val="25000"/>
                  </a:schemeClr>
                </a:solidFill>
                <a:latin typeface="+mj-lt"/>
                <a:ea typeface="Segoe UI" pitchFamily="34" charset="0"/>
                <a:cs typeface="Segoe UI" pitchFamily="34" charset="0"/>
              </a:rPr>
              <a:t>users to </a:t>
            </a:r>
            <a:r>
              <a:rPr lang="en-US" sz="3600" kern="1200" dirty="0">
                <a:solidFill>
                  <a:schemeClr val="tx1">
                    <a:lumMod val="75000"/>
                    <a:lumOff val="25000"/>
                  </a:schemeClr>
                </a:solidFill>
                <a:latin typeface="+mj-lt"/>
                <a:ea typeface="Segoe UI" pitchFamily="34" charset="0"/>
                <a:cs typeface="Segoe UI" pitchFamily="34" charset="0"/>
              </a:rPr>
              <a:t>see a complete picture of your business </a:t>
            </a:r>
            <a:endParaRPr lang="en-US" sz="4000" baseline="0" dirty="0">
              <a:latin typeface="+mj-lt"/>
            </a:endParaRP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4000" b="0" u="sng" baseline="0" dirty="0">
                <a:latin typeface="+mj-lt"/>
              </a:rPr>
              <a:t>Managing multiple data sources </a:t>
            </a:r>
            <a:r>
              <a:rPr lang="en-US" sz="4400" baseline="0" dirty="0">
                <a:latin typeface="+mj-lt"/>
              </a:rPr>
              <a:t>— </a:t>
            </a:r>
            <a:r>
              <a:rPr lang="en-US" sz="4400" kern="1200" dirty="0">
                <a:solidFill>
                  <a:schemeClr val="tx1">
                    <a:lumMod val="75000"/>
                    <a:lumOff val="25000"/>
                  </a:schemeClr>
                </a:solidFill>
                <a:latin typeface="+mj-lt"/>
                <a:ea typeface="Segoe UI" pitchFamily="34" charset="0"/>
                <a:cs typeface="Segoe UI" pitchFamily="34" charset="0"/>
              </a:rPr>
              <a:t>Data residing in SaaS solutions and other external locations can be difficult to manage programmatically, or access and refresh securely</a:t>
            </a:r>
            <a:endParaRPr lang="en-US" sz="4000" baseline="0" dirty="0">
              <a:latin typeface="+mj-lt"/>
            </a:endParaRPr>
          </a:p>
          <a:p>
            <a:pPr marL="228600" indent="-228600" algn="l">
              <a:buFont typeface="+mj-lt"/>
              <a:buAutoNum type="arabicPeriod"/>
            </a:pPr>
            <a:r>
              <a:rPr lang="en-US" sz="4000" b="0" u="sng" baseline="0" dirty="0">
                <a:latin typeface="+mj-lt"/>
              </a:rPr>
              <a:t>Making the right data available to the right users at the right time</a:t>
            </a:r>
          </a:p>
          <a:p>
            <a:pPr marL="628650" lvl="1" indent="-171450" algn="l" defTabSz="932472" fontAlgn="base">
              <a:lnSpc>
                <a:spcPct val="90000"/>
              </a:lnSpc>
              <a:spcBef>
                <a:spcPct val="0"/>
              </a:spcBef>
              <a:spcAft>
                <a:spcPct val="0"/>
              </a:spcAft>
              <a:buFont typeface="Arial" panose="020B0604020202020204" pitchFamily="34" charset="0"/>
              <a:buChar char="•"/>
            </a:pPr>
            <a:r>
              <a:rPr lang="en-US" sz="16600" kern="1200" dirty="0">
                <a:solidFill>
                  <a:schemeClr val="tx1">
                    <a:lumMod val="75000"/>
                    <a:lumOff val="25000"/>
                  </a:schemeClr>
                </a:solidFill>
                <a:latin typeface="+mj-lt"/>
                <a:ea typeface="Segoe UI" pitchFamily="34" charset="0"/>
                <a:cs typeface="Segoe UI" pitchFamily="34" charset="0"/>
              </a:rPr>
              <a:t>Mobile business users need the latest operational data at their fingertips, no matter where they are or what device they’re using</a:t>
            </a:r>
          </a:p>
          <a:p>
            <a:pPr marL="628650" lvl="1" indent="-171450" algn="l" defTabSz="932472" fontAlgn="base">
              <a:lnSpc>
                <a:spcPct val="90000"/>
              </a:lnSpc>
              <a:spcBef>
                <a:spcPct val="0"/>
              </a:spcBef>
              <a:spcAft>
                <a:spcPct val="0"/>
              </a:spcAft>
              <a:buFont typeface="Arial" panose="020B0604020202020204" pitchFamily="34" charset="0"/>
              <a:buChar char="•"/>
            </a:pPr>
            <a:r>
              <a:rPr lang="en-US" sz="6000" kern="1200" dirty="0">
                <a:solidFill>
                  <a:schemeClr val="tx1">
                    <a:lumMod val="75000"/>
                    <a:lumOff val="25000"/>
                  </a:schemeClr>
                </a:solidFill>
                <a:latin typeface="+mj-lt"/>
                <a:ea typeface="Segoe UI" pitchFamily="34" charset="0"/>
                <a:cs typeface="Segoe UI" pitchFamily="34" charset="0"/>
              </a:rPr>
              <a:t>Different roles have different needs and access levels, so a one-size-fits all solution doesn’t work</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3329DEA-6433-4493-B9C4-3E0AC755FE5D}"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7670391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b="1" dirty="0">
                <a:gradFill>
                  <a:gsLst>
                    <a:gs pos="1250">
                      <a:srgbClr val="000000"/>
                    </a:gs>
                    <a:gs pos="99000">
                      <a:srgbClr val="000000"/>
                    </a:gs>
                  </a:gsLst>
                  <a:lin ang="5400000" scaled="0"/>
                </a:gradFill>
                <a:latin typeface="+mj-lt"/>
              </a:rPr>
              <a:t>Key message:</a:t>
            </a:r>
          </a:p>
          <a:p>
            <a:pPr marL="171450" marR="0" indent="-171450" algn="l" defTabSz="932631"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kern="1200" dirty="0">
                <a:gradFill>
                  <a:gsLst>
                    <a:gs pos="1250">
                      <a:srgbClr val="000000"/>
                    </a:gs>
                    <a:gs pos="99000">
                      <a:srgbClr val="000000"/>
                    </a:gs>
                  </a:gsLst>
                  <a:lin ang="5400000" scaled="0"/>
                </a:gradFill>
                <a:latin typeface="Segoe UI Light" pitchFamily="34" charset="0"/>
                <a:ea typeface="+mn-ea"/>
                <a:cs typeface="+mn-cs"/>
              </a:rPr>
              <a:t>This</a:t>
            </a:r>
            <a:r>
              <a:rPr lang="en-US" sz="1200" kern="1200" baseline="0" dirty="0">
                <a:gradFill>
                  <a:gsLst>
                    <a:gs pos="1250">
                      <a:srgbClr val="000000"/>
                    </a:gs>
                    <a:gs pos="99000">
                      <a:srgbClr val="000000"/>
                    </a:gs>
                  </a:gsLst>
                  <a:lin ang="5400000" scaled="0"/>
                </a:gradFill>
                <a:latin typeface="Segoe UI Light" pitchFamily="34" charset="0"/>
                <a:ea typeface="+mn-ea"/>
                <a:cs typeface="+mn-cs"/>
              </a:rPr>
              <a:t> is Power BI in a nutshell and the overall benefits to your business.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Power BI is a business analytics service. With Power BI you can now see all of your data through a single pane of glass. Live Power BI dashboards and reports show visualizations and KPIs from data residing both on-premises and in the cloud, providing a consolidated view across your business regardless of where your data lives.</a:t>
            </a:r>
          </a:p>
          <a:p>
            <a:pPr marL="171450" marR="0" indent="-171450" algn="l" defTabSz="932631"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0" kern="1200" dirty="0">
                <a:solidFill>
                  <a:schemeClr val="tx1"/>
                </a:solidFill>
                <a:latin typeface="Segoe UI Light" pitchFamily="34" charset="0"/>
                <a:ea typeface="+mn-ea"/>
                <a:cs typeface="+mn-cs"/>
              </a:rPr>
              <a:t>There are several capabilities</a:t>
            </a:r>
            <a:r>
              <a:rPr lang="en-US" sz="1200" b="0" kern="1200" baseline="0" dirty="0">
                <a:solidFill>
                  <a:schemeClr val="tx1"/>
                </a:solidFill>
                <a:latin typeface="Segoe UI Light" pitchFamily="34" charset="0"/>
                <a:ea typeface="+mn-ea"/>
                <a:cs typeface="+mn-cs"/>
              </a:rPr>
              <a:t> that differentiate Power BI from other offerings in the market.</a:t>
            </a:r>
          </a:p>
          <a:p>
            <a:pPr marL="171450" marR="0" indent="-171450" algn="l" defTabSz="932631"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0" kern="1200" baseline="0" dirty="0">
                <a:solidFill>
                  <a:schemeClr val="tx1"/>
                </a:solidFill>
                <a:latin typeface="Segoe UI Light" pitchFamily="34" charset="0"/>
                <a:ea typeface="+mn-ea"/>
                <a:cs typeface="+mn-cs"/>
              </a:rPr>
              <a:t>Using Power BI will help you become the BI solution provider for your customers.</a:t>
            </a:r>
          </a:p>
          <a:p>
            <a:endParaRPr lang="en-US" sz="900" b="0" kern="1200" baseline="0" dirty="0">
              <a:solidFill>
                <a:schemeClr val="tx1"/>
              </a:solidFill>
              <a:latin typeface="Segoe UI Light" pitchFamily="34" charset="0"/>
              <a:ea typeface="+mn-ea"/>
              <a:cs typeface="+mn-cs"/>
            </a:endParaRPr>
          </a:p>
          <a:p>
            <a:r>
              <a:rPr lang="en-US" sz="900" b="1" kern="1200" baseline="0" dirty="0">
                <a:solidFill>
                  <a:schemeClr val="tx1"/>
                </a:solidFill>
                <a:latin typeface="Segoe UI Light" pitchFamily="34" charset="0"/>
                <a:ea typeface="+mn-ea"/>
                <a:cs typeface="+mn-cs"/>
              </a:rPr>
              <a:t>Intro:</a:t>
            </a:r>
            <a:endParaRPr lang="en-US" sz="900" b="1" kern="1200" dirty="0">
              <a:solidFill>
                <a:schemeClr val="tx1"/>
              </a:solidFill>
              <a:latin typeface="Segoe UI Light" pitchFamily="34" charset="0"/>
              <a:ea typeface="+mn-ea"/>
              <a:cs typeface="+mn-cs"/>
            </a:endParaRPr>
          </a:p>
          <a:p>
            <a:pPr marL="0" marR="0" indent="0" algn="l" defTabSz="914367" rtl="0" eaLnBrk="1" fontAlgn="auto" latinLnBrk="0" hangingPunct="1">
              <a:lnSpc>
                <a:spcPct val="100000"/>
              </a:lnSpc>
              <a:spcBef>
                <a:spcPts val="0"/>
              </a:spcBef>
              <a:spcAft>
                <a:spcPts val="0"/>
              </a:spcAft>
              <a:buClrTx/>
              <a:buSzTx/>
              <a:buFontTx/>
              <a:buNone/>
              <a:tabLst/>
              <a:defRPr/>
            </a:pPr>
            <a:r>
              <a:rPr lang="en-US" sz="900" kern="1200" dirty="0">
                <a:gradFill>
                  <a:gsLst>
                    <a:gs pos="1250">
                      <a:srgbClr val="000000"/>
                    </a:gs>
                    <a:gs pos="99000">
                      <a:srgbClr val="000000"/>
                    </a:gs>
                  </a:gsLst>
                  <a:lin ang="5400000" scaled="0"/>
                </a:gradFill>
                <a:latin typeface="Segoe UI Light" pitchFamily="34" charset="0"/>
                <a:ea typeface="+mn-ea"/>
                <a:cs typeface="+mn-cs"/>
              </a:rPr>
              <a:t>Power BI is a cloud-based analytics service that provides faster time to insight. It is used for visualizing, exploring and extracting insights from data. It brings together data from diverse sources to deliver rich, comprehensive views of business operations. </a:t>
            </a:r>
            <a:endParaRPr lang="en-US" sz="1800" dirty="0">
              <a:gradFill>
                <a:gsLst>
                  <a:gs pos="1250">
                    <a:srgbClr val="000000"/>
                  </a:gs>
                  <a:gs pos="99000">
                    <a:srgbClr val="000000"/>
                  </a:gs>
                </a:gsLst>
                <a:lin ang="5400000" scaled="0"/>
              </a:gradFill>
            </a:endParaRPr>
          </a:p>
          <a:p>
            <a:pPr defTabSz="914367"/>
            <a:r>
              <a:rPr lang="en-US" sz="900" kern="1200" dirty="0">
                <a:gradFill>
                  <a:gsLst>
                    <a:gs pos="1250">
                      <a:srgbClr val="000000"/>
                    </a:gs>
                    <a:gs pos="99000">
                      <a:srgbClr val="000000"/>
                    </a:gs>
                  </a:gsLst>
                  <a:lin ang="5400000" scaled="0"/>
                </a:gradFill>
                <a:latin typeface="Segoe UI Light" pitchFamily="34" charset="0"/>
                <a:ea typeface="+mn-ea"/>
                <a:cs typeface="+mn-cs"/>
              </a:rPr>
              <a:t>What that means is, with Power BI, you can see all of your data through a single pane of glass, and create an analytics environment in minutes to monitor data and share reports. Live dashboards and reports show visualizations and KPIs from data that reside both on-premises and in the cloud, providing a consolidated view across your business regardless of where your data lives. </a:t>
            </a:r>
            <a:endParaRPr lang="en-US" sz="1800" kern="1200" baseline="0" dirty="0">
              <a:solidFill>
                <a:schemeClr val="tx1"/>
              </a:solidFill>
              <a:latin typeface="Segoe UI Light" pitchFamily="34" charset="0"/>
              <a:ea typeface="+mn-ea"/>
              <a:cs typeface="+mn-cs"/>
            </a:endParaRPr>
          </a:p>
          <a:p>
            <a:endParaRPr lang="en-US" sz="1800" kern="1200" baseline="0" dirty="0">
              <a:solidFill>
                <a:schemeClr val="tx1"/>
              </a:solidFill>
              <a:latin typeface="Segoe UI Light" pitchFamily="34" charset="0"/>
              <a:ea typeface="+mn-ea"/>
              <a:cs typeface="+mn-cs"/>
            </a:endParaRPr>
          </a:p>
          <a:p>
            <a:r>
              <a:rPr lang="en-US" sz="1800" b="1" kern="1200" baseline="0" dirty="0">
                <a:solidFill>
                  <a:schemeClr val="tx1"/>
                </a:solidFill>
                <a:latin typeface="Segoe UI Light" pitchFamily="34" charset="0"/>
                <a:ea typeface="+mn-ea"/>
                <a:cs typeface="+mn-cs"/>
              </a:rPr>
              <a:t>Power BI enables:</a:t>
            </a:r>
          </a:p>
          <a:p>
            <a:pPr marL="171450" indent="-171450">
              <a:buFont typeface="Arial" panose="020B0604020202020204" pitchFamily="34" charset="0"/>
              <a:buChar char="•"/>
            </a:pPr>
            <a:r>
              <a:rPr lang="en-US" sz="1800" kern="1200" dirty="0">
                <a:solidFill>
                  <a:schemeClr val="tx1"/>
                </a:solidFill>
                <a:latin typeface="Segoe UI Light" pitchFamily="34" charset="0"/>
                <a:ea typeface="+mn-ea"/>
                <a:cs typeface="+mn-cs"/>
              </a:rPr>
              <a:t>Fast and easy access to data</a:t>
            </a:r>
          </a:p>
          <a:p>
            <a:pPr marL="171450" indent="-171450">
              <a:buFont typeface="Arial" panose="020B0604020202020204" pitchFamily="34" charset="0"/>
              <a:buChar char="•"/>
            </a:pPr>
            <a:r>
              <a:rPr lang="en-US" sz="1800" kern="1200" dirty="0">
                <a:solidFill>
                  <a:schemeClr val="tx1"/>
                </a:solidFill>
                <a:latin typeface="Segoe UI Light" pitchFamily="34" charset="0"/>
                <a:ea typeface="+mn-ea"/>
                <a:cs typeface="+mn-cs"/>
              </a:rPr>
              <a:t>A live 360 view of a business</a:t>
            </a:r>
          </a:p>
          <a:p>
            <a:pPr marL="171450" marR="0" indent="-171450" algn="l" defTabSz="932631"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800" kern="1200" dirty="0">
                <a:solidFill>
                  <a:schemeClr val="tx1"/>
                </a:solidFill>
                <a:latin typeface="Segoe UI Light" pitchFamily="34" charset="0"/>
                <a:ea typeface="+mn-ea"/>
                <a:cs typeface="+mn-cs"/>
              </a:rPr>
              <a:t>Data discovery and exploration </a:t>
            </a:r>
          </a:p>
          <a:p>
            <a:pPr marL="171450" indent="-171450">
              <a:buFont typeface="Arial" panose="020B0604020202020204" pitchFamily="34" charset="0"/>
              <a:buChar char="•"/>
            </a:pPr>
            <a:r>
              <a:rPr lang="en-US" sz="1800" kern="1200" dirty="0">
                <a:solidFill>
                  <a:schemeClr val="tx1"/>
                </a:solidFill>
                <a:latin typeface="Segoe UI Light" pitchFamily="34" charset="0"/>
                <a:ea typeface="+mn-ea"/>
                <a:cs typeface="+mn-cs"/>
              </a:rPr>
              <a:t>Insights from any device</a:t>
            </a:r>
          </a:p>
          <a:p>
            <a:pPr marL="171450" indent="-171450">
              <a:buFont typeface="Arial" panose="020B0604020202020204" pitchFamily="34" charset="0"/>
              <a:buChar char="•"/>
            </a:pPr>
            <a:r>
              <a:rPr lang="en-US" sz="1800" kern="1200" dirty="0">
                <a:solidFill>
                  <a:schemeClr val="tx1"/>
                </a:solidFill>
                <a:latin typeface="Segoe UI Light" pitchFamily="34" charset="0"/>
                <a:ea typeface="+mn-ea"/>
                <a:cs typeface="+mn-cs"/>
              </a:rPr>
              <a:t>Collaboration across an organization</a:t>
            </a:r>
          </a:p>
          <a:p>
            <a:pPr marL="171450" indent="-171450">
              <a:buFont typeface="Arial" panose="020B0604020202020204" pitchFamily="34" charset="0"/>
              <a:buChar char="•"/>
            </a:pPr>
            <a:r>
              <a:rPr lang="en-US" sz="1800" kern="1200" dirty="0">
                <a:solidFill>
                  <a:schemeClr val="tx1"/>
                </a:solidFill>
                <a:latin typeface="Segoe UI Light" pitchFamily="34" charset="0"/>
                <a:ea typeface="+mn-ea"/>
                <a:cs typeface="+mn-cs"/>
              </a:rPr>
              <a:t>Anyone can visualize and analyze data</a:t>
            </a:r>
          </a:p>
          <a:p>
            <a:endParaRPr lang="en-US" sz="1800" kern="1200" baseline="0" dirty="0">
              <a:solidFill>
                <a:schemeClr val="tx1"/>
              </a:solidFill>
              <a:latin typeface="Segoe UI Light" pitchFamily="34" charset="0"/>
              <a:ea typeface="+mn-ea"/>
              <a:cs typeface="+mn-cs"/>
            </a:endParaRPr>
          </a:p>
          <a:p>
            <a:r>
              <a:rPr lang="en-US" sz="900" b="1" kern="1200" dirty="0">
                <a:solidFill>
                  <a:schemeClr val="tx1"/>
                </a:solidFill>
                <a:latin typeface="Segoe UI Light" pitchFamily="34" charset="0"/>
                <a:ea typeface="+mn-ea"/>
                <a:cs typeface="+mn-cs"/>
              </a:rPr>
              <a:t>There are several capabilities</a:t>
            </a:r>
            <a:r>
              <a:rPr lang="en-US" sz="900" b="1" kern="1200" baseline="0" dirty="0">
                <a:solidFill>
                  <a:schemeClr val="tx1"/>
                </a:solidFill>
                <a:latin typeface="Segoe UI Light" pitchFamily="34" charset="0"/>
                <a:ea typeface="+mn-ea"/>
                <a:cs typeface="+mn-cs"/>
              </a:rPr>
              <a:t> that are unique to Power BI – these include: </a:t>
            </a:r>
            <a:endParaRPr lang="en-US" sz="1800" b="1" kern="1200" dirty="0">
              <a:solidFill>
                <a:schemeClr val="tx1"/>
              </a:solidFill>
              <a:latin typeface="Segoe UI Light" pitchFamily="34" charset="0"/>
              <a:ea typeface="+mn-ea"/>
              <a:cs typeface="+mn-cs"/>
            </a:endParaRPr>
          </a:p>
          <a:p>
            <a:pPr marL="171450" indent="-171450">
              <a:buFont typeface="Arial" panose="020B0604020202020204" pitchFamily="34" charset="0"/>
              <a:buChar char="•"/>
            </a:pPr>
            <a:r>
              <a:rPr lang="en-US" sz="900" kern="1200" dirty="0">
                <a:solidFill>
                  <a:schemeClr val="tx1"/>
                </a:solidFill>
                <a:latin typeface="Segoe UI Light" pitchFamily="34" charset="0"/>
                <a:ea typeface="+mn-ea"/>
                <a:cs typeface="+mn-cs"/>
              </a:rPr>
              <a:t>Pre-built dashboards and reports for popular SaaS solutions such as </a:t>
            </a:r>
            <a:r>
              <a:rPr lang="en-US" sz="900" kern="1200" dirty="0" err="1">
                <a:solidFill>
                  <a:schemeClr val="tx1"/>
                </a:solidFill>
                <a:latin typeface="Segoe UI Light" pitchFamily="34" charset="0"/>
                <a:ea typeface="+mn-ea"/>
                <a:cs typeface="+mn-cs"/>
              </a:rPr>
              <a:t>Marketo</a:t>
            </a:r>
            <a:r>
              <a:rPr lang="en-US" sz="900" kern="1200" dirty="0">
                <a:solidFill>
                  <a:schemeClr val="tx1"/>
                </a:solidFill>
                <a:latin typeface="Segoe UI Light" pitchFamily="34" charset="0"/>
                <a:ea typeface="+mn-ea"/>
                <a:cs typeface="+mn-cs"/>
              </a:rPr>
              <a:t>, Salesforce, GitHub, </a:t>
            </a:r>
            <a:r>
              <a:rPr lang="en-US" sz="900" kern="1200" dirty="0" err="1">
                <a:solidFill>
                  <a:schemeClr val="tx1"/>
                </a:solidFill>
                <a:latin typeface="Segoe UI Light" pitchFamily="34" charset="0"/>
                <a:ea typeface="+mn-ea"/>
                <a:cs typeface="+mn-cs"/>
              </a:rPr>
              <a:t>ZenDesk</a:t>
            </a:r>
            <a:r>
              <a:rPr lang="en-US" sz="900" kern="1200" dirty="0">
                <a:solidFill>
                  <a:schemeClr val="tx1"/>
                </a:solidFill>
                <a:latin typeface="Segoe UI Light" pitchFamily="34" charset="0"/>
                <a:ea typeface="+mn-ea"/>
                <a:cs typeface="+mn-cs"/>
              </a:rPr>
              <a:t>, Dynamics CRM, and many others</a:t>
            </a:r>
            <a:endParaRPr lang="en-US" sz="1800" kern="1200" dirty="0">
              <a:solidFill>
                <a:schemeClr val="tx1"/>
              </a:solidFill>
              <a:latin typeface="Segoe UI Light" pitchFamily="34" charset="0"/>
              <a:ea typeface="+mn-ea"/>
              <a:cs typeface="+mn-cs"/>
            </a:endParaRPr>
          </a:p>
          <a:p>
            <a:pPr marL="171450" indent="-171450">
              <a:buFont typeface="Arial" panose="020B0604020202020204" pitchFamily="34" charset="0"/>
              <a:buChar char="•"/>
            </a:pPr>
            <a:r>
              <a:rPr lang="en-US" sz="900" kern="1200" dirty="0">
                <a:solidFill>
                  <a:schemeClr val="tx1"/>
                </a:solidFill>
                <a:latin typeface="Segoe UI Light" pitchFamily="34" charset="0"/>
                <a:ea typeface="+mn-ea"/>
                <a:cs typeface="+mn-cs"/>
              </a:rPr>
              <a:t>Dashboard</a:t>
            </a:r>
            <a:r>
              <a:rPr lang="en-US" sz="900" kern="1200" baseline="0" dirty="0">
                <a:solidFill>
                  <a:schemeClr val="tx1"/>
                </a:solidFill>
                <a:latin typeface="Segoe UI Light" pitchFamily="34" charset="0"/>
                <a:ea typeface="+mn-ea"/>
                <a:cs typeface="+mn-cs"/>
              </a:rPr>
              <a:t>s and visualizations that </a:t>
            </a:r>
            <a:r>
              <a:rPr lang="en-US" sz="900" kern="1200" dirty="0">
                <a:solidFill>
                  <a:schemeClr val="tx1"/>
                </a:solidFill>
                <a:latin typeface="Segoe UI Light" pitchFamily="34" charset="0"/>
                <a:ea typeface="+mn-ea"/>
                <a:cs typeface="+mn-cs"/>
              </a:rPr>
              <a:t>support real-time</a:t>
            </a:r>
            <a:r>
              <a:rPr lang="en-US" sz="900" kern="1200" baseline="0" dirty="0">
                <a:solidFill>
                  <a:schemeClr val="tx1"/>
                </a:solidFill>
                <a:latin typeface="Segoe UI Light" pitchFamily="34" charset="0"/>
                <a:ea typeface="+mn-ea"/>
                <a:cs typeface="+mn-cs"/>
              </a:rPr>
              <a:t> updates</a:t>
            </a:r>
            <a:endParaRPr lang="en-US" sz="1800" kern="1200" dirty="0">
              <a:solidFill>
                <a:schemeClr val="tx1"/>
              </a:solidFill>
              <a:latin typeface="Segoe UI Light" pitchFamily="34" charset="0"/>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latin typeface="Segoe UI Light" pitchFamily="34" charset="0"/>
                <a:ea typeface="+mn-ea"/>
                <a:cs typeface="+mn-cs"/>
              </a:rPr>
              <a:t>Secure, live connection to on-premises data sources to drive insight across the</a:t>
            </a:r>
            <a:r>
              <a:rPr lang="en-US" sz="900" kern="1200" baseline="0" dirty="0">
                <a:solidFill>
                  <a:schemeClr val="tx1"/>
                </a:solidFill>
                <a:latin typeface="Segoe UI Light" pitchFamily="34" charset="0"/>
                <a:ea typeface="+mn-ea"/>
                <a:cs typeface="+mn-cs"/>
              </a:rPr>
              <a:t> entire range of organizational information (Analysis Services, Azure S</a:t>
            </a:r>
            <a:r>
              <a:rPr lang="en-US" sz="1800" kern="1200" dirty="0">
                <a:ln w="3175">
                  <a:noFill/>
                </a:ln>
                <a:gradFill>
                  <a:gsLst>
                    <a:gs pos="1250">
                      <a:schemeClr val="tx2"/>
                    </a:gs>
                    <a:gs pos="99000">
                      <a:schemeClr val="tx2"/>
                    </a:gs>
                  </a:gsLst>
                  <a:lin ang="5400000" scaled="0"/>
                </a:gradFill>
                <a:latin typeface="Segoe UI Light" pitchFamily="34" charset="0"/>
                <a:ea typeface="+mn-ea"/>
                <a:cs typeface="+mn-cs"/>
              </a:rPr>
              <a:t>QL Database, SQL Database Auditing,</a:t>
            </a:r>
            <a:r>
              <a:rPr lang="en-US" sz="1800" kern="1200" baseline="0" dirty="0">
                <a:ln w="3175">
                  <a:noFill/>
                </a:ln>
                <a:gradFill>
                  <a:gsLst>
                    <a:gs pos="1250">
                      <a:schemeClr val="tx2"/>
                    </a:gs>
                    <a:gs pos="99000">
                      <a:schemeClr val="tx2"/>
                    </a:gs>
                  </a:gsLst>
                  <a:lin ang="5400000" scaled="0"/>
                </a:gradFill>
                <a:latin typeface="Segoe UI Light" pitchFamily="34" charset="0"/>
                <a:ea typeface="+mn-ea"/>
                <a:cs typeface="+mn-cs"/>
              </a:rPr>
              <a:t> Azure SQL Data Warehouse)</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dirty="0">
                <a:ln w="3175">
                  <a:noFill/>
                </a:ln>
                <a:gradFill>
                  <a:gsLst>
                    <a:gs pos="1250">
                      <a:schemeClr val="tx2"/>
                    </a:gs>
                    <a:gs pos="99000">
                      <a:schemeClr val="tx2"/>
                    </a:gs>
                  </a:gsLst>
                  <a:lin ang="5400000" scaled="0"/>
                </a:gradFill>
                <a:latin typeface="Segoe UI Light" pitchFamily="34" charset="0"/>
                <a:ea typeface="+mn-ea"/>
                <a:cs typeface="+mn-cs"/>
              </a:rPr>
              <a:t>Automated scheduled refresh to keep your Power BI data in sync with on premises data sources</a:t>
            </a:r>
            <a:endParaRPr lang="en-US" sz="1800" kern="1200" baseline="0" dirty="0">
              <a:solidFill>
                <a:schemeClr val="tx1"/>
              </a:solidFill>
              <a:latin typeface="Segoe UI Light" pitchFamily="34" charset="0"/>
              <a:ea typeface="+mn-ea"/>
              <a:cs typeface="+mn-cs"/>
            </a:endParaRPr>
          </a:p>
          <a:p>
            <a:pPr marL="171450" indent="-171450">
              <a:buFont typeface="Arial" panose="020B0604020202020204" pitchFamily="34" charset="0"/>
              <a:buChar char="•"/>
            </a:pPr>
            <a:r>
              <a:rPr lang="en-US" sz="900" kern="1200" dirty="0">
                <a:solidFill>
                  <a:schemeClr val="tx1"/>
                </a:solidFill>
                <a:latin typeface="Segoe UI Light" pitchFamily="34" charset="0"/>
                <a:ea typeface="+mn-ea"/>
                <a:cs typeface="+mn-cs"/>
              </a:rPr>
              <a:t>Native mobile applications for keeping users</a:t>
            </a:r>
            <a:r>
              <a:rPr lang="en-US" sz="900" kern="1200" baseline="0" dirty="0">
                <a:solidFill>
                  <a:schemeClr val="tx1"/>
                </a:solidFill>
                <a:latin typeface="Segoe UI Light" pitchFamily="34" charset="0"/>
                <a:ea typeface="+mn-ea"/>
                <a:cs typeface="+mn-cs"/>
              </a:rPr>
              <a:t> connected on the go</a:t>
            </a:r>
            <a:endParaRPr lang="en-US" sz="1800" kern="1200" dirty="0">
              <a:solidFill>
                <a:schemeClr val="tx1"/>
              </a:solidFill>
              <a:latin typeface="Segoe UI Light" pitchFamily="34" charset="0"/>
              <a:ea typeface="+mn-ea"/>
              <a:cs typeface="+mn-cs"/>
            </a:endParaRPr>
          </a:p>
          <a:p>
            <a:pPr marL="171450" indent="-171450">
              <a:buFont typeface="Arial" panose="020B0604020202020204" pitchFamily="34" charset="0"/>
              <a:buChar char="•"/>
            </a:pPr>
            <a:r>
              <a:rPr lang="en-US" sz="900" kern="1200" dirty="0">
                <a:solidFill>
                  <a:schemeClr val="tx1"/>
                </a:solidFill>
                <a:latin typeface="Segoe UI Light" pitchFamily="34" charset="0"/>
                <a:ea typeface="+mn-ea"/>
                <a:cs typeface="+mn-cs"/>
              </a:rPr>
              <a:t>Easy integration with other Microsoft offerings,</a:t>
            </a:r>
            <a:r>
              <a:rPr lang="en-US" sz="900" kern="1200" baseline="0" dirty="0">
                <a:solidFill>
                  <a:schemeClr val="tx1"/>
                </a:solidFill>
                <a:latin typeface="Segoe UI Light" pitchFamily="34" charset="0"/>
                <a:ea typeface="+mn-ea"/>
                <a:cs typeface="+mn-cs"/>
              </a:rPr>
              <a:t> </a:t>
            </a:r>
            <a:r>
              <a:rPr lang="en-US" sz="900" kern="1200" dirty="0">
                <a:solidFill>
                  <a:schemeClr val="tx1"/>
                </a:solidFill>
                <a:latin typeface="Segoe UI Light" pitchFamily="34" charset="0"/>
                <a:ea typeface="+mn-ea"/>
                <a:cs typeface="+mn-cs"/>
              </a:rPr>
              <a:t>from Excel to Azure services</a:t>
            </a:r>
            <a:endParaRPr lang="en-US" sz="1800" kern="1200" dirty="0">
              <a:solidFill>
                <a:schemeClr val="tx1"/>
              </a:solidFill>
              <a:latin typeface="Segoe UI Light" pitchFamily="34" charset="0"/>
              <a:ea typeface="+mn-ea"/>
              <a:cs typeface="+mn-cs"/>
            </a:endParaRPr>
          </a:p>
          <a:p>
            <a:pPr marL="171450" marR="0" indent="-171450" algn="l" defTabSz="932631"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kern="1200" dirty="0">
                <a:solidFill>
                  <a:schemeClr val="tx1"/>
                </a:solidFill>
                <a:latin typeface="Segoe UI Light" pitchFamily="34" charset="0"/>
                <a:ea typeface="+mn-ea"/>
                <a:cs typeface="+mn-cs"/>
              </a:rPr>
              <a:t>Intuitive data exploration,</a:t>
            </a:r>
            <a:r>
              <a:rPr lang="en-US" sz="900" kern="1200" baseline="0" dirty="0">
                <a:solidFill>
                  <a:schemeClr val="tx1"/>
                </a:solidFill>
                <a:latin typeface="Segoe UI Light" pitchFamily="34" charset="0"/>
                <a:ea typeface="+mn-ea"/>
                <a:cs typeface="+mn-cs"/>
              </a:rPr>
              <a:t> which enables users to ask questions of their data in </a:t>
            </a:r>
            <a:r>
              <a:rPr lang="en-US" sz="900" kern="1200" dirty="0">
                <a:solidFill>
                  <a:schemeClr val="tx1"/>
                </a:solidFill>
                <a:latin typeface="Segoe UI Light" pitchFamily="34" charset="0"/>
                <a:ea typeface="+mn-ea"/>
                <a:cs typeface="+mn-cs"/>
              </a:rPr>
              <a:t>plain English</a:t>
            </a:r>
          </a:p>
          <a:p>
            <a:endParaRPr lang="en-US" sz="900" kern="1200" dirty="0">
              <a:solidFill>
                <a:schemeClr val="tx1"/>
              </a:solidFill>
              <a:latin typeface="Segoe UI Light" pitchFamily="34" charset="0"/>
              <a:ea typeface="+mn-ea"/>
              <a:cs typeface="+mn-cs"/>
            </a:endParaRPr>
          </a:p>
          <a:p>
            <a:r>
              <a:rPr lang="en-US" sz="900" b="1" kern="1200" dirty="0">
                <a:solidFill>
                  <a:schemeClr val="tx1"/>
                </a:solidFill>
                <a:latin typeface="Segoe UI Light" pitchFamily="34" charset="0"/>
                <a:ea typeface="+mn-ea"/>
                <a:cs typeface="+mn-cs"/>
              </a:rPr>
              <a:t>Conclusion</a:t>
            </a:r>
          </a:p>
          <a:p>
            <a:r>
              <a:rPr lang="en-US" sz="900" kern="1200" dirty="0">
                <a:solidFill>
                  <a:schemeClr val="tx1"/>
                </a:solidFill>
                <a:latin typeface="Segoe UI Light" pitchFamily="34" charset="0"/>
                <a:ea typeface="+mn-ea"/>
                <a:cs typeface="+mn-cs"/>
              </a:rPr>
              <a:t>With Power</a:t>
            </a:r>
            <a:r>
              <a:rPr lang="en-US" sz="900" kern="1200" baseline="0" dirty="0">
                <a:solidFill>
                  <a:schemeClr val="tx1"/>
                </a:solidFill>
                <a:latin typeface="Segoe UI Light" pitchFamily="34" charset="0"/>
                <a:ea typeface="+mn-ea"/>
                <a:cs typeface="+mn-cs"/>
              </a:rPr>
              <a:t> BI’s powerful capabilities and benefits, you can quickly set-up flexible solutions for your customers and position yourself as the go-to BI solution provider</a:t>
            </a:r>
            <a:endParaRPr lang="en-US" sz="900" kern="1200" dirty="0">
              <a:solidFill>
                <a:schemeClr val="tx1"/>
              </a:solidFill>
              <a:latin typeface="Segoe UI Light" pitchFamily="34" charset="0"/>
              <a:ea typeface="+mn-ea"/>
              <a:cs typeface="+mn-cs"/>
            </a:endParaRPr>
          </a:p>
          <a:p>
            <a:endParaRPr lang="en-US" sz="1800" dirty="0"/>
          </a:p>
          <a:p>
            <a:pPr defTabSz="914367"/>
            <a:endParaRPr lang="en-US" baseline="0" dirty="0">
              <a:gradFill>
                <a:gsLst>
                  <a:gs pos="1250">
                    <a:srgbClr val="000000"/>
                  </a:gs>
                  <a:gs pos="99000">
                    <a:srgbClr val="000000"/>
                  </a:gs>
                </a:gsLst>
                <a:lin ang="5400000" scaled="0"/>
              </a:gradFill>
              <a:latin typeface="+mj-lt"/>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22783"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22783"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F34A55B-0232-4B2A-8DB0-D59B999B87D7}"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6</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8102631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baseline="0" dirty="0">
                <a:solidFill>
                  <a:schemeClr val="tx1"/>
                </a:solidFill>
                <a:effectLst/>
                <a:latin typeface="Segoe UI Light" pitchFamily="34" charset="0"/>
                <a:ea typeface="+mn-ea"/>
                <a:cs typeface="+mn-cs"/>
              </a:rPr>
              <a:t>Key messages:</a:t>
            </a:r>
          </a:p>
          <a:p>
            <a:pPr marL="171450" indent="-171450">
              <a:buFont typeface="Arial" panose="020B0604020202020204" pitchFamily="34" charset="0"/>
              <a:buChar char="•"/>
            </a:pPr>
            <a:r>
              <a:rPr lang="en-US" sz="900" b="0" kern="1200" baseline="0" dirty="0">
                <a:solidFill>
                  <a:schemeClr val="tx1"/>
                </a:solidFill>
                <a:effectLst/>
                <a:latin typeface="Segoe UI Light" pitchFamily="34" charset="0"/>
                <a:ea typeface="+mn-ea"/>
                <a:cs typeface="+mn-cs"/>
              </a:rPr>
              <a:t>Power BI gives everyone the ability to pull data from many sources, transform it into meaningful visuals, and see it real-time on any device.</a:t>
            </a:r>
          </a:p>
          <a:p>
            <a:pPr marL="171450" indent="-171450">
              <a:buFont typeface="Arial" panose="020B0604020202020204" pitchFamily="34" charset="0"/>
              <a:buChar char="•"/>
            </a:pPr>
            <a:r>
              <a:rPr lang="en-US" sz="900" b="0" kern="1200" baseline="0" dirty="0">
                <a:solidFill>
                  <a:schemeClr val="tx1"/>
                </a:solidFill>
                <a:effectLst/>
                <a:latin typeface="Segoe UI Light" pitchFamily="34" charset="0"/>
                <a:ea typeface="+mn-ea"/>
                <a:cs typeface="+mn-cs"/>
              </a:rPr>
              <a:t>Power BI is a huge advantage for providers </a:t>
            </a:r>
          </a:p>
          <a:p>
            <a:endParaRPr lang="en-US" sz="900" b="0" kern="1200" baseline="0" dirty="0">
              <a:solidFill>
                <a:schemeClr val="tx1"/>
              </a:solidFill>
              <a:effectLst/>
              <a:latin typeface="Segoe UI Light" pitchFamily="34" charset="0"/>
              <a:ea typeface="+mn-ea"/>
              <a:cs typeface="+mn-cs"/>
            </a:endParaRPr>
          </a:p>
          <a:p>
            <a:pPr rtl="0" fontAlgn="ctr"/>
            <a:r>
              <a:rPr lang="en-US" sz="900" b="1" kern="1200" dirty="0">
                <a:solidFill>
                  <a:schemeClr val="tx1"/>
                </a:solidFill>
                <a:effectLst/>
                <a:latin typeface="Segoe UI Light" pitchFamily="34" charset="0"/>
                <a:ea typeface="+mn-ea"/>
                <a:cs typeface="+mn-cs"/>
              </a:rPr>
              <a:t>Graphic:</a:t>
            </a:r>
          </a:p>
          <a:p>
            <a:pPr marL="171450" indent="-171450" rtl="0" fontAlgn="ctr">
              <a:buFont typeface="Arial" panose="020B0604020202020204" pitchFamily="34" charset="0"/>
              <a:buChar char="•"/>
            </a:pPr>
            <a:r>
              <a:rPr lang="en-US" sz="900" kern="1200" dirty="0">
                <a:solidFill>
                  <a:schemeClr val="tx1"/>
                </a:solidFill>
                <a:effectLst/>
                <a:latin typeface="Segoe UI Light" pitchFamily="34" charset="0"/>
                <a:ea typeface="+mn-ea"/>
                <a:cs typeface="+mn-cs"/>
              </a:rPr>
              <a:t>Visual representation of some available data sources, which Power BI turns </a:t>
            </a:r>
            <a:r>
              <a:rPr lang="en-US" sz="900" kern="1200" baseline="0" dirty="0">
                <a:solidFill>
                  <a:schemeClr val="tx1"/>
                </a:solidFill>
                <a:effectLst/>
                <a:latin typeface="Segoe UI Light" pitchFamily="34" charset="0"/>
                <a:ea typeface="+mn-ea"/>
                <a:cs typeface="+mn-cs"/>
              </a:rPr>
              <a:t>into intelligence to be accessed on any device</a:t>
            </a:r>
          </a:p>
          <a:p>
            <a:pPr rtl="0" fontAlgn="ctr"/>
            <a:endParaRPr lang="en-US" sz="900" kern="1200" dirty="0">
              <a:solidFill>
                <a:schemeClr val="tx1"/>
              </a:solidFill>
              <a:effectLst/>
              <a:latin typeface="Segoe UI Light" pitchFamily="34" charset="0"/>
              <a:ea typeface="+mn-ea"/>
              <a:cs typeface="+mn-cs"/>
            </a:endParaRPr>
          </a:p>
          <a:p>
            <a:pPr rtl="0" fontAlgn="ctr"/>
            <a:r>
              <a:rPr lang="en-US" sz="900" b="1" kern="1200" dirty="0">
                <a:solidFill>
                  <a:schemeClr val="tx1"/>
                </a:solidFill>
                <a:effectLst/>
                <a:latin typeface="Segoe UI Light" pitchFamily="34" charset="0"/>
                <a:ea typeface="+mn-ea"/>
                <a:cs typeface="+mn-cs"/>
              </a:rPr>
              <a:t>Benefits</a:t>
            </a:r>
            <a:r>
              <a:rPr lang="en-US" sz="900" b="1" kern="1200" baseline="0" dirty="0">
                <a:solidFill>
                  <a:schemeClr val="tx1"/>
                </a:solidFill>
                <a:effectLst/>
                <a:latin typeface="Segoe UI Light" pitchFamily="34" charset="0"/>
                <a:ea typeface="+mn-ea"/>
                <a:cs typeface="+mn-cs"/>
              </a:rPr>
              <a:t> to providers:</a:t>
            </a:r>
          </a:p>
          <a:p>
            <a:pPr marL="171450" indent="-171450">
              <a:lnSpc>
                <a:spcPct val="90000"/>
              </a:lnSpc>
              <a:spcAft>
                <a:spcPts val="600"/>
              </a:spcAft>
              <a:buFont typeface="Arial" panose="020B0604020202020204" pitchFamily="34" charset="0"/>
              <a:buChar char="•"/>
            </a:pPr>
            <a:r>
              <a:rPr lang="en-US" sz="900" b="0" u="sng" dirty="0">
                <a:gradFill>
                  <a:gsLst>
                    <a:gs pos="2917">
                      <a:schemeClr val="tx1"/>
                    </a:gs>
                    <a:gs pos="30000">
                      <a:schemeClr val="tx1"/>
                    </a:gs>
                  </a:gsLst>
                  <a:lin ang="5400000" scaled="0"/>
                </a:gradFill>
              </a:rPr>
              <a:t>Provide solutions quickly </a:t>
            </a:r>
            <a:r>
              <a:rPr lang="en-US" sz="900" dirty="0">
                <a:gradFill>
                  <a:gsLst>
                    <a:gs pos="2917">
                      <a:schemeClr val="tx1"/>
                    </a:gs>
                    <a:gs pos="30000">
                      <a:schemeClr val="tx1"/>
                    </a:gs>
                  </a:gsLst>
                  <a:lin ang="5400000" scaled="0"/>
                </a:gradFill>
              </a:rPr>
              <a:t>- </a:t>
            </a:r>
            <a:r>
              <a:rPr lang="en-US" sz="900" kern="1200" dirty="0">
                <a:solidFill>
                  <a:schemeClr val="tx1"/>
                </a:solidFill>
                <a:effectLst/>
                <a:latin typeface="Segoe UI Light" pitchFamily="34" charset="0"/>
                <a:ea typeface="+mn-ea"/>
                <a:cs typeface="+mn-cs"/>
              </a:rPr>
              <a:t>customers no longer deal with the lengthy process of past BI: “I have to go get software, install software, get servers, get analysts involved, get all sorts of people involved before achieving any value”</a:t>
            </a:r>
            <a:r>
              <a:rPr lang="en-US" sz="900" kern="1200" baseline="0" dirty="0">
                <a:solidFill>
                  <a:schemeClr val="tx1"/>
                </a:solidFill>
                <a:effectLst/>
                <a:latin typeface="Segoe UI Light" pitchFamily="34" charset="0"/>
                <a:ea typeface="+mn-ea"/>
                <a:cs typeface="+mn-cs"/>
              </a:rPr>
              <a:t> </a:t>
            </a:r>
            <a:endParaRPr lang="en-US" sz="900" dirty="0">
              <a:gradFill>
                <a:gsLst>
                  <a:gs pos="2917">
                    <a:schemeClr val="tx1"/>
                  </a:gs>
                  <a:gs pos="30000">
                    <a:schemeClr val="tx1"/>
                  </a:gs>
                </a:gsLst>
                <a:lin ang="5400000" scaled="0"/>
              </a:gradFill>
            </a:endParaRPr>
          </a:p>
          <a:p>
            <a:pPr marL="171450" indent="-171450">
              <a:lnSpc>
                <a:spcPct val="90000"/>
              </a:lnSpc>
              <a:spcAft>
                <a:spcPts val="600"/>
              </a:spcAft>
              <a:buFont typeface="Arial" panose="020B0604020202020204" pitchFamily="34" charset="0"/>
              <a:buChar char="•"/>
            </a:pPr>
            <a:r>
              <a:rPr lang="en-US" sz="900" u="sng" dirty="0">
                <a:gradFill>
                  <a:gsLst>
                    <a:gs pos="2917">
                      <a:schemeClr val="tx1"/>
                    </a:gs>
                    <a:gs pos="30000">
                      <a:schemeClr val="tx1"/>
                    </a:gs>
                  </a:gsLst>
                  <a:lin ang="5400000" scaled="0"/>
                </a:gradFill>
              </a:rPr>
              <a:t>Create solutions that pull from top data sources </a:t>
            </a:r>
            <a:r>
              <a:rPr lang="en-US" sz="900" dirty="0">
                <a:gradFill>
                  <a:gsLst>
                    <a:gs pos="2917">
                      <a:schemeClr val="tx1"/>
                    </a:gs>
                    <a:gs pos="30000">
                      <a:schemeClr val="tx1"/>
                    </a:gs>
                  </a:gsLst>
                  <a:lin ang="5400000" scaled="0"/>
                </a:gradFill>
              </a:rPr>
              <a:t>- Power BI in many ways is a connector between people and the power of the Microsoft Data Platform including data that lives in our cloud, other peoples clouds, or your on-premises systems and also processed by this wide variety of intelligence analytical capabilities that we have - statistical analysis, machine learning, building custom application - all of this technology and the value of converting data into intelligence flows through Power BI. </a:t>
            </a:r>
          </a:p>
          <a:p>
            <a:pPr marL="171450" marR="0" indent="-171450" algn="l" defTabSz="932631" rtl="0" eaLnBrk="1" fontAlgn="auto" latinLnBrk="0" hangingPunct="1">
              <a:lnSpc>
                <a:spcPct val="90000"/>
              </a:lnSpc>
              <a:spcBef>
                <a:spcPts val="0"/>
              </a:spcBef>
              <a:spcAft>
                <a:spcPts val="600"/>
              </a:spcAft>
              <a:buClrTx/>
              <a:buSzTx/>
              <a:buFont typeface="Arial" panose="020B0604020202020204" pitchFamily="34" charset="0"/>
              <a:buChar char="•"/>
              <a:tabLst/>
              <a:defRPr/>
            </a:pPr>
            <a:r>
              <a:rPr lang="en-US" sz="900" u="sng" dirty="0">
                <a:gradFill>
                  <a:gsLst>
                    <a:gs pos="2917">
                      <a:schemeClr val="tx1"/>
                    </a:gs>
                    <a:gs pos="30000">
                      <a:schemeClr val="tx1"/>
                    </a:gs>
                  </a:gsLst>
                  <a:lin ang="5400000" scaled="0"/>
                </a:gradFill>
              </a:rPr>
              <a:t>Empower customers with data insights </a:t>
            </a:r>
            <a:r>
              <a:rPr lang="en-US" sz="900" dirty="0">
                <a:gradFill>
                  <a:gsLst>
                    <a:gs pos="2917">
                      <a:schemeClr val="tx1"/>
                    </a:gs>
                    <a:gs pos="30000">
                      <a:schemeClr val="tx1"/>
                    </a:gs>
                  </a:gsLst>
                  <a:lin ang="5400000" scaled="0"/>
                </a:gradFill>
              </a:rPr>
              <a:t>- </a:t>
            </a:r>
            <a:r>
              <a:rPr lang="en-US" sz="900" kern="1200" dirty="0">
                <a:solidFill>
                  <a:schemeClr val="tx1"/>
                </a:solidFill>
                <a:effectLst/>
                <a:latin typeface="Segoe UI Light" pitchFamily="34" charset="0"/>
                <a:ea typeface="+mn-ea"/>
                <a:cs typeface="+mn-cs"/>
              </a:rPr>
              <a:t>an enormous user population of people are now connected with data in a way that was either previously very difficult or impossible</a:t>
            </a:r>
            <a:r>
              <a:rPr lang="en-US" sz="900" kern="1200" baseline="0" dirty="0">
                <a:solidFill>
                  <a:schemeClr val="tx1"/>
                </a:solidFill>
                <a:effectLst/>
                <a:latin typeface="Segoe UI Light" pitchFamily="34" charset="0"/>
                <a:ea typeface="+mn-ea"/>
                <a:cs typeface="+mn-cs"/>
              </a:rPr>
              <a:t> – insights are n</a:t>
            </a:r>
            <a:r>
              <a:rPr lang="en-US" sz="900" kern="1200" dirty="0">
                <a:solidFill>
                  <a:schemeClr val="tx1"/>
                </a:solidFill>
                <a:effectLst/>
                <a:latin typeface="Segoe UI Light" pitchFamily="34" charset="0"/>
                <a:ea typeface="+mn-ea"/>
                <a:cs typeface="+mn-cs"/>
              </a:rPr>
              <a:t>o longer just accessible to IT professionals and business</a:t>
            </a:r>
            <a:r>
              <a:rPr lang="en-US" sz="900" kern="1200" baseline="0" dirty="0">
                <a:solidFill>
                  <a:schemeClr val="tx1"/>
                </a:solidFill>
                <a:effectLst/>
                <a:latin typeface="Segoe UI Light" pitchFamily="34" charset="0"/>
                <a:ea typeface="+mn-ea"/>
                <a:cs typeface="+mn-cs"/>
              </a:rPr>
              <a:t> analysts.</a:t>
            </a:r>
            <a:endParaRPr lang="en-US" sz="900" kern="1200" dirty="0">
              <a:solidFill>
                <a:schemeClr val="tx1"/>
              </a:solidFill>
              <a:effectLst/>
              <a:latin typeface="Segoe UI Light" pitchFamily="34" charset="0"/>
              <a:ea typeface="+mn-ea"/>
              <a:cs typeface="+mn-cs"/>
            </a:endParaRPr>
          </a:p>
          <a:p>
            <a:pPr marL="171450" indent="-171450">
              <a:lnSpc>
                <a:spcPct val="90000"/>
              </a:lnSpc>
              <a:spcAft>
                <a:spcPts val="600"/>
              </a:spcAft>
              <a:buFont typeface="Arial" panose="020B0604020202020204" pitchFamily="34" charset="0"/>
              <a:buChar char="•"/>
            </a:pPr>
            <a:endParaRPr lang="en-US" sz="900" dirty="0">
              <a:gradFill>
                <a:gsLst>
                  <a:gs pos="2917">
                    <a:schemeClr val="tx1"/>
                  </a:gs>
                  <a:gs pos="30000">
                    <a:schemeClr val="tx1"/>
                  </a:gs>
                </a:gsLst>
                <a:lin ang="5400000" scaled="0"/>
              </a:gradFill>
            </a:endParaRPr>
          </a:p>
          <a:p>
            <a:pPr rtl="0" fontAlgn="ct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Worldwide Partner Conference 2015</a:t>
            </a: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6 11:04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1461763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Why</a:t>
            </a:r>
            <a:r>
              <a:rPr lang="en-US" baseline="0" dirty="0"/>
              <a:t> should you sell Power BI through CSP. To understand this, lets look at how a typical Power BI engagement works without CSP.</a:t>
            </a:r>
          </a:p>
          <a:p>
            <a:pPr lvl="0"/>
            <a:endParaRPr lang="en-US" baseline="0" dirty="0"/>
          </a:p>
          <a:p>
            <a:pPr lvl="0"/>
            <a:r>
              <a:rPr lang="en-US" baseline="0" dirty="0"/>
              <a:t>End customers buy Power BI subscriptions directly from Microsoft either through the web or through EA. They own the subscription and add users and assign licenses. They create an account on their tenant for you so that you can manage their power BI deployment. You as </a:t>
            </a:r>
            <a:r>
              <a:rPr lang="en-US" strike="noStrike" baseline="0" dirty="0"/>
              <a:t>consultants t</a:t>
            </a:r>
            <a:r>
              <a:rPr lang="en-US" baseline="0" dirty="0"/>
              <a:t>hen take it forward. You integrate the Power BI service with on-premises data sources and various SaaS services, create dashboards using the data from these data sources and finally maintain and update these dashboards.</a:t>
            </a:r>
          </a:p>
          <a:p>
            <a:pPr lvl="0"/>
            <a:endParaRPr lang="en-US" baseline="0" dirty="0"/>
          </a:p>
          <a:p>
            <a:pPr lvl="0"/>
            <a:r>
              <a:rPr lang="en-US" baseline="0" dirty="0"/>
              <a:t>End Customers get separate bills from Microsoft for Power BI subscriptions and from you for your services.</a:t>
            </a:r>
            <a:endParaRPr lang="en-US" dirty="0"/>
          </a:p>
        </p:txBody>
      </p:sp>
      <p:sp>
        <p:nvSpPr>
          <p:cNvPr id="4" name="Header Placeholder 3"/>
          <p:cNvSpPr>
            <a:spLocks noGrp="1"/>
          </p:cNvSpPr>
          <p:nvPr>
            <p:ph type="hdr" sz="quarter" idx="10"/>
          </p:nvPr>
        </p:nvSpPr>
        <p:spPr/>
        <p:txBody>
          <a:bodyPr/>
          <a:lstStyle/>
          <a:p>
            <a:pPr marL="0" marR="0" lvl="0" indent="0" defTabSz="9324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6601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32425" eaLnBrk="1" fontAlgn="auto" latinLnBrk="0" hangingPunct="1">
              <a:lnSpc>
                <a:spcPct val="100000"/>
              </a:lnSpc>
              <a:spcBef>
                <a:spcPts val="0"/>
              </a:spcBef>
              <a:spcAft>
                <a:spcPts val="0"/>
              </a:spcAft>
              <a:buClrTx/>
              <a:buSzTx/>
              <a:buFontTx/>
              <a:buNone/>
              <a:tabLst/>
              <a:defRPr/>
            </a:pPr>
            <a:fld id="{ABAFDD3F-B064-4C6E-B5D1-0BCDEE17181E}" type="datetime1">
              <a:rPr kumimoji="0" lang="en-US" sz="1800" b="0" i="0" u="none" strike="noStrike" kern="0" cap="none" spc="0" normalizeH="0" baseline="0" noProof="0" smtClean="0">
                <a:ln>
                  <a:noFill/>
                </a:ln>
                <a:solidFill>
                  <a:prstClr val="black"/>
                </a:solidFill>
                <a:effectLst/>
                <a:uLnTx/>
                <a:uFillTx/>
              </a:rPr>
              <a:pPr marL="0" marR="0" lvl="0" indent="0" defTabSz="932425" eaLnBrk="1" fontAlgn="auto" latinLnBrk="0" hangingPunct="1">
                <a:lnSpc>
                  <a:spcPct val="100000"/>
                </a:lnSpc>
                <a:spcBef>
                  <a:spcPts val="0"/>
                </a:spcBef>
                <a:spcAft>
                  <a:spcPts val="0"/>
                </a:spcAft>
                <a:buClrTx/>
                <a:buSzTx/>
                <a:buFontTx/>
                <a:buNone/>
                <a:tabLst/>
                <a:defRPr/>
              </a:pPr>
              <a:t>6/10/2016</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32425"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32425"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9520186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Lets look</a:t>
            </a:r>
            <a:r>
              <a:rPr lang="en-US" baseline="0" dirty="0"/>
              <a:t> at the same engagement with CSP. </a:t>
            </a:r>
          </a:p>
          <a:p>
            <a:pPr lvl="0"/>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As a CSP partner you sell Power BI subscriptions directly to end customers. You get a 20% discount on Power BI retail price plus an additional 6% cash Rebate on your sales. You create an account in customers’ tenant to get access. You manage customers’ subscriptions and add users and assign licens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a:p>
          <a:p>
            <a:pPr lvl="0"/>
            <a:r>
              <a:rPr lang="en-US" baseline="0" dirty="0"/>
              <a:t>The rest of the process remains the same. </a:t>
            </a:r>
          </a:p>
          <a:p>
            <a:pPr lvl="0"/>
            <a:endParaRPr lang="en-US" baseline="0" dirty="0"/>
          </a:p>
          <a:p>
            <a:pPr lvl="0"/>
            <a:r>
              <a:rPr lang="en-US" baseline="0" dirty="0"/>
              <a:t>The advantages of this over the other engagement without CSP are: </a:t>
            </a:r>
          </a:p>
          <a:p>
            <a:pPr lvl="0"/>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You own the entire customer relationships including selling </a:t>
            </a:r>
            <a:r>
              <a:rPr lang="en-US" sz="1200" kern="1200" baseline="0" dirty="0">
                <a:solidFill>
                  <a:schemeClr val="tx1"/>
                </a:solidFill>
                <a:effectLst/>
                <a:latin typeface="Segoe UI Light" pitchFamily="34" charset="0"/>
                <a:ea typeface="+mn-ea"/>
                <a:cs typeface="+mn-cs"/>
              </a:rPr>
              <a:t>the licenses, provisioning, contracting, billing and supporting the customer. Thereby increasing the points of revenue from the custom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Segoe UI Light" pitchFamily="34" charset="0"/>
                <a:ea typeface="+mn-ea"/>
                <a:cs typeface="+mn-cs"/>
              </a:rPr>
              <a:t>You can bundle Power BI subscriptions with other Microsoft Commercial Cloud Services in CSP as well as your own services, price this bundle and sell it to your customers. Your customers get a single consolidated bill from you</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Segoe UI Light" pitchFamily="34" charset="0"/>
                <a:ea typeface="+mn-ea"/>
                <a:cs typeface="+mn-cs"/>
              </a:rPr>
              <a:t>By selling Power BI through CSP you get the whole sale price with a 20% discount on the retail price plus a 6% rebate incentive on your sales, thereby increasing your total revenue from the custom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324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6601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32425" eaLnBrk="1" fontAlgn="auto" latinLnBrk="0" hangingPunct="1">
              <a:lnSpc>
                <a:spcPct val="100000"/>
              </a:lnSpc>
              <a:spcBef>
                <a:spcPts val="0"/>
              </a:spcBef>
              <a:spcAft>
                <a:spcPts val="0"/>
              </a:spcAft>
              <a:buClrTx/>
              <a:buSzTx/>
              <a:buFontTx/>
              <a:buNone/>
              <a:tabLst/>
              <a:defRPr/>
            </a:pPr>
            <a:fld id="{ABAFDD3F-B064-4C6E-B5D1-0BCDEE17181E}" type="datetime1">
              <a:rPr kumimoji="0" lang="en-US" sz="1800" b="0" i="0" u="none" strike="noStrike" kern="0" cap="none" spc="0" normalizeH="0" baseline="0" noProof="0" smtClean="0">
                <a:ln>
                  <a:noFill/>
                </a:ln>
                <a:solidFill>
                  <a:prstClr val="black"/>
                </a:solidFill>
                <a:effectLst/>
                <a:uLnTx/>
                <a:uFillTx/>
              </a:rPr>
              <a:pPr marL="0" marR="0" lvl="0" indent="0" defTabSz="932425" eaLnBrk="1" fontAlgn="auto" latinLnBrk="0" hangingPunct="1">
                <a:lnSpc>
                  <a:spcPct val="100000"/>
                </a:lnSpc>
                <a:spcBef>
                  <a:spcPts val="0"/>
                </a:spcBef>
                <a:spcAft>
                  <a:spcPts val="0"/>
                </a:spcAft>
                <a:buClrTx/>
                <a:buSzTx/>
                <a:buFontTx/>
                <a:buNone/>
                <a:tabLst/>
                <a:defRPr/>
              </a:pPr>
              <a:t>6/10/2016</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32425"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32425"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344492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b="1" dirty="0">
                <a:gradFill>
                  <a:gsLst>
                    <a:gs pos="1250">
                      <a:srgbClr val="000000"/>
                    </a:gs>
                    <a:gs pos="99000">
                      <a:srgbClr val="000000"/>
                    </a:gs>
                  </a:gsLst>
                  <a:lin ang="5400000" scaled="0"/>
                </a:gradFill>
                <a:latin typeface="+mj-lt"/>
              </a:rPr>
              <a:t>Key message:</a:t>
            </a:r>
          </a:p>
          <a:p>
            <a:r>
              <a:rPr lang="en-US" sz="1200" kern="1200" dirty="0">
                <a:solidFill>
                  <a:schemeClr val="tx1"/>
                </a:solidFill>
                <a:effectLst/>
                <a:latin typeface="+mn-lt"/>
                <a:ea typeface="+mn-ea"/>
                <a:cs typeface="+mn-cs"/>
              </a:rPr>
              <a:t>Power BI is a business analytics service. With Power BI you can now see all of your data through a single pane of glass. Live Power BI dashboards and reports show visualizations and KPIs from data residing both on-premises and in the cloud, providing a consolidated view across your business regardless of where your data lives.</a:t>
            </a:r>
          </a:p>
          <a:p>
            <a:pPr marL="0" marR="0" indent="0" algn="l" defTabSz="914367" rtl="0" eaLnBrk="1" fontAlgn="auto" latinLnBrk="0" hangingPunct="1">
              <a:lnSpc>
                <a:spcPct val="100000"/>
              </a:lnSpc>
              <a:spcBef>
                <a:spcPts val="0"/>
              </a:spcBef>
              <a:spcAft>
                <a:spcPts val="0"/>
              </a:spcAft>
              <a:buClrTx/>
              <a:buSzTx/>
              <a:buFontTx/>
              <a:buNone/>
              <a:tabLst/>
              <a:defRPr/>
            </a:pPr>
            <a:endParaRPr lang="en-US" sz="3200" dirty="0">
              <a:gradFill>
                <a:gsLst>
                  <a:gs pos="1250">
                    <a:srgbClr val="000000"/>
                  </a:gs>
                  <a:gs pos="99000">
                    <a:srgbClr val="000000"/>
                  </a:gs>
                </a:gsLst>
                <a:lin ang="5400000" scaled="0"/>
              </a:gradFill>
              <a:latin typeface="+mj-lt"/>
            </a:endParaRPr>
          </a:p>
          <a:p>
            <a:pPr marL="0" marR="0" indent="0" algn="l" defTabSz="914367" rtl="0" eaLnBrk="1" fontAlgn="auto" latinLnBrk="0" hangingPunct="1">
              <a:lnSpc>
                <a:spcPct val="100000"/>
              </a:lnSpc>
              <a:spcBef>
                <a:spcPts val="0"/>
              </a:spcBef>
              <a:spcAft>
                <a:spcPts val="0"/>
              </a:spcAft>
              <a:buClrTx/>
              <a:buSzTx/>
              <a:buFontTx/>
              <a:buNone/>
              <a:tabLst/>
              <a:defRPr/>
            </a:pPr>
            <a:r>
              <a:rPr lang="en-US" sz="3200" b="1" dirty="0">
                <a:gradFill>
                  <a:gsLst>
                    <a:gs pos="1250">
                      <a:srgbClr val="000000"/>
                    </a:gs>
                    <a:gs pos="99000">
                      <a:srgbClr val="000000"/>
                    </a:gs>
                  </a:gsLst>
                  <a:lin ang="5400000" scaled="0"/>
                </a:gradFill>
                <a:latin typeface="+mj-lt"/>
              </a:rPr>
              <a:t>Talking points:</a:t>
            </a:r>
            <a:endParaRPr lang="en-US" sz="3200" b="1" dirty="0">
              <a:gradFill>
                <a:gsLst>
                  <a:gs pos="1250">
                    <a:srgbClr val="000000"/>
                  </a:gs>
                  <a:gs pos="99000">
                    <a:srgbClr val="000000"/>
                  </a:gs>
                </a:gsLst>
                <a:lin ang="5400000" scaled="0"/>
              </a:gradFill>
            </a:endParaRPr>
          </a:p>
          <a:p>
            <a:pPr defTabSz="914367"/>
            <a:r>
              <a:rPr lang="en-US" dirty="0">
                <a:gradFill>
                  <a:gsLst>
                    <a:gs pos="1250">
                      <a:srgbClr val="000000"/>
                    </a:gs>
                    <a:gs pos="99000">
                      <a:srgbClr val="000000"/>
                    </a:gs>
                  </a:gsLst>
                  <a:lin ang="5400000" scaled="0"/>
                </a:gradFill>
                <a:latin typeface="+mj-lt"/>
              </a:rPr>
              <a:t>This</a:t>
            </a:r>
            <a:r>
              <a:rPr lang="en-US" baseline="0" dirty="0">
                <a:gradFill>
                  <a:gsLst>
                    <a:gs pos="1250">
                      <a:srgbClr val="000000"/>
                    </a:gs>
                    <a:gs pos="99000">
                      <a:srgbClr val="000000"/>
                    </a:gs>
                  </a:gsLst>
                  <a:lin ang="5400000" scaled="0"/>
                </a:gradFill>
                <a:latin typeface="+mj-lt"/>
              </a:rPr>
              <a:t> is Power BI in a nutshell and the overall benefits to your business. We will look at what this means for the </a:t>
            </a:r>
            <a:r>
              <a:rPr lang="en-US" dirty="0">
                <a:gradFill>
                  <a:gsLst>
                    <a:gs pos="1250">
                      <a:srgbClr val="000000"/>
                    </a:gs>
                    <a:gs pos="99000">
                      <a:srgbClr val="000000"/>
                    </a:gs>
                  </a:gsLst>
                  <a:lin ang="5400000" scaled="0"/>
                </a:gradFill>
                <a:latin typeface="+mj-lt"/>
              </a:rPr>
              <a:t>IT Pro and</a:t>
            </a:r>
            <a:r>
              <a:rPr lang="en-US" baseline="0" dirty="0">
                <a:gradFill>
                  <a:gsLst>
                    <a:gs pos="1250">
                      <a:srgbClr val="000000"/>
                    </a:gs>
                    <a:gs pos="99000">
                      <a:srgbClr val="000000"/>
                    </a:gs>
                  </a:gsLst>
                  <a:lin ang="5400000" scaled="0"/>
                </a:gradFill>
                <a:latin typeface="+mj-lt"/>
              </a:rPr>
              <a:t> the key benefits for IT on the next slide</a:t>
            </a:r>
          </a:p>
          <a:p>
            <a:pPr defTabSz="914367"/>
            <a:endParaRPr lang="en-US" baseline="0" dirty="0">
              <a:gradFill>
                <a:gsLst>
                  <a:gs pos="1250">
                    <a:srgbClr val="000000"/>
                  </a:gs>
                  <a:gs pos="99000">
                    <a:srgbClr val="000000"/>
                  </a:gs>
                </a:gsLst>
                <a:lin ang="5400000" scaled="0"/>
              </a:gradFill>
              <a:latin typeface="+mj-lt"/>
            </a:endParaRPr>
          </a:p>
          <a:p>
            <a:r>
              <a:rPr lang="en-US" sz="900" b="1" kern="1200" dirty="0">
                <a:solidFill>
                  <a:schemeClr val="tx1"/>
                </a:solidFill>
                <a:latin typeface="Segoe UI Light" pitchFamily="34" charset="0"/>
                <a:ea typeface="+mn-ea"/>
                <a:cs typeface="+mn-cs"/>
              </a:rPr>
              <a:t>Key message:</a:t>
            </a:r>
          </a:p>
          <a:p>
            <a:r>
              <a:rPr lang="en-US" sz="900" b="0" kern="1200" dirty="0">
                <a:solidFill>
                  <a:schemeClr val="tx1"/>
                </a:solidFill>
                <a:latin typeface="Segoe UI Light" pitchFamily="34" charset="0"/>
                <a:ea typeface="+mn-ea"/>
                <a:cs typeface="+mn-cs"/>
              </a:rPr>
              <a:t>There are several capabilities</a:t>
            </a:r>
            <a:r>
              <a:rPr lang="en-US" sz="900" b="0" kern="1200" baseline="0" dirty="0">
                <a:solidFill>
                  <a:schemeClr val="tx1"/>
                </a:solidFill>
                <a:latin typeface="Segoe UI Light" pitchFamily="34" charset="0"/>
                <a:ea typeface="+mn-ea"/>
                <a:cs typeface="+mn-cs"/>
              </a:rPr>
              <a:t> that differentiate Power BI from other offerings in the market.</a:t>
            </a:r>
          </a:p>
          <a:p>
            <a:endParaRPr lang="en-US" sz="900" b="0" kern="1200" baseline="0" dirty="0">
              <a:solidFill>
                <a:schemeClr val="tx1"/>
              </a:solidFill>
              <a:latin typeface="Segoe UI Light" pitchFamily="34" charset="0"/>
              <a:ea typeface="+mn-ea"/>
              <a:cs typeface="+mn-cs"/>
            </a:endParaRPr>
          </a:p>
          <a:p>
            <a:r>
              <a:rPr lang="en-US" sz="900" b="1" kern="1200" baseline="0" dirty="0">
                <a:solidFill>
                  <a:schemeClr val="tx1"/>
                </a:solidFill>
                <a:latin typeface="Segoe UI Light" pitchFamily="34" charset="0"/>
                <a:ea typeface="+mn-ea"/>
                <a:cs typeface="+mn-cs"/>
              </a:rPr>
              <a:t>Talking points:</a:t>
            </a:r>
            <a:endParaRPr lang="en-US" sz="900" b="1" kern="1200" dirty="0">
              <a:solidFill>
                <a:schemeClr val="tx1"/>
              </a:solidFill>
              <a:latin typeface="Segoe UI Light" pitchFamily="34" charset="0"/>
              <a:ea typeface="+mn-ea"/>
              <a:cs typeface="+mn-cs"/>
            </a:endParaRPr>
          </a:p>
          <a:p>
            <a:pPr marL="0" marR="0" indent="0" algn="l" defTabSz="914367" rtl="0" eaLnBrk="1" fontAlgn="auto" latinLnBrk="0" hangingPunct="1">
              <a:lnSpc>
                <a:spcPct val="100000"/>
              </a:lnSpc>
              <a:spcBef>
                <a:spcPts val="0"/>
              </a:spcBef>
              <a:spcAft>
                <a:spcPts val="0"/>
              </a:spcAft>
              <a:buClrTx/>
              <a:buSzTx/>
              <a:buFontTx/>
              <a:buNone/>
              <a:tabLst/>
              <a:defRPr/>
            </a:pPr>
            <a:r>
              <a:rPr lang="en-US" sz="900" kern="1200" dirty="0">
                <a:gradFill>
                  <a:gsLst>
                    <a:gs pos="1250">
                      <a:srgbClr val="000000"/>
                    </a:gs>
                    <a:gs pos="99000">
                      <a:srgbClr val="000000"/>
                    </a:gs>
                  </a:gsLst>
                  <a:lin ang="5400000" scaled="0"/>
                </a:gradFill>
                <a:latin typeface="Segoe UI Light" pitchFamily="34" charset="0"/>
                <a:ea typeface="+mn-ea"/>
                <a:cs typeface="+mn-cs"/>
              </a:rPr>
              <a:t>Power BI is a cloud-based analytics service that provides faster time to insight. It is used for visualizing, exploring and extracting insights from data. It brings together data from diverse sources to deliver rich, comprehensive views of business operations. </a:t>
            </a:r>
            <a:endParaRPr lang="en-US" sz="1800" dirty="0">
              <a:gradFill>
                <a:gsLst>
                  <a:gs pos="1250">
                    <a:srgbClr val="000000"/>
                  </a:gs>
                  <a:gs pos="99000">
                    <a:srgbClr val="000000"/>
                  </a:gs>
                </a:gsLst>
                <a:lin ang="5400000" scaled="0"/>
              </a:gradFill>
            </a:endParaRPr>
          </a:p>
          <a:p>
            <a:pPr defTabSz="914367"/>
            <a:r>
              <a:rPr lang="en-US" sz="900" kern="1200" dirty="0">
                <a:gradFill>
                  <a:gsLst>
                    <a:gs pos="1250">
                      <a:srgbClr val="000000"/>
                    </a:gs>
                    <a:gs pos="99000">
                      <a:srgbClr val="000000"/>
                    </a:gs>
                  </a:gsLst>
                  <a:lin ang="5400000" scaled="0"/>
                </a:gradFill>
                <a:latin typeface="Segoe UI Light" pitchFamily="34" charset="0"/>
                <a:ea typeface="+mn-ea"/>
                <a:cs typeface="+mn-cs"/>
              </a:rPr>
              <a:t>What that means is, with Power BI, you can see all of your data through a single pane of glass, and create an analytics environment in minutes to monitor data and share reports. Live dashboards and reports show visualizations and KPIs from data that reside both on-premises and in the cloud, providing a consolidated view across your business regardless of where your data lives. </a:t>
            </a:r>
            <a:endParaRPr lang="en-US" sz="1800" kern="1200" baseline="0" dirty="0">
              <a:solidFill>
                <a:schemeClr val="tx1"/>
              </a:solidFill>
              <a:latin typeface="Segoe UI Light" pitchFamily="34" charset="0"/>
              <a:ea typeface="+mn-ea"/>
              <a:cs typeface="+mn-cs"/>
            </a:endParaRPr>
          </a:p>
          <a:p>
            <a:endParaRPr lang="en-US" sz="1800" kern="1200" baseline="0" dirty="0">
              <a:solidFill>
                <a:schemeClr val="tx1"/>
              </a:solidFill>
              <a:latin typeface="Segoe UI Light" pitchFamily="34" charset="0"/>
              <a:ea typeface="+mn-ea"/>
              <a:cs typeface="+mn-cs"/>
            </a:endParaRPr>
          </a:p>
          <a:p>
            <a:r>
              <a:rPr lang="en-US" sz="900" b="1" kern="1200" dirty="0">
                <a:solidFill>
                  <a:schemeClr val="tx1"/>
                </a:solidFill>
                <a:latin typeface="Segoe UI Light" pitchFamily="34" charset="0"/>
                <a:ea typeface="+mn-ea"/>
                <a:cs typeface="+mn-cs"/>
              </a:rPr>
              <a:t>There are several capabilities</a:t>
            </a:r>
            <a:r>
              <a:rPr lang="en-US" sz="900" b="1" kern="1200" baseline="0" dirty="0">
                <a:solidFill>
                  <a:schemeClr val="tx1"/>
                </a:solidFill>
                <a:latin typeface="Segoe UI Light" pitchFamily="34" charset="0"/>
                <a:ea typeface="+mn-ea"/>
                <a:cs typeface="+mn-cs"/>
              </a:rPr>
              <a:t> that are unique to Power BI – these include: </a:t>
            </a:r>
            <a:endParaRPr lang="en-US" sz="1800" b="1" kern="1200" dirty="0">
              <a:solidFill>
                <a:schemeClr val="tx1"/>
              </a:solidFill>
              <a:latin typeface="Segoe UI Light" pitchFamily="34" charset="0"/>
              <a:ea typeface="+mn-ea"/>
              <a:cs typeface="+mn-cs"/>
            </a:endParaRPr>
          </a:p>
          <a:p>
            <a:pPr marL="457200" indent="-457200">
              <a:buFont typeface="Arial" panose="020B0604020202020204" pitchFamily="34" charset="0"/>
              <a:buChar char="•"/>
            </a:pPr>
            <a:r>
              <a:rPr lang="en-US" sz="900" kern="1200" dirty="0">
                <a:solidFill>
                  <a:schemeClr val="tx1"/>
                </a:solidFill>
                <a:latin typeface="Segoe UI Light" pitchFamily="34" charset="0"/>
                <a:ea typeface="+mn-ea"/>
                <a:cs typeface="+mn-cs"/>
              </a:rPr>
              <a:t>Pre-built dashboards and reports for popular SaaS solutions such as </a:t>
            </a:r>
            <a:r>
              <a:rPr lang="en-US" sz="900" kern="1200" dirty="0" err="1">
                <a:solidFill>
                  <a:schemeClr val="tx1"/>
                </a:solidFill>
                <a:latin typeface="Segoe UI Light" pitchFamily="34" charset="0"/>
                <a:ea typeface="+mn-ea"/>
                <a:cs typeface="+mn-cs"/>
              </a:rPr>
              <a:t>Marketo</a:t>
            </a:r>
            <a:r>
              <a:rPr lang="en-US" sz="900" kern="1200" dirty="0">
                <a:solidFill>
                  <a:schemeClr val="tx1"/>
                </a:solidFill>
                <a:latin typeface="Segoe UI Light" pitchFamily="34" charset="0"/>
                <a:ea typeface="+mn-ea"/>
                <a:cs typeface="+mn-cs"/>
              </a:rPr>
              <a:t>, Salesforce, GitHub, </a:t>
            </a:r>
            <a:r>
              <a:rPr lang="en-US" sz="900" kern="1200" dirty="0" err="1">
                <a:solidFill>
                  <a:schemeClr val="tx1"/>
                </a:solidFill>
                <a:latin typeface="Segoe UI Light" pitchFamily="34" charset="0"/>
                <a:ea typeface="+mn-ea"/>
                <a:cs typeface="+mn-cs"/>
              </a:rPr>
              <a:t>ZenDesk</a:t>
            </a:r>
            <a:r>
              <a:rPr lang="en-US" sz="900" kern="1200" dirty="0">
                <a:solidFill>
                  <a:schemeClr val="tx1"/>
                </a:solidFill>
                <a:latin typeface="Segoe UI Light" pitchFamily="34" charset="0"/>
                <a:ea typeface="+mn-ea"/>
                <a:cs typeface="+mn-cs"/>
              </a:rPr>
              <a:t>, Dynamics CRM, and many others</a:t>
            </a:r>
            <a:endParaRPr lang="en-US" sz="1800" kern="1200" dirty="0">
              <a:solidFill>
                <a:schemeClr val="tx1"/>
              </a:solidFill>
              <a:latin typeface="Segoe UI Light" pitchFamily="34" charset="0"/>
              <a:ea typeface="+mn-ea"/>
              <a:cs typeface="+mn-cs"/>
            </a:endParaRPr>
          </a:p>
          <a:p>
            <a:pPr marL="457200" indent="-457200">
              <a:buFont typeface="Arial" panose="020B0604020202020204" pitchFamily="34" charset="0"/>
              <a:buChar char="•"/>
            </a:pPr>
            <a:r>
              <a:rPr lang="en-US" sz="900" kern="1200" dirty="0">
                <a:solidFill>
                  <a:schemeClr val="tx1"/>
                </a:solidFill>
                <a:latin typeface="Segoe UI Light" pitchFamily="34" charset="0"/>
                <a:ea typeface="+mn-ea"/>
                <a:cs typeface="+mn-cs"/>
              </a:rPr>
              <a:t>Dashboard</a:t>
            </a:r>
            <a:r>
              <a:rPr lang="en-US" sz="900" kern="1200" baseline="0" dirty="0">
                <a:solidFill>
                  <a:schemeClr val="tx1"/>
                </a:solidFill>
                <a:latin typeface="Segoe UI Light" pitchFamily="34" charset="0"/>
                <a:ea typeface="+mn-ea"/>
                <a:cs typeface="+mn-cs"/>
              </a:rPr>
              <a:t>s and visualizations that </a:t>
            </a:r>
            <a:r>
              <a:rPr lang="en-US" sz="900" kern="1200" dirty="0">
                <a:solidFill>
                  <a:schemeClr val="tx1"/>
                </a:solidFill>
                <a:latin typeface="Segoe UI Light" pitchFamily="34" charset="0"/>
                <a:ea typeface="+mn-ea"/>
                <a:cs typeface="+mn-cs"/>
              </a:rPr>
              <a:t>support real-time</a:t>
            </a:r>
            <a:r>
              <a:rPr lang="en-US" sz="900" kern="1200" baseline="0" dirty="0">
                <a:solidFill>
                  <a:schemeClr val="tx1"/>
                </a:solidFill>
                <a:latin typeface="Segoe UI Light" pitchFamily="34" charset="0"/>
                <a:ea typeface="+mn-ea"/>
                <a:cs typeface="+mn-cs"/>
              </a:rPr>
              <a:t> updates</a:t>
            </a:r>
            <a:endParaRPr lang="en-US" sz="1800" kern="1200" dirty="0">
              <a:solidFill>
                <a:schemeClr val="tx1"/>
              </a:solidFill>
              <a:latin typeface="Segoe UI Light" pitchFamily="34" charset="0"/>
              <a:ea typeface="+mn-ea"/>
              <a:cs typeface="+mn-cs"/>
            </a:endParaRPr>
          </a:p>
          <a:p>
            <a:pPr marL="457200" marR="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latin typeface="Segoe UI Light" pitchFamily="34" charset="0"/>
                <a:ea typeface="+mn-ea"/>
                <a:cs typeface="+mn-cs"/>
              </a:rPr>
              <a:t>Secure, live connection to on-premises data sources to drive insight across the</a:t>
            </a:r>
            <a:r>
              <a:rPr lang="en-US" sz="900" kern="1200" baseline="0" dirty="0">
                <a:solidFill>
                  <a:schemeClr val="tx1"/>
                </a:solidFill>
                <a:latin typeface="Segoe UI Light" pitchFamily="34" charset="0"/>
                <a:ea typeface="+mn-ea"/>
                <a:cs typeface="+mn-cs"/>
              </a:rPr>
              <a:t> entire range of organizational information (Analysis Services, Azure S</a:t>
            </a:r>
            <a:r>
              <a:rPr lang="en-US" sz="1800" kern="1200" dirty="0">
                <a:ln w="3175">
                  <a:noFill/>
                </a:ln>
                <a:gradFill>
                  <a:gsLst>
                    <a:gs pos="1250">
                      <a:schemeClr val="tx2"/>
                    </a:gs>
                    <a:gs pos="99000">
                      <a:schemeClr val="tx2"/>
                    </a:gs>
                  </a:gsLst>
                  <a:lin ang="5400000" scaled="0"/>
                </a:gradFill>
                <a:latin typeface="Segoe UI Light" pitchFamily="34" charset="0"/>
                <a:ea typeface="+mn-ea"/>
                <a:cs typeface="+mn-cs"/>
              </a:rPr>
              <a:t>QL Database, SQL Database Auditing,</a:t>
            </a:r>
            <a:r>
              <a:rPr lang="en-US" sz="1800" kern="1200" baseline="0" dirty="0">
                <a:ln w="3175">
                  <a:noFill/>
                </a:ln>
                <a:gradFill>
                  <a:gsLst>
                    <a:gs pos="1250">
                      <a:schemeClr val="tx2"/>
                    </a:gs>
                    <a:gs pos="99000">
                      <a:schemeClr val="tx2"/>
                    </a:gs>
                  </a:gsLst>
                  <a:lin ang="5400000" scaled="0"/>
                </a:gradFill>
                <a:latin typeface="Segoe UI Light" pitchFamily="34" charset="0"/>
                <a:ea typeface="+mn-ea"/>
                <a:cs typeface="+mn-cs"/>
              </a:rPr>
              <a:t> Azure SQL Data Warehouse)</a:t>
            </a:r>
          </a:p>
          <a:p>
            <a:pPr marL="457200" marR="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dirty="0">
                <a:ln w="3175">
                  <a:noFill/>
                </a:ln>
                <a:gradFill>
                  <a:gsLst>
                    <a:gs pos="1250">
                      <a:schemeClr val="tx2"/>
                    </a:gs>
                    <a:gs pos="99000">
                      <a:schemeClr val="tx2"/>
                    </a:gs>
                  </a:gsLst>
                  <a:lin ang="5400000" scaled="0"/>
                </a:gradFill>
                <a:latin typeface="Segoe UI Light" pitchFamily="34" charset="0"/>
                <a:ea typeface="+mn-ea"/>
                <a:cs typeface="+mn-cs"/>
              </a:rPr>
              <a:t>Automated scheduled refresh to keep your Power BI data in sync with on premises data sources</a:t>
            </a:r>
            <a:endParaRPr lang="en-US" sz="1800" kern="1200" baseline="0" dirty="0">
              <a:solidFill>
                <a:schemeClr val="tx1"/>
              </a:solidFill>
              <a:latin typeface="Segoe UI Light" pitchFamily="34" charset="0"/>
              <a:ea typeface="+mn-ea"/>
              <a:cs typeface="+mn-cs"/>
            </a:endParaRPr>
          </a:p>
          <a:p>
            <a:pPr marL="457200" indent="-457200">
              <a:buFont typeface="Arial" panose="020B0604020202020204" pitchFamily="34" charset="0"/>
              <a:buChar char="•"/>
            </a:pPr>
            <a:r>
              <a:rPr lang="en-US" sz="900" kern="1200" dirty="0">
                <a:solidFill>
                  <a:schemeClr val="tx1"/>
                </a:solidFill>
                <a:latin typeface="Segoe UI Light" pitchFamily="34" charset="0"/>
                <a:ea typeface="+mn-ea"/>
                <a:cs typeface="+mn-cs"/>
              </a:rPr>
              <a:t>Native mobile applications for keeping users</a:t>
            </a:r>
            <a:r>
              <a:rPr lang="en-US" sz="900" kern="1200" baseline="0" dirty="0">
                <a:solidFill>
                  <a:schemeClr val="tx1"/>
                </a:solidFill>
                <a:latin typeface="Segoe UI Light" pitchFamily="34" charset="0"/>
                <a:ea typeface="+mn-ea"/>
                <a:cs typeface="+mn-cs"/>
              </a:rPr>
              <a:t> connected on the go</a:t>
            </a:r>
            <a:endParaRPr lang="en-US" sz="1800" kern="1200" dirty="0">
              <a:solidFill>
                <a:schemeClr val="tx1"/>
              </a:solidFill>
              <a:latin typeface="Segoe UI Light" pitchFamily="34" charset="0"/>
              <a:ea typeface="+mn-ea"/>
              <a:cs typeface="+mn-cs"/>
            </a:endParaRPr>
          </a:p>
          <a:p>
            <a:pPr marL="457200" indent="-457200">
              <a:buFont typeface="Arial" panose="020B0604020202020204" pitchFamily="34" charset="0"/>
              <a:buChar char="•"/>
            </a:pPr>
            <a:r>
              <a:rPr lang="en-US" sz="900" kern="1200" dirty="0">
                <a:solidFill>
                  <a:schemeClr val="tx1"/>
                </a:solidFill>
                <a:latin typeface="Segoe UI Light" pitchFamily="34" charset="0"/>
                <a:ea typeface="+mn-ea"/>
                <a:cs typeface="+mn-cs"/>
              </a:rPr>
              <a:t>Easy integration with other Microsoft offerings,</a:t>
            </a:r>
            <a:r>
              <a:rPr lang="en-US" sz="900" kern="1200" baseline="0" dirty="0">
                <a:solidFill>
                  <a:schemeClr val="tx1"/>
                </a:solidFill>
                <a:latin typeface="Segoe UI Light" pitchFamily="34" charset="0"/>
                <a:ea typeface="+mn-ea"/>
                <a:cs typeface="+mn-cs"/>
              </a:rPr>
              <a:t> </a:t>
            </a:r>
            <a:r>
              <a:rPr lang="en-US" sz="900" kern="1200" dirty="0">
                <a:solidFill>
                  <a:schemeClr val="tx1"/>
                </a:solidFill>
                <a:latin typeface="Segoe UI Light" pitchFamily="34" charset="0"/>
                <a:ea typeface="+mn-ea"/>
                <a:cs typeface="+mn-cs"/>
              </a:rPr>
              <a:t>from Excel to Azure services</a:t>
            </a:r>
            <a:endParaRPr lang="en-US" sz="1800" kern="1200" dirty="0">
              <a:solidFill>
                <a:schemeClr val="tx1"/>
              </a:solidFill>
              <a:latin typeface="Segoe UI Light" pitchFamily="34" charset="0"/>
              <a:ea typeface="+mn-ea"/>
              <a:cs typeface="+mn-cs"/>
            </a:endParaRPr>
          </a:p>
          <a:p>
            <a:pPr marL="457200" indent="-457200">
              <a:buFont typeface="Arial" panose="020B0604020202020204" pitchFamily="34" charset="0"/>
              <a:buChar char="•"/>
            </a:pPr>
            <a:r>
              <a:rPr lang="en-US" sz="900" kern="1200" dirty="0">
                <a:solidFill>
                  <a:schemeClr val="tx1"/>
                </a:solidFill>
                <a:latin typeface="Segoe UI Light" pitchFamily="34" charset="0"/>
                <a:ea typeface="+mn-ea"/>
                <a:cs typeface="+mn-cs"/>
              </a:rPr>
              <a:t>Intuitive data exploration,</a:t>
            </a:r>
            <a:r>
              <a:rPr lang="en-US" sz="900" kern="1200" baseline="0" dirty="0">
                <a:solidFill>
                  <a:schemeClr val="tx1"/>
                </a:solidFill>
                <a:latin typeface="Segoe UI Light" pitchFamily="34" charset="0"/>
                <a:ea typeface="+mn-ea"/>
                <a:cs typeface="+mn-cs"/>
              </a:rPr>
              <a:t> which enables users to ask questions of their data in </a:t>
            </a:r>
            <a:r>
              <a:rPr lang="en-US" sz="900" kern="1200" dirty="0">
                <a:solidFill>
                  <a:schemeClr val="tx1"/>
                </a:solidFill>
                <a:latin typeface="Segoe UI Light" pitchFamily="34" charset="0"/>
                <a:ea typeface="+mn-ea"/>
                <a:cs typeface="+mn-cs"/>
              </a:rPr>
              <a:t>plain English</a:t>
            </a:r>
            <a:endParaRPr lang="en-US" sz="1800" kern="1200" dirty="0">
              <a:solidFill>
                <a:schemeClr val="tx1"/>
              </a:solidFill>
              <a:latin typeface="Segoe UI Light" pitchFamily="34" charset="0"/>
              <a:ea typeface="+mn-ea"/>
              <a:cs typeface="+mn-cs"/>
            </a:endParaRPr>
          </a:p>
          <a:p>
            <a:endParaRPr lang="en-US" sz="1800" dirty="0"/>
          </a:p>
          <a:p>
            <a:pPr defTabSz="914367"/>
            <a:endParaRPr lang="en-US" baseline="0" dirty="0">
              <a:gradFill>
                <a:gsLst>
                  <a:gs pos="1250">
                    <a:srgbClr val="000000"/>
                  </a:gs>
                  <a:gs pos="99000">
                    <a:srgbClr val="000000"/>
                  </a:gs>
                </a:gsLst>
                <a:lin ang="5400000" scaled="0"/>
              </a:gradFill>
              <a:latin typeface="+mj-lt"/>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22783"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22783"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F34A55B-0232-4B2A-8DB0-D59B999B87D7}"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6</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2230240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day, we’re going to look at a number of key areas around</a:t>
            </a:r>
            <a:r>
              <a:rPr lang="en-US" baseline="0" dirty="0"/>
              <a:t> hosting provider scenarios that encompass Microsoft Azure, specifically disaster recovery and software development and testing when using SQL server 2014.</a:t>
            </a:r>
          </a:p>
          <a:p>
            <a:endParaRPr lang="en-US" baseline="0" dirty="0"/>
          </a:p>
          <a:p>
            <a:r>
              <a:rPr lang="en-US" baseline="0" dirty="0"/>
              <a:t>We’ll going to start by taking a high level look at Microsoft’s Cloud vision and then look at some of the common challenges organizations face when thinking about disaster recovery and Developing and testing software and services, and then take a brief look at potential solutions in market today, that could solve those challenges.</a:t>
            </a:r>
          </a:p>
          <a:p>
            <a:endParaRPr lang="en-US" baseline="0" dirty="0"/>
          </a:p>
          <a:p>
            <a:r>
              <a:rPr lang="en-US" baseline="0" dirty="0"/>
              <a:t>From there, we’ll dive into a couple areas in a little more depth, exploring some of the key features and capabilities that make them compelling in their own right that utilize our powerful cloud capabilities in Microsoft Azure.  All of these solutions demonstrate the integrated story of how Microsoft can provide you with a compelling solution to meet your business end customers needs.</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EF9D7DE-82BF-4DD3-8FAB-EB3409EA06B9}" type="datetime1">
              <a:rPr lang="en-US" smtClean="0"/>
              <a:t>6/10/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20871768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6/10/2016 11:04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39852210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6/10/2016 11:04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196133539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EBDA9DE-0A1B-4158-995B-10BD1A8BB1EE}" type="datetime1">
              <a:rPr lang="en-US" smtClean="0"/>
              <a:t>6/10/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34627069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900" b="1" kern="1200" dirty="0">
                <a:solidFill>
                  <a:schemeClr val="tx1"/>
                </a:solidFill>
                <a:effectLst/>
                <a:latin typeface="Segoe UI Light" pitchFamily="34" charset="0"/>
                <a:ea typeface="+mn-ea"/>
                <a:cs typeface="+mn-cs"/>
              </a:rPr>
              <a:t>Big Data – </a:t>
            </a:r>
            <a:r>
              <a:rPr lang="en-US" sz="900" b="1" u="sng" kern="1200" dirty="0">
                <a:solidFill>
                  <a:schemeClr val="tx1"/>
                </a:solidFill>
                <a:effectLst/>
                <a:latin typeface="Segoe UI Light" pitchFamily="34" charset="0"/>
                <a:ea typeface="+mn-ea"/>
                <a:cs typeface="+mn-cs"/>
                <a:hlinkClick r:id="rId3"/>
              </a:rPr>
              <a:t>City of Barcelona</a:t>
            </a:r>
            <a:endParaRPr lang="en-US"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 </a:t>
            </a:r>
            <a:endParaRPr lang="en-US"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To help design and deploy its Big Data solution, the city teamed with </a:t>
            </a:r>
            <a:r>
              <a:rPr lang="en-US" sz="900" kern="1200" dirty="0" err="1">
                <a:solidFill>
                  <a:schemeClr val="tx1"/>
                </a:solidFill>
                <a:effectLst/>
                <a:latin typeface="Segoe UI Light" pitchFamily="34" charset="0"/>
                <a:ea typeface="+mn-ea"/>
                <a:cs typeface="+mn-cs"/>
              </a:rPr>
              <a:t>Bismart</a:t>
            </a:r>
            <a:r>
              <a:rPr lang="en-US" sz="900" kern="1200" dirty="0">
                <a:solidFill>
                  <a:schemeClr val="tx1"/>
                </a:solidFill>
                <a:effectLst/>
                <a:latin typeface="Segoe UI Light" pitchFamily="34" charset="0"/>
                <a:ea typeface="+mn-ea"/>
                <a:cs typeface="+mn-cs"/>
              </a:rPr>
              <a:t>, a Microsoft Big Data partner and Microsoft Business Intelligence Partner of the Year. </a:t>
            </a:r>
            <a:r>
              <a:rPr lang="en-US" sz="900" kern="1200" dirty="0" err="1">
                <a:solidFill>
                  <a:schemeClr val="tx1"/>
                </a:solidFill>
                <a:effectLst/>
                <a:latin typeface="Segoe UI Light" pitchFamily="34" charset="0"/>
                <a:ea typeface="+mn-ea"/>
                <a:cs typeface="+mn-cs"/>
              </a:rPr>
              <a:t>Bismart</a:t>
            </a:r>
            <a:r>
              <a:rPr lang="en-US" sz="900" kern="1200" dirty="0">
                <a:solidFill>
                  <a:schemeClr val="tx1"/>
                </a:solidFill>
                <a:effectLst/>
                <a:latin typeface="Segoe UI Light" pitchFamily="34" charset="0"/>
                <a:ea typeface="+mn-ea"/>
                <a:cs typeface="+mn-cs"/>
              </a:rPr>
              <a:t> and </a:t>
            </a:r>
            <a:r>
              <a:rPr lang="en-US" sz="900" kern="1200" dirty="0" err="1">
                <a:solidFill>
                  <a:schemeClr val="tx1"/>
                </a:solidFill>
                <a:effectLst/>
                <a:latin typeface="Segoe UI Light" pitchFamily="34" charset="0"/>
                <a:ea typeface="+mn-ea"/>
                <a:cs typeface="+mn-cs"/>
              </a:rPr>
              <a:t>Barelona</a:t>
            </a:r>
            <a:r>
              <a:rPr lang="en-US" sz="900" kern="1200" dirty="0">
                <a:solidFill>
                  <a:schemeClr val="tx1"/>
                </a:solidFill>
                <a:effectLst/>
                <a:latin typeface="Segoe UI Light" pitchFamily="34" charset="0"/>
                <a:ea typeface="+mn-ea"/>
                <a:cs typeface="+mn-cs"/>
              </a:rPr>
              <a:t> created new services designed to improve efficiency and transparency. These include an Open Data service that collects and centralizes all public information from Barcelona’s City Hall. Another service uses a dashboard with key performance indicators that measure data from 100 systems about topics such as public transportation, the economy, and population demographics. And Barcelona also used the Big Data platform to streamline the planning for Spain’s largest festival, La </a:t>
            </a:r>
            <a:r>
              <a:rPr lang="en-US" sz="900" kern="1200" dirty="0" err="1">
                <a:solidFill>
                  <a:schemeClr val="tx1"/>
                </a:solidFill>
                <a:effectLst/>
                <a:latin typeface="Segoe UI Light" pitchFamily="34" charset="0"/>
                <a:ea typeface="+mn-ea"/>
                <a:cs typeface="+mn-cs"/>
              </a:rPr>
              <a:t>Mercé</a:t>
            </a:r>
            <a:r>
              <a:rPr lang="en-US" sz="900" kern="1200" dirty="0">
                <a:solidFill>
                  <a:schemeClr val="tx1"/>
                </a:solidFill>
                <a:effectLst/>
                <a:latin typeface="Segoe UI Light" pitchFamily="34" charset="0"/>
                <a:ea typeface="+mn-ea"/>
                <a:cs typeface="+mn-cs"/>
              </a:rPr>
              <a:t>, by analyzing petabytes of real-time data from social media feeds, financial transactions, GPS, traffic, and weather data, parking records, web site visits, and more. </a:t>
            </a:r>
          </a:p>
          <a:p>
            <a:pPr fontAlgn="base"/>
            <a:r>
              <a:rPr lang="en-US" sz="900" b="1" kern="1200" dirty="0">
                <a:solidFill>
                  <a:schemeClr val="tx1"/>
                </a:solidFill>
                <a:effectLst/>
                <a:latin typeface="Segoe UI Light" pitchFamily="34" charset="0"/>
                <a:ea typeface="+mn-ea"/>
                <a:cs typeface="+mn-cs"/>
              </a:rPr>
              <a:t> </a:t>
            </a:r>
            <a:endParaRPr lang="en-US"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Machine Learning – </a:t>
            </a:r>
            <a:r>
              <a:rPr lang="en-US" sz="900" b="1" u="sng" kern="1200" dirty="0" err="1">
                <a:solidFill>
                  <a:schemeClr val="tx1"/>
                </a:solidFill>
                <a:effectLst/>
                <a:latin typeface="Segoe UI Light" pitchFamily="34" charset="0"/>
                <a:ea typeface="+mn-ea"/>
                <a:cs typeface="+mn-cs"/>
                <a:hlinkClick r:id="rId4"/>
              </a:rPr>
              <a:t>Ziosk</a:t>
            </a:r>
            <a:endParaRPr lang="en-US"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Predictive analytics to do targeted marketing and promotions on the Kiosks based on user behavior and historical data. With Power BI each manager would see a different slice of the data, based on his or her role. A </a:t>
            </a:r>
            <a:r>
              <a:rPr lang="en-US" sz="900" kern="1200" dirty="0" err="1">
                <a:solidFill>
                  <a:schemeClr val="tx1"/>
                </a:solidFill>
                <a:effectLst/>
                <a:latin typeface="Segoe UI Light" pitchFamily="34" charset="0"/>
                <a:ea typeface="+mn-ea"/>
                <a:cs typeface="+mn-cs"/>
              </a:rPr>
              <a:t>Ziosk</a:t>
            </a:r>
            <a:r>
              <a:rPr lang="en-US" sz="900" kern="1200" dirty="0">
                <a:solidFill>
                  <a:schemeClr val="tx1"/>
                </a:solidFill>
                <a:effectLst/>
                <a:latin typeface="Segoe UI Light" pitchFamily="34" charset="0"/>
                <a:ea typeface="+mn-ea"/>
                <a:cs typeface="+mn-cs"/>
              </a:rPr>
              <a:t> marketing manager might see an aggregation based on the company’s 77,000 (as of early 2015) devices. A corporate restaurant manager might see data for the entire chain, with breakdowns by region and restaurant. A manager in the restaurant might see data to show where and when to redeploy resources, such as moving a waiter from one section to another to reduce guest wait times.</a:t>
            </a:r>
          </a:p>
          <a:p>
            <a:pPr fontAlgn="base"/>
            <a:r>
              <a:rPr lang="en-US" sz="900" kern="1200" dirty="0">
                <a:solidFill>
                  <a:schemeClr val="tx1"/>
                </a:solidFill>
                <a:effectLst/>
                <a:latin typeface="Segoe UI Light" pitchFamily="34" charset="0"/>
                <a:ea typeface="+mn-ea"/>
                <a:cs typeface="+mn-cs"/>
              </a:rPr>
              <a:t> </a:t>
            </a:r>
          </a:p>
          <a:p>
            <a:pPr fontAlgn="base"/>
            <a:r>
              <a:rPr lang="en-US" sz="900" b="1" kern="1200" dirty="0">
                <a:solidFill>
                  <a:schemeClr val="tx1"/>
                </a:solidFill>
                <a:effectLst/>
                <a:latin typeface="Segoe UI Light" pitchFamily="34" charset="0"/>
                <a:ea typeface="+mn-ea"/>
                <a:cs typeface="+mn-cs"/>
              </a:rPr>
              <a:t>IoT – </a:t>
            </a:r>
            <a:r>
              <a:rPr lang="en-US" sz="900" b="1" u="sng" kern="1200" dirty="0">
                <a:solidFill>
                  <a:schemeClr val="tx1"/>
                </a:solidFill>
                <a:effectLst/>
                <a:latin typeface="Segoe UI Light" pitchFamily="34" charset="0"/>
                <a:ea typeface="+mn-ea"/>
                <a:cs typeface="+mn-cs"/>
                <a:hlinkClick r:id="rId5"/>
              </a:rPr>
              <a:t>Montgomery Water</a:t>
            </a:r>
            <a:endParaRPr lang="en-US"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Streaming data into Power BI from sensors across the water system to help optimize operations and cost efficiencies. </a:t>
            </a:r>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6/10/2016 11:04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13994434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Server &amp; Tools Business</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FBC6585-9A1C-46A7-BF31-03F79FD4407E}"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472251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56322"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sz="1200" b="1" kern="1200" dirty="0">
                <a:solidFill>
                  <a:schemeClr val="tx1"/>
                </a:solidFill>
                <a:effectLst/>
                <a:latin typeface="+mn-lt"/>
                <a:ea typeface="MS PGothic" panose="020B0600070205080204" pitchFamily="34" charset="-128"/>
                <a:cs typeface="ＭＳ Ｐゴシック" charset="0"/>
              </a:rPr>
              <a:t>Key Points:</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Companies that make best use of data and analytics investments stand to capture more value compared to companies that do not</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Data is the new currency—the formula is relatively simple as to how we get our returns on data</a:t>
            </a:r>
            <a:endParaRPr lang="en-US" sz="1800" kern="1200" dirty="0">
              <a:solidFill>
                <a:schemeClr val="tx1"/>
              </a:solidFill>
              <a:effectLst/>
              <a:latin typeface="+mn-lt"/>
              <a:ea typeface="MS PGothic" panose="020B0600070205080204" pitchFamily="34" charset="-128"/>
              <a:cs typeface="ＭＳ Ｐゴシック" charset="0"/>
            </a:endParaRPr>
          </a:p>
          <a:p>
            <a:r>
              <a:rPr lang="en-US" sz="1200" b="1" kern="1200" dirty="0">
                <a:solidFill>
                  <a:schemeClr val="tx1"/>
                </a:solidFill>
                <a:effectLst/>
                <a:latin typeface="+mn-lt"/>
                <a:ea typeface="MS PGothic" panose="020B0600070205080204" pitchFamily="34" charset="-128"/>
                <a:cs typeface="ＭＳ Ｐゴシック" charset="0"/>
              </a:rPr>
              <a:t>Talk Track:</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If data is the new competitive advantage for business, we want to get granular and specific on how companies can derive business value. </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IDC explored the impact of data on business. After surveying more than 2,000 companies, IDC found that there are two categories of businesses: organizations that have taken a leadership position when it comes to data; and those that are not making best use of data. We learned that the leaders—those companies that embraced data—derived significantly more dividends from those investments in data—from increased revenue, improved productivity, and reduced costs. </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There is a unique formula that drives this notion of data dividends, or return on data. Data-driven companies focus on several areas:</a:t>
            </a:r>
            <a:endParaRPr lang="en-US" sz="1800" kern="1200" dirty="0">
              <a:solidFill>
                <a:schemeClr val="tx1"/>
              </a:solidFill>
              <a:effectLst/>
              <a:latin typeface="+mn-lt"/>
              <a:ea typeface="MS PGothic" panose="020B0600070205080204" pitchFamily="34" charset="-128"/>
              <a:cs typeface="ＭＳ Ｐゴシック" charset="0"/>
            </a:endParaRPr>
          </a:p>
          <a:p>
            <a:pPr marL="636588" lvl="1"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mn-cs"/>
              </a:rPr>
              <a:t>Capturing diverse data: You can no longer just think about what to do with traditional data types. You need to be open to and capable of collecting a wide array of data—including new data types.</a:t>
            </a:r>
            <a:endParaRPr lang="en-US" sz="1800" kern="1200" dirty="0">
              <a:solidFill>
                <a:schemeClr val="tx1"/>
              </a:solidFill>
              <a:effectLst/>
              <a:latin typeface="+mn-lt"/>
              <a:ea typeface="MS PGothic" panose="020B0600070205080204" pitchFamily="34" charset="-128"/>
              <a:cs typeface="+mn-cs"/>
            </a:endParaRPr>
          </a:p>
          <a:p>
            <a:pPr marL="636588" lvl="1"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mn-cs"/>
              </a:rPr>
              <a:t>Utilize new analytics: Logical data warehouses are no longer going to extract and transform new data types. You need to explore new analytical capabilities that are suited to new data types and real-time decision making needs.</a:t>
            </a:r>
            <a:endParaRPr lang="en-US" sz="1800" kern="1200" dirty="0">
              <a:solidFill>
                <a:schemeClr val="tx1"/>
              </a:solidFill>
              <a:effectLst/>
              <a:latin typeface="+mn-lt"/>
              <a:ea typeface="MS PGothic" panose="020B0600070205080204" pitchFamily="34" charset="-128"/>
              <a:cs typeface="+mn-cs"/>
            </a:endParaRPr>
          </a:p>
          <a:p>
            <a:pPr marL="636588" lvl="1"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mn-cs"/>
              </a:rPr>
              <a:t>Deliver to more people: To unlock insights, you need to democratize your data across the organization. </a:t>
            </a:r>
            <a:endParaRPr lang="en-US" sz="1800" kern="1200" dirty="0">
              <a:solidFill>
                <a:schemeClr val="tx1"/>
              </a:solidFill>
              <a:effectLst/>
              <a:latin typeface="+mn-lt"/>
              <a:ea typeface="MS PGothic" panose="020B0600070205080204" pitchFamily="34" charset="-128"/>
              <a:cs typeface="+mn-cs"/>
            </a:endParaRPr>
          </a:p>
          <a:p>
            <a:pPr marL="636588" lvl="1"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mn-cs"/>
              </a:rPr>
              <a:t>Uncover real-time insights: With the rise of the Internet of Things, and the instrumentation of just about everything, the ability to provide real-time visibility across lines of business represents a big value opportunity.</a:t>
            </a:r>
            <a:endParaRPr lang="en-US" sz="1800" kern="1200" dirty="0">
              <a:solidFill>
                <a:schemeClr val="tx1"/>
              </a:solidFill>
              <a:effectLst/>
              <a:latin typeface="+mn-lt"/>
              <a:ea typeface="MS PGothic" panose="020B0600070205080204" pitchFamily="34" charset="-128"/>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At the worldwide level, leaders will capture $1.6 trillion more in value from their data and analytics investments over the next four years compared to companies that don’t. This represents a 6 percent higher data dividend for leaders—an opportunity that exists for any individual organization looking to maximize its return on data assets and reap ongoing data dividends.</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This means that data really is a new currency of the twenty-first century business economy. </a:t>
            </a:r>
            <a:endParaRPr lang="en-US" sz="1800" kern="1200" dirty="0">
              <a:solidFill>
                <a:schemeClr val="tx1"/>
              </a:solidFill>
              <a:effectLst/>
              <a:latin typeface="+mn-lt"/>
              <a:ea typeface="MS PGothic" panose="020B0600070205080204" pitchFamily="34" charset="-128"/>
              <a:cs typeface="ＭＳ Ｐゴシック" charset="0"/>
            </a:endParaRPr>
          </a:p>
        </p:txBody>
      </p:sp>
      <p:sp>
        <p:nvSpPr>
          <p:cNvPr id="56323"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fld id="{5B890FDF-60E2-B145-B5D7-0FE7E8EC781D}" type="slidenum">
              <a:rPr kumimoji="0" lang="en-US" sz="1200" b="0" i="0" u="none" strike="noStrike" kern="0" cap="none" spc="0" normalizeH="0" baseline="0" noProof="0">
                <a:ln>
                  <a:noFill/>
                </a:ln>
                <a:solidFill>
                  <a:prstClr val="black"/>
                </a:solidFill>
                <a:effectLst/>
                <a:uLnTx/>
                <a:uFillTx/>
                <a:latin typeface="Calibri" charset="0"/>
                <a:ea typeface="MS PGothic" charset="0"/>
                <a:cs typeface="MS PGothic" charset="0"/>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200" b="0" i="0" u="none" strike="noStrike" kern="0" cap="none" spc="0" normalizeH="0" baseline="0" noProof="0" dirty="0">
              <a:ln>
                <a:noFill/>
              </a:ln>
              <a:solidFill>
                <a:prstClr val="black"/>
              </a:solidFill>
              <a:effectLst/>
              <a:uLnTx/>
              <a:uFillTx/>
              <a:latin typeface="Calibri" charset="0"/>
              <a:ea typeface="MS PGothic" charset="0"/>
              <a:cs typeface="MS PGothic" charset="0"/>
            </a:endParaRPr>
          </a:p>
        </p:txBody>
      </p:sp>
    </p:spTree>
    <p:extLst>
      <p:ext uri="{BB962C8B-B14F-4D97-AF65-F5344CB8AC3E}">
        <p14:creationId xmlns:p14="http://schemas.microsoft.com/office/powerpoint/2010/main" val="269445200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Connect live to on-premises Analysis Services models </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Realize the benefits of a cloud based BI solution without having to move your data. With Power BI gateways you can create a secure connection to SQL Server Analysis Services from Power BI. When users view and explore dashboards and reports the system will interactively query the on-premises cube to fetch the data using the user’s credentials. With this hybrid solution, you can continue to manage and secure your data on-premises, removing the need to have data reside in the cloud. </a:t>
            </a:r>
          </a:p>
          <a:p>
            <a:r>
              <a:rPr lang="en-US" sz="1200" b="0" dirty="0"/>
              <a:t>The gateways provide the flexibility you need to meet individual needs, and the needs of your organization.</a:t>
            </a:r>
          </a:p>
          <a:p>
            <a:endParaRPr lang="en-US" sz="1200" b="0" kern="1200" dirty="0">
              <a:solidFill>
                <a:schemeClr val="tx1"/>
              </a:solidFill>
              <a:effectLst/>
              <a:latin typeface="+mn-lt"/>
              <a:ea typeface="+mn-ea"/>
              <a:cs typeface="+mn-cs"/>
            </a:endParaRPr>
          </a:p>
          <a:p>
            <a:pPr defTabSz="941603">
              <a:spcAft>
                <a:spcPts val="343"/>
              </a:spcAft>
              <a:defRPr/>
            </a:pPr>
            <a:r>
              <a:rPr lang="en-US" sz="1200" b="0" dirty="0"/>
              <a:t>Live connection option</a:t>
            </a:r>
            <a:r>
              <a:rPr lang="en-US" sz="1200" b="0" baseline="0" dirty="0"/>
              <a:t> are l</a:t>
            </a:r>
            <a:r>
              <a:rPr lang="en-US" sz="1200" b="0" dirty="0"/>
              <a:t>ive</a:t>
            </a:r>
            <a:r>
              <a:rPr lang="en-US" sz="1200" b="0" baseline="0" dirty="0"/>
              <a:t> Query to SSAS or direct query to SQL Server data sources and other data sources.</a:t>
            </a:r>
          </a:p>
          <a:p>
            <a:pPr defTabSz="941603">
              <a:spcAft>
                <a:spcPts val="343"/>
              </a:spcAft>
              <a:defRPr/>
            </a:pPr>
            <a:r>
              <a:rPr lang="en-US" sz="1200" b="0" baseline="0" dirty="0"/>
              <a:t>Scheduled refresh to all supported data sources.</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FAQ:</a:t>
            </a: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How does security work with the new SQL Server Analysis Service connector?</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Power BI customers can benefit from the role level security in SQL Server Analysis Services.</a:t>
            </a:r>
            <a:r>
              <a:rPr lang="en-US" sz="1200" b="1"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The Power BI user name is passed through to on-premises Analysis Services and appropriate</a:t>
            </a:r>
            <a:r>
              <a:rPr lang="en-US" sz="1200" kern="1200" baseline="0" dirty="0">
                <a:solidFill>
                  <a:schemeClr val="tx1"/>
                </a:solidFill>
                <a:effectLst/>
                <a:latin typeface="+mn-lt"/>
                <a:ea typeface="+mn-ea"/>
                <a:cs typeface="+mn-cs"/>
              </a:rPr>
              <a:t> role-based security</a:t>
            </a:r>
            <a:r>
              <a:rPr lang="en-US" sz="1200" kern="1200" dirty="0">
                <a:solidFill>
                  <a:schemeClr val="tx1"/>
                </a:solidFill>
                <a:effectLst/>
                <a:latin typeface="+mn-lt"/>
                <a:ea typeface="+mn-ea"/>
                <a:cs typeface="+mn-cs"/>
              </a:rPr>
              <a:t>. Analysis Services resolves the user name to an authorized user via Azure Active Directory (more</a:t>
            </a:r>
            <a:r>
              <a:rPr lang="en-US" sz="1200" kern="1200" baseline="0" dirty="0">
                <a:solidFill>
                  <a:schemeClr val="tx1"/>
                </a:solidFill>
                <a:effectLst/>
                <a:latin typeface="+mn-lt"/>
                <a:ea typeface="+mn-ea"/>
                <a:cs typeface="+mn-cs"/>
              </a:rPr>
              <a:t> info:: </a:t>
            </a:r>
            <a:r>
              <a:rPr lang="en-US" sz="900" u="sng" kern="1200" dirty="0">
                <a:solidFill>
                  <a:schemeClr val="tx1"/>
                </a:solidFill>
                <a:effectLst/>
                <a:latin typeface="Segoe UI Light" pitchFamily="34" charset="0"/>
                <a:ea typeface="+mn-ea"/>
                <a:cs typeface="+mn-cs"/>
                <a:hlinkClick r:id="rId3"/>
              </a:rPr>
              <a:t>http://support.powerbi.com/knowledgebase/articles/505323-why-you-need-dirsync-to-connect-to-on-premises-ana</a:t>
            </a:r>
            <a:r>
              <a:rPr lang="en-US" sz="1200" kern="1200" dirty="0">
                <a:solidFill>
                  <a:schemeClr val="tx1"/>
                </a:solidFill>
                <a:effectLst/>
                <a:latin typeface="+mn-lt"/>
                <a:ea typeface="+mn-ea"/>
                <a:cs typeface="+mn-cs"/>
              </a:rPr>
              <a:t>) and then applies appropriate role-based security to restricted access. </a:t>
            </a:r>
          </a:p>
          <a:p>
            <a:r>
              <a:rPr lang="en-US" sz="1200" kern="1200" dirty="0">
                <a:solidFill>
                  <a:schemeClr val="tx1"/>
                </a:solidFill>
                <a:effectLst/>
                <a:latin typeface="+mn-lt"/>
                <a:ea typeface="+mn-ea"/>
                <a:cs typeface="+mn-cs"/>
              </a:rPr>
              <a:t> </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Server &amp; Tools Business</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171B3BB-DFF4-43DF-B887-7B1543BC1A74}"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6</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11018367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bjective:</a:t>
            </a:r>
            <a:r>
              <a:rPr lang="en-US" b="1" baseline="0" dirty="0"/>
              <a:t> </a:t>
            </a:r>
            <a:r>
              <a:rPr lang="en-US" b="1" dirty="0"/>
              <a:t>Showcase</a:t>
            </a:r>
            <a:r>
              <a:rPr lang="en-US" b="1" baseline="0" dirty="0"/>
              <a:t> the market opportunities available to partners and the growing demand for cloud services</a:t>
            </a:r>
          </a:p>
          <a:p>
            <a:endParaRPr lang="en-US" baseline="0" dirty="0"/>
          </a:p>
          <a:p>
            <a:r>
              <a:rPr lang="en-US" baseline="0" dirty="0"/>
              <a:t>The cloud revolution continues. With more and more cloud services being consumed everyday, it is imperative that Microsoft partners embrace this technology and expand their business to the cloud. According to a partner study conducted by IDC, partners expect 40% of revenue to come from cloud-related product and services in 2 years time. Another study, by Forrester, projects that by 2020, 45% of total IT services will be spent on cloud services. While the benefits of cloud are apparent to business and IT decision makers, many are not completely comfortable migrating all of their data and processes to the cloud. This is especially true in regions where data sovereignty and security are major factors in the decision to move to the cloud. This is where hybrid deployments come in. </a:t>
            </a:r>
          </a:p>
          <a:p>
            <a:endParaRPr lang="en-US" baseline="0" dirty="0"/>
          </a:p>
          <a:p>
            <a:r>
              <a:rPr lang="en-US" baseline="0" dirty="0"/>
              <a:t>With hybrid, customers have the ability to choose what data can exist on a public or hosted cloud and what data must stay on their on-premises datacenters for security reasons. This option is very attractive to enterprise, SMB and public sector/governmental entities. A recent study by Gartner projects that by the end of 2017, nearly 50% of large enterprises will likely have hybrid cloud deployments. Another 2013 study, conducted by 451 Research, predicts that by 2015, 62% of total IT spend will be on cloud and hybrid services, with only 38% on traditional on-premises expenditures. The breakdown of these expenditures can be seen on the slide. </a:t>
            </a:r>
          </a:p>
          <a:p>
            <a:endParaRPr lang="en-US" baseline="0" dirty="0"/>
          </a:p>
          <a:p>
            <a:r>
              <a:rPr lang="en-US" baseline="0" dirty="0"/>
              <a:t>With all of these changes taking place in customer businesses, there is massive market potential for partner to capitalize on. This may entail standing up a private cloud for a customer and hooking them into Microsoft Azure or a hosting service provider’s cloud so they can take advantage of cloud economics while still keeping their most important data safe in their own datacenter. Another avenue for taking advantage of the shift to the cloud is offering strategic, business consulting services. Many customers want to move to the cloud or a hybrid solution but may not be sure where to start. By guiding them through the process of buying a Microsoft Azure EA and offering value added services along the way, in the form of repeatable IP, you can profit from the opportunities cloud creates and become a trusted advisor for your customers in the future. The market is young with many greenfield opportunities, find your niche and you will reap the rewards.</a:t>
            </a:r>
          </a:p>
          <a:p>
            <a:endParaRPr lang="en-US" baseline="0" dirty="0"/>
          </a:p>
          <a:p>
            <a:r>
              <a:rPr lang="en-US" baseline="0" dirty="0"/>
              <a:t>By offering hybrid cloud solutions to your customers you can drive additional cloud consumption and revenue for your services. </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6/10/2016 11:0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378689310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6/10/2016 11:0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5</a:t>
            </a:fld>
            <a:endParaRPr lang="en-US" dirty="0"/>
          </a:p>
        </p:txBody>
      </p:sp>
    </p:spTree>
    <p:extLst>
      <p:ext uri="{BB962C8B-B14F-4D97-AF65-F5344CB8AC3E}">
        <p14:creationId xmlns:p14="http://schemas.microsoft.com/office/powerpoint/2010/main" val="274082089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o enable</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our customers to capture this massive Data dividend</a:t>
            </a:r>
            <a:r>
              <a:rPr lang="en-US" sz="1200" kern="1200" baseline="0" dirty="0">
                <a:solidFill>
                  <a:schemeClr val="tx1"/>
                </a:solidFill>
                <a:effectLst/>
                <a:latin typeface="+mn-lt"/>
                <a:ea typeface="+mn-ea"/>
                <a:cs typeface="+mn-cs"/>
              </a:rPr>
              <a:t> we built Power BI. </a:t>
            </a:r>
          </a:p>
          <a:p>
            <a:endParaRPr lang="en-US" sz="1200" kern="1200" baseline="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kern="1200" baseline="0" dirty="0">
                <a:solidFill>
                  <a:schemeClr val="tx1"/>
                </a:solidFill>
                <a:effectLst/>
                <a:latin typeface="Segoe UI Light" pitchFamily="34" charset="0"/>
                <a:ea typeface="+mn-ea"/>
                <a:cs typeface="+mn-cs"/>
              </a:rPr>
              <a:t>Power BI is a cloud-based business analytics service that enables anyone to visualize and analyze data with greater speed, efficiency, and understanding.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kern="1200" baseline="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Power BI users can see all of their data through a single pane of glass. They </a:t>
            </a:r>
            <a:r>
              <a:rPr lang="en-US" sz="1200" kern="1200" baseline="0" dirty="0">
                <a:solidFill>
                  <a:schemeClr val="tx1"/>
                </a:solidFill>
                <a:effectLst/>
                <a:latin typeface="+mn-lt"/>
                <a:ea typeface="+mn-ea"/>
                <a:cs typeface="+mn-cs"/>
              </a:rPr>
              <a:t>can create l</a:t>
            </a:r>
            <a:r>
              <a:rPr lang="en-US" sz="1200" kern="1200" dirty="0">
                <a:solidFill>
                  <a:schemeClr val="tx1"/>
                </a:solidFill>
                <a:effectLst/>
                <a:latin typeface="+mn-lt"/>
                <a:ea typeface="+mn-ea"/>
                <a:cs typeface="+mn-cs"/>
              </a:rPr>
              <a:t>ive Power BI dashboards and reports that show visualizations and KPIs from broad range of live data residing both on-premises and in the cloud,</a:t>
            </a:r>
            <a:r>
              <a:rPr lang="en-US" sz="1200" kern="1200" baseline="0" dirty="0">
                <a:solidFill>
                  <a:schemeClr val="tx1"/>
                </a:solidFill>
                <a:effectLst/>
                <a:latin typeface="+mn-lt"/>
                <a:ea typeface="+mn-ea"/>
                <a:cs typeface="+mn-cs"/>
              </a:rPr>
              <a:t> </a:t>
            </a:r>
            <a:r>
              <a:rPr lang="en-US" sz="1200" dirty="0">
                <a:effectLst/>
                <a:latin typeface="Calibri" panose="020F0502020204030204" pitchFamily="34" charset="0"/>
                <a:ea typeface="Calibri" panose="020F0502020204030204" pitchFamily="34" charset="0"/>
                <a:cs typeface="Times New Roman" panose="02020603050405020304" pitchFamily="18" charset="0"/>
              </a:rPr>
              <a:t>providing a consolidated view across their business regardless of where their data live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r>
              <a:rPr lang="en-US" sz="1200" kern="1200" dirty="0">
                <a:solidFill>
                  <a:schemeClr val="tx1"/>
                </a:solidFill>
                <a:effectLst/>
                <a:latin typeface="+mn-lt"/>
                <a:ea typeface="+mn-ea"/>
                <a:cs typeface="+mn-cs"/>
              </a:rPr>
              <a:t>They can remain</a:t>
            </a:r>
            <a:r>
              <a:rPr lang="en-US" sz="1200" kern="1200" baseline="0" dirty="0">
                <a:solidFill>
                  <a:schemeClr val="tx1"/>
                </a:solidFill>
                <a:effectLst/>
                <a:latin typeface="+mn-lt"/>
                <a:ea typeface="+mn-ea"/>
                <a:cs typeface="+mn-cs"/>
              </a:rPr>
              <a:t> connected to their data from any device with Power BI apps for Windows, iOS and Android. Finally they can easily share dashboards across their organization for better collaboration</a:t>
            </a:r>
            <a:endParaRPr lang="en-US" sz="1200" kern="1200" dirty="0">
              <a:solidFill>
                <a:schemeClr val="tx1"/>
              </a:solidFill>
              <a:effectLst/>
              <a:latin typeface="+mn-lt"/>
              <a:ea typeface="+mn-ea"/>
              <a:cs typeface="+mn-cs"/>
            </a:endParaRPr>
          </a:p>
          <a:p>
            <a:pPr marL="0" marR="0" indent="0" algn="l" defTabSz="914367" rtl="0" eaLnBrk="1" fontAlgn="auto" latinLnBrk="0" hangingPunct="1">
              <a:lnSpc>
                <a:spcPct val="100000"/>
              </a:lnSpc>
              <a:spcBef>
                <a:spcPts val="0"/>
              </a:spcBef>
              <a:spcAft>
                <a:spcPts val="0"/>
              </a:spcAft>
              <a:buClrTx/>
              <a:buSzTx/>
              <a:buFontTx/>
              <a:buNone/>
              <a:tabLst/>
              <a:defRPr/>
            </a:pPr>
            <a:endParaRPr lang="en-US" sz="3200" kern="1200" dirty="0">
              <a:gradFill>
                <a:gsLst>
                  <a:gs pos="1250">
                    <a:srgbClr val="000000"/>
                  </a:gs>
                  <a:gs pos="99000">
                    <a:srgbClr val="000000"/>
                  </a:gs>
                </a:gsLst>
                <a:lin ang="5400000" scaled="0"/>
              </a:gra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E98BB05-16B5-4FF7-A0F1-C878953E71E5}"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654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1838" y="1171575"/>
            <a:ext cx="5624512" cy="3163888"/>
          </a:xfrm>
        </p:spPr>
      </p:sp>
      <p:sp>
        <p:nvSpPr>
          <p:cNvPr id="3" name="Notes Placeholder 2"/>
          <p:cNvSpPr>
            <a:spLocks noGrp="1"/>
          </p:cNvSpPr>
          <p:nvPr>
            <p:ph type="body" idx="1"/>
          </p:nvPr>
        </p:nvSpPr>
        <p:spPr/>
        <p:txBody>
          <a:bodyPr/>
          <a:lstStyle/>
          <a:p>
            <a:r>
              <a:rPr lang="en-US" sz="800" b="1" kern="1200" dirty="0">
                <a:solidFill>
                  <a:schemeClr val="tx1"/>
                </a:solidFill>
                <a:effectLst/>
                <a:latin typeface="Segoe UI Light" pitchFamily="34" charset="0"/>
                <a:ea typeface="+mn-ea"/>
                <a:cs typeface="+mn-cs"/>
              </a:rPr>
              <a:t>Key Points: </a:t>
            </a:r>
            <a:endParaRPr lang="en-US" sz="800" kern="1200" dirty="0">
              <a:solidFill>
                <a:schemeClr val="tx1"/>
              </a:solidFill>
              <a:effectLst/>
              <a:latin typeface="Segoe UI Light" pitchFamily="34" charset="0"/>
              <a:ea typeface="+mn-ea"/>
              <a:cs typeface="+mn-cs"/>
            </a:endParaRPr>
          </a:p>
          <a:p>
            <a:r>
              <a:rPr lang="en-US" sz="800" kern="1200" dirty="0">
                <a:solidFill>
                  <a:schemeClr val="tx1"/>
                </a:solidFill>
                <a:effectLst/>
                <a:latin typeface="Segoe UI Light" pitchFamily="34" charset="0"/>
                <a:ea typeface="+mn-ea"/>
                <a:cs typeface="+mn-cs"/>
              </a:rPr>
              <a:t>Microsoft offers a consistent platform so that your end customers can choose to run workloads where it makes sense for their business: in their datacenter, in your hosted service provider datacenter, or in Microsoft Azure.</a:t>
            </a:r>
          </a:p>
          <a:p>
            <a:endParaRPr lang="en-US" sz="800" kern="1200" dirty="0">
              <a:solidFill>
                <a:schemeClr val="tx1"/>
              </a:solidFill>
              <a:effectLst/>
              <a:latin typeface="Segoe UI Light" pitchFamily="34" charset="0"/>
              <a:ea typeface="+mn-ea"/>
              <a:cs typeface="+mn-cs"/>
            </a:endParaRPr>
          </a:p>
          <a:p>
            <a:r>
              <a:rPr lang="en-US" sz="800" kern="1200" dirty="0">
                <a:solidFill>
                  <a:schemeClr val="tx1"/>
                </a:solidFill>
                <a:effectLst/>
                <a:latin typeface="Segoe UI Light" pitchFamily="34" charset="0"/>
                <a:ea typeface="+mn-ea"/>
                <a:cs typeface="+mn-cs"/>
              </a:rPr>
              <a:t>With Microsoft, you can help your end customers build the right platform to help tackle the challenges of big data and mobility, while taking advantage of the boundless resources and scale of the cloud.</a:t>
            </a:r>
          </a:p>
          <a:p>
            <a:endParaRPr lang="en-US" dirty="0"/>
          </a:p>
          <a:p>
            <a:r>
              <a:rPr lang="en-US" b="1" dirty="0"/>
              <a:t>Microsoft</a:t>
            </a:r>
            <a:r>
              <a:rPr lang="en-US" b="1" baseline="0" dirty="0"/>
              <a:t> is the only vendor that delivers a consistent </a:t>
            </a:r>
            <a:r>
              <a:rPr lang="en-US" b="1" dirty="0"/>
              <a:t>platform across all three clouds to</a:t>
            </a:r>
            <a:r>
              <a:rPr lang="en-US" b="1" baseline="0" dirty="0"/>
              <a:t> meet the challenges of this new era… </a:t>
            </a:r>
          </a:p>
          <a:p>
            <a:endParaRPr lang="en-US" dirty="0"/>
          </a:p>
          <a:p>
            <a:endParaRPr lang="en-US" dirty="0"/>
          </a:p>
        </p:txBody>
      </p:sp>
      <p:sp>
        <p:nvSpPr>
          <p:cNvPr id="4" name="Slide Number Placeholder 3"/>
          <p:cNvSpPr>
            <a:spLocks noGrp="1"/>
          </p:cNvSpPr>
          <p:nvPr>
            <p:ph type="sldNum" sz="quarter" idx="10"/>
          </p:nvPr>
        </p:nvSpPr>
        <p:spPr>
          <a:xfrm>
            <a:off x="4015062" y="8903552"/>
            <a:ext cx="3071594" cy="470320"/>
          </a:xfrm>
          <a:prstGeom prst="rect">
            <a:avLst/>
          </a:prstGeom>
        </p:spPr>
        <p:txBody>
          <a:bodyPr/>
          <a:lstStyle/>
          <a:p>
            <a:fld id="{F6B00254-1D6D-455B-9366-3E245776AC5A}" type="slidenum">
              <a:rPr lang="en-US" smtClean="0">
                <a:solidFill>
                  <a:prstClr val="black"/>
                </a:solidFill>
                <a:latin typeface="Calibri"/>
              </a:rPr>
              <a:pPr/>
              <a:t>3</a:t>
            </a:fld>
            <a:endParaRPr lang="en-US" dirty="0">
              <a:solidFill>
                <a:prstClr val="black"/>
              </a:solidFill>
              <a:latin typeface="Calibri"/>
            </a:endParaRPr>
          </a:p>
        </p:txBody>
      </p:sp>
    </p:spTree>
    <p:extLst>
      <p:ext uri="{BB962C8B-B14F-4D97-AF65-F5344CB8AC3E}">
        <p14:creationId xmlns:p14="http://schemas.microsoft.com/office/powerpoint/2010/main" val="387862870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Segoe UI Light" pitchFamily="34" charset="0"/>
                <a:ea typeface="+mn-ea"/>
                <a:cs typeface="+mn-cs"/>
              </a:rPr>
              <a:t>Cloud Solution Provider Program provides</a:t>
            </a:r>
            <a:r>
              <a:rPr lang="en-US" sz="1200" kern="1200" baseline="0" dirty="0">
                <a:solidFill>
                  <a:schemeClr val="tx1"/>
                </a:solidFill>
                <a:effectLst/>
                <a:latin typeface="Segoe UI Light" pitchFamily="34" charset="0"/>
                <a:ea typeface="+mn-ea"/>
                <a:cs typeface="+mn-cs"/>
              </a:rPr>
              <a:t> a single engagement point for partners to transact all of Microsoft’s commercial cloud services. The program places the partner at the center of the customer relationship. The partner is on point for reselling the licenses, provisioning, contracting, billing and supporting the customer. </a:t>
            </a:r>
          </a:p>
          <a:p>
            <a:endParaRPr lang="en-US" sz="1200" kern="1200" baseline="0" dirty="0">
              <a:solidFill>
                <a:schemeClr val="tx1"/>
              </a:solidFill>
              <a:effectLst/>
              <a:latin typeface="Segoe UI Light" pitchFamily="34" charset="0"/>
              <a:ea typeface="+mn-ea"/>
              <a:cs typeface="+mn-cs"/>
            </a:endParaRPr>
          </a:p>
          <a:p>
            <a:r>
              <a:rPr lang="en-US" sz="1200" kern="1200" baseline="0" dirty="0">
                <a:solidFill>
                  <a:schemeClr val="tx1"/>
                </a:solidFill>
                <a:effectLst/>
                <a:latin typeface="Segoe UI Light" pitchFamily="34" charset="0"/>
                <a:ea typeface="+mn-ea"/>
                <a:cs typeface="+mn-cs"/>
              </a:rPr>
              <a:t>As a CSP partner, you create cloud subscriptions for your end customers, re-sell them directly or bundle them with your own solutions. Price the bundle and sell it to your customers. Based on the requirements, you provision Microsoft cloud services. Finally, you send a consolidated bill to your customer and act as a first point of contact for customer support. </a:t>
            </a:r>
            <a:endParaRPr lang="en-US" sz="1200" kern="1200" dirty="0">
              <a:solidFill>
                <a:schemeClr val="tx1"/>
              </a:solidFill>
              <a:effectLst/>
              <a:latin typeface="Segoe UI Light" pitchFamily="34" charset="0"/>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8227CFD-E1D5-45DC-9428-4002A97A6BFA}"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66154840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r>
              <a:rPr lang="en-US" dirty="0"/>
              <a:t>Business intelligence, or BI</a:t>
            </a:r>
            <a:r>
              <a:rPr lang="en-US" baseline="0" dirty="0"/>
              <a:t>, has come a long way. </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During the first two “waves” of business intelligence, IT professionals and business analysts were the keepers of BI. They made BI accessible and consumable for end users. </a:t>
            </a:r>
          </a:p>
          <a:p>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While this approach still applies to complex business intelligence needs, today there is a new “wave”.  </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This</a:t>
            </a:r>
            <a:r>
              <a:rPr lang="en-US" baseline="0" dirty="0"/>
              <a:t> t</a:t>
            </a:r>
            <a:r>
              <a:rPr lang="en-US" dirty="0"/>
              <a:t>hird wave</a:t>
            </a:r>
            <a:r>
              <a:rPr lang="en-US" baseline="0" dirty="0"/>
              <a:t> of BI makes BI available to every kind of user.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a:t>Talking points:</a:t>
            </a:r>
          </a:p>
          <a:p>
            <a:r>
              <a:rPr lang="en-US" dirty="0"/>
              <a:t>Today we’re going to discuss</a:t>
            </a:r>
            <a:r>
              <a:rPr lang="en-US" baseline="0" dirty="0"/>
              <a:t> </a:t>
            </a:r>
            <a:r>
              <a:rPr lang="en-US" dirty="0"/>
              <a:t>Power BI,</a:t>
            </a:r>
            <a:r>
              <a:rPr lang="en-US" baseline="0" dirty="0"/>
              <a:t>  which is a third-wave solution. Power BI enables EVERYONE to collect, analyze, visualize and publish data.</a:t>
            </a:r>
          </a:p>
          <a:p>
            <a:r>
              <a:rPr lang="en-US" sz="1200" kern="1200" dirty="0">
                <a:solidFill>
                  <a:schemeClr val="tx1"/>
                </a:solidFill>
                <a:effectLst/>
                <a:latin typeface="+mn-lt"/>
                <a:ea typeface="+mn-ea"/>
                <a:cs typeface="+mn-cs"/>
              </a:rPr>
              <a:t>This third-wave has the potential to expand the reach of analytics to more users than ever before. Existing </a:t>
            </a:r>
            <a:r>
              <a:rPr lang="en-US" sz="1200" kern="1200" baseline="0" dirty="0">
                <a:solidFill>
                  <a:schemeClr val="tx1"/>
                </a:solidFill>
                <a:effectLst/>
                <a:latin typeface="+mn-lt"/>
                <a:ea typeface="+mn-ea"/>
                <a:cs typeface="+mn-cs"/>
              </a:rPr>
              <a:t>analytics platforms and tools can be extended, instead of being replaced, by </a:t>
            </a:r>
            <a:r>
              <a:rPr lang="en-US" sz="1200" kern="1200" dirty="0">
                <a:solidFill>
                  <a:schemeClr val="tx1"/>
                </a:solidFill>
                <a:effectLst/>
                <a:latin typeface="+mn-lt"/>
                <a:ea typeface="+mn-ea"/>
                <a:cs typeface="+mn-cs"/>
              </a:rPr>
              <a:t>full-featured solutions like Power BI. Power BI directly connects to existing on-premises data,</a:t>
            </a:r>
            <a:r>
              <a:rPr lang="en-US" sz="1200" kern="1200" baseline="0" dirty="0">
                <a:solidFill>
                  <a:schemeClr val="tx1"/>
                </a:solidFill>
                <a:effectLst/>
                <a:latin typeface="+mn-lt"/>
                <a:ea typeface="+mn-ea"/>
                <a:cs typeface="+mn-cs"/>
              </a:rPr>
              <a:t> such as </a:t>
            </a:r>
            <a:r>
              <a:rPr lang="en-US" sz="1200" kern="1200" dirty="0">
                <a:solidFill>
                  <a:schemeClr val="tx1"/>
                </a:solidFill>
                <a:effectLst/>
                <a:latin typeface="+mn-lt"/>
                <a:ea typeface="+mn-ea"/>
                <a:cs typeface="+mn-cs"/>
              </a:rPr>
              <a:t>Analysis Services tabular models that</a:t>
            </a:r>
            <a:r>
              <a:rPr lang="en-US" sz="1200" kern="1200" baseline="0" dirty="0">
                <a:solidFill>
                  <a:schemeClr val="tx1"/>
                </a:solidFill>
                <a:effectLst/>
                <a:latin typeface="+mn-lt"/>
                <a:ea typeface="+mn-ea"/>
                <a:cs typeface="+mn-cs"/>
              </a:rPr>
              <a:t> were </a:t>
            </a:r>
            <a:r>
              <a:rPr lang="en-US" sz="1200" kern="1200" dirty="0">
                <a:solidFill>
                  <a:schemeClr val="tx1"/>
                </a:solidFill>
                <a:effectLst/>
                <a:latin typeface="+mn-lt"/>
                <a:ea typeface="+mn-ea"/>
                <a:cs typeface="+mn-cs"/>
              </a:rPr>
              <a:t>created by business analysts in collaboration with IT. Microsoft Excel and the new Power BI Desktop work hand-in-hand with Power BI, publishing reports and models created by business analysts and getting them more easily in the hands of the business users who can gain insight and take action. </a:t>
            </a: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3329DEA-6433-4493-B9C4-3E0AC755FE5D}"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93547854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Let’s walk through an overview of how Power BI works.  </a:t>
            </a:r>
          </a:p>
          <a:p>
            <a:pPr marL="228600" indent="-228600">
              <a:buFont typeface="+mj-lt"/>
              <a:buAutoNum type="arabicPeriod"/>
            </a:pPr>
            <a:endParaRPr lang="en-US" b="1" baseline="0" dirty="0"/>
          </a:p>
          <a:p>
            <a:r>
              <a:rPr lang="en-US" b="1" dirty="0"/>
              <a:t>1. The</a:t>
            </a:r>
            <a:r>
              <a:rPr lang="en-US" b="1" baseline="0" dirty="0"/>
              <a:t> Power BI service, sometimes referred to as </a:t>
            </a:r>
            <a:r>
              <a:rPr lang="en-US" b="1" dirty="0"/>
              <a:t>powerbi.com,</a:t>
            </a:r>
            <a:r>
              <a:rPr lang="en-US" b="1" baseline="0" dirty="0"/>
              <a:t> </a:t>
            </a:r>
            <a:r>
              <a:rPr lang="en-US" dirty="0"/>
              <a:t>is what allows</a:t>
            </a:r>
            <a:r>
              <a:rPr lang="en-US" baseline="0" dirty="0"/>
              <a:t> you to</a:t>
            </a:r>
            <a:r>
              <a:rPr lang="en-US" dirty="0"/>
              <a:t>: </a:t>
            </a:r>
          </a:p>
          <a:p>
            <a:pPr marL="628650" lvl="1" indent="-171450">
              <a:buFont typeface="Arial" panose="020B0604020202020204" pitchFamily="34" charset="0"/>
              <a:buChar char="•"/>
            </a:pPr>
            <a:r>
              <a:rPr lang="en-US" baseline="0" dirty="0"/>
              <a:t>Create beautiful visualizations to tell compelling data stories </a:t>
            </a:r>
          </a:p>
          <a:p>
            <a:pPr marL="628650" lvl="1" indent="-171450">
              <a:buFont typeface="Arial" panose="020B0604020202020204" pitchFamily="34" charset="0"/>
              <a:buChar char="•"/>
            </a:pPr>
            <a:r>
              <a:rPr lang="en-US" baseline="0" dirty="0"/>
              <a:t>Build rich, live dashboards that turn BI into business insights</a:t>
            </a:r>
          </a:p>
          <a:p>
            <a:pPr marL="628650" lvl="1" indent="-171450">
              <a:buFont typeface="Arial" panose="020B0604020202020204" pitchFamily="34" charset="0"/>
              <a:buChar char="•"/>
            </a:pPr>
            <a:r>
              <a:rPr lang="en-US" dirty="0"/>
              <a:t>Create reports</a:t>
            </a:r>
            <a:r>
              <a:rPr lang="en-US" baseline="0" dirty="0"/>
              <a:t> &amp; datasets from which you can create visualizations and dashboards</a:t>
            </a:r>
          </a:p>
          <a:p>
            <a:pPr marL="628650" lvl="1" indent="-171450">
              <a:buFont typeface="Arial" panose="020B0604020202020204" pitchFamily="34" charset="0"/>
              <a:buChar char="•"/>
            </a:pPr>
            <a:r>
              <a:rPr lang="en-US" baseline="0" dirty="0"/>
              <a:t>Enjoy the benefits of up-to-date data with real-time, automatic and scheduled refreshes</a:t>
            </a:r>
          </a:p>
          <a:p>
            <a:pPr marL="628650" lvl="1" indent="-171450">
              <a:buFont typeface="Arial" panose="020B0604020202020204" pitchFamily="34" charset="0"/>
              <a:buChar char="•"/>
            </a:pPr>
            <a:r>
              <a:rPr lang="en-US" baseline="0" dirty="0"/>
              <a:t>Share dashboards easily with other people in your organization</a:t>
            </a:r>
          </a:p>
          <a:p>
            <a:pPr marL="628650" lvl="1" indent="-171450">
              <a:buFont typeface="Arial" panose="020B0604020202020204" pitchFamily="34" charset="0"/>
              <a:buChar char="•"/>
            </a:pPr>
            <a:r>
              <a:rPr lang="en-US" baseline="0" dirty="0"/>
              <a:t>Ask questions of data in plain English with Natural Language Query</a:t>
            </a:r>
          </a:p>
          <a:p>
            <a:pPr marL="628650" lvl="1" indent="-171450">
              <a:buFont typeface="Arial" panose="020B0604020202020204" pitchFamily="34" charset="0"/>
              <a:buChar char="•"/>
            </a:pPr>
            <a:r>
              <a:rPr lang="en-US" baseline="0" dirty="0"/>
              <a:t>Stay connected to your data all the time with mobile applications</a:t>
            </a:r>
          </a:p>
          <a:p>
            <a:pPr marL="457200" lvl="1" indent="0">
              <a:buFont typeface="Arial" panose="020B0604020202020204" pitchFamily="34" charset="0"/>
              <a:buNone/>
            </a:pPr>
            <a:endParaRPr lang="en-US" baseline="0" dirty="0"/>
          </a:p>
          <a:p>
            <a:pPr marL="0" indent="0">
              <a:buFont typeface="+mj-lt"/>
              <a:buNone/>
            </a:pPr>
            <a:r>
              <a:rPr lang="en-US" b="1" baseline="0" dirty="0"/>
              <a:t>2. </a:t>
            </a:r>
            <a:r>
              <a:rPr lang="en-US" b="0" baseline="0" dirty="0"/>
              <a:t>Power BI </a:t>
            </a:r>
            <a:r>
              <a:rPr lang="en-US" b="1" baseline="0" dirty="0"/>
              <a:t>connects to a variety of data sources. </a:t>
            </a:r>
            <a:r>
              <a:rPr lang="en-US" baseline="0" dirty="0"/>
              <a:t>These range across both cloud and on-premises sources, and include:</a:t>
            </a:r>
          </a:p>
          <a:p>
            <a:pPr marL="628650" lvl="1" indent="-171450">
              <a:buFont typeface="Arial" panose="020B0604020202020204" pitchFamily="34" charset="0"/>
              <a:buChar char="•"/>
            </a:pPr>
            <a:r>
              <a:rPr lang="en-US" baseline="0" dirty="0"/>
              <a:t>A variety of </a:t>
            </a:r>
            <a:r>
              <a:rPr lang="en-US" b="1" baseline="0" dirty="0"/>
              <a:t>popular SaaS solutions</a:t>
            </a:r>
            <a:r>
              <a:rPr lang="en-US" baseline="0" dirty="0"/>
              <a:t>, such as </a:t>
            </a:r>
            <a:r>
              <a:rPr lang="en-US" baseline="0" dirty="0" err="1"/>
              <a:t>Marketo</a:t>
            </a:r>
            <a:r>
              <a:rPr lang="en-US" baseline="0" dirty="0"/>
              <a:t>, Salesforce, GitHub, Dynamics CRM, </a:t>
            </a:r>
            <a:r>
              <a:rPr lang="en-US" baseline="0" dirty="0" err="1"/>
              <a:t>Zendesk</a:t>
            </a:r>
            <a:r>
              <a:rPr lang="en-US" baseline="0" dirty="0"/>
              <a:t>, and several others</a:t>
            </a:r>
            <a:endParaRPr lang="en-US" b="0" baseline="0" dirty="0"/>
          </a:p>
          <a:p>
            <a:pPr marL="628650" lvl="1" indent="-171450">
              <a:buFont typeface="Arial" panose="020B0604020202020204" pitchFamily="34" charset="0"/>
              <a:buChar char="•"/>
            </a:pPr>
            <a:r>
              <a:rPr lang="en-US" b="1" baseline="0" dirty="0"/>
              <a:t>On-premises databases </a:t>
            </a:r>
            <a:r>
              <a:rPr lang="en-US" baseline="0" dirty="0"/>
              <a:t>– Power BI offers live connectivity to SQL Server Analysis Services, which we’ll cover in more detail later. And using a gateway solution, Power BI can connect to other database solutions. </a:t>
            </a:r>
          </a:p>
          <a:p>
            <a:pPr marL="628650" lvl="1" indent="-171450">
              <a:buFont typeface="Arial" panose="020B0604020202020204" pitchFamily="34" charset="0"/>
              <a:buChar char="•"/>
            </a:pPr>
            <a:r>
              <a:rPr lang="en-US" b="1" baseline="0" dirty="0"/>
              <a:t>Custom data sources </a:t>
            </a:r>
            <a:r>
              <a:rPr lang="en-US" baseline="0" dirty="0"/>
              <a:t>– </a:t>
            </a:r>
            <a:r>
              <a:rPr lang="en-US" b="0" baseline="0" dirty="0"/>
              <a:t>Power BI can connect to any data source you need it to thanks to its extensibility via REST APIs. This includes both proprietary corporate data sources, as well as external data services. For example, if you are a SaaS solution provider, you can work with Microsoft to connect your solution to Power BI.</a:t>
            </a:r>
            <a:endParaRPr lang="en-US" baseline="0" dirty="0"/>
          </a:p>
          <a:p>
            <a:pPr marL="628650" lvl="1" indent="-171450">
              <a:buFont typeface="Arial" panose="020B0604020202020204" pitchFamily="34" charset="0"/>
              <a:buChar char="•"/>
            </a:pPr>
            <a:r>
              <a:rPr lang="en-US" b="1" baseline="0" dirty="0"/>
              <a:t>Other Azure services</a:t>
            </a:r>
            <a:r>
              <a:rPr lang="en-US" baseline="0" dirty="0"/>
              <a:t> – Power BI integrates tightly with SQL Azure and Stream Analytics, and will be integrating closely with more Azure services over time</a:t>
            </a:r>
          </a:p>
          <a:p>
            <a:pPr marL="628650" lvl="1" indent="-171450">
              <a:buFont typeface="Arial" panose="020B0604020202020204" pitchFamily="34" charset="0"/>
              <a:buChar char="•"/>
            </a:pPr>
            <a:r>
              <a:rPr lang="en-US" b="1" baseline="0" dirty="0"/>
              <a:t>Power BI Desktop and Excel files </a:t>
            </a:r>
            <a:r>
              <a:rPr lang="en-US" baseline="0" dirty="0"/>
              <a:t>– Excel workbooks can be directly connected to Power BI.com, or may be used with Power BI Desktop. Power BI Desktop is a companion application to the Power BI service – it is a desktop tool that supports data analysis and reporting. Like Excel files, Power BI Desktop files may be uploaded to the Power BI service. </a:t>
            </a:r>
          </a:p>
          <a:p>
            <a:pPr marL="0" lvl="0" indent="0">
              <a:buFont typeface="Arial" panose="020B0604020202020204" pitchFamily="34" charset="0"/>
              <a:buNone/>
            </a:pPr>
            <a:endParaRPr lang="en-US" baseline="0" dirty="0"/>
          </a:p>
          <a:p>
            <a:pPr marL="0" lvl="0" indent="0">
              <a:buFont typeface="Arial" panose="020B0604020202020204" pitchFamily="34" charset="0"/>
              <a:buNone/>
            </a:pPr>
            <a:endParaRPr lang="en-US" dirty="0"/>
          </a:p>
          <a:p>
            <a:pPr marL="228600" indent="-228600">
              <a:buFont typeface="+mj-lt"/>
              <a:buAutoNum type="arabicPeriod"/>
            </a:pPr>
            <a:endParaRPr lang="en-US" b="1" baseline="0" dirty="0"/>
          </a:p>
          <a:p>
            <a:pPr marL="0" lvl="0" indent="0">
              <a:buFont typeface="Arial" panose="020B0604020202020204" pitchFamily="34" charset="0"/>
              <a:buNone/>
            </a:pPr>
            <a:r>
              <a:rPr lang="en-US" b="1" baseline="0" dirty="0"/>
              <a:t>3. Power BI Desktop </a:t>
            </a:r>
            <a:r>
              <a:rPr lang="en-US" baseline="0" dirty="0"/>
              <a:t>is a visual data exploration tool that enables you to analyze data and create stunning reports. With Power BI Desktop, you are able to:</a:t>
            </a:r>
          </a:p>
          <a:p>
            <a:pPr marL="628650" lvl="1" indent="-171450">
              <a:buFont typeface="Arial" panose="020B0604020202020204" pitchFamily="34" charset="0"/>
              <a:buChar char="•"/>
            </a:pPr>
            <a:r>
              <a:rPr lang="en-GB" sz="1200" dirty="0">
                <a:solidFill>
                  <a:schemeClr val="tx2"/>
                </a:solidFill>
              </a:rPr>
              <a:t>Acquire and </a:t>
            </a:r>
            <a:r>
              <a:rPr lang="en-GB" sz="1200" i="1" dirty="0">
                <a:solidFill>
                  <a:schemeClr val="tx2"/>
                </a:solidFill>
              </a:rPr>
              <a:t>prepare</a:t>
            </a:r>
            <a:r>
              <a:rPr lang="en-GB" sz="1200" dirty="0">
                <a:solidFill>
                  <a:schemeClr val="tx2"/>
                </a:solidFill>
              </a:rPr>
              <a:t> data using extensive query capabilities</a:t>
            </a:r>
          </a:p>
          <a:p>
            <a:pPr marL="628650" lvl="1" indent="-171450">
              <a:buFont typeface="Arial" panose="020B0604020202020204" pitchFamily="34" charset="0"/>
              <a:buChar char="•"/>
            </a:pPr>
            <a:r>
              <a:rPr lang="en-GB" sz="1200" dirty="0">
                <a:solidFill>
                  <a:schemeClr val="tx2"/>
                </a:solidFill>
              </a:rPr>
              <a:t>Manipulation</a:t>
            </a:r>
            <a:r>
              <a:rPr lang="en-GB" sz="1200" baseline="0" dirty="0">
                <a:solidFill>
                  <a:schemeClr val="tx2"/>
                </a:solidFill>
              </a:rPr>
              <a:t> and consolidation of m</a:t>
            </a:r>
            <a:r>
              <a:rPr lang="en-GB" sz="1200" dirty="0">
                <a:solidFill>
                  <a:schemeClr val="tx2"/>
                </a:solidFill>
              </a:rPr>
              <a:t>ultiple</a:t>
            </a:r>
            <a:r>
              <a:rPr lang="en-GB" sz="1200" baseline="0" dirty="0">
                <a:solidFill>
                  <a:schemeClr val="tx2"/>
                </a:solidFill>
              </a:rPr>
              <a:t> data sources is performed in Power BI Desktop – this enables Power BI service users to use data from multiple sources in a single report</a:t>
            </a:r>
            <a:endParaRPr lang="en-GB" sz="1200" dirty="0">
              <a:solidFill>
                <a:schemeClr val="tx2"/>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Establish data structure, then transform and analyze data</a:t>
            </a:r>
            <a:endParaRPr lang="en-GB" sz="1200" dirty="0">
              <a:solidFill>
                <a:schemeClr val="tx2"/>
              </a:solidFill>
            </a:endParaRPr>
          </a:p>
          <a:p>
            <a:pPr marL="628650" lvl="1" indent="-171450">
              <a:buFont typeface="Arial" panose="020B0604020202020204" pitchFamily="34" charset="0"/>
              <a:buChar char="•"/>
            </a:pPr>
            <a:r>
              <a:rPr lang="en-GB" sz="1200" dirty="0">
                <a:solidFill>
                  <a:schemeClr val="tx2"/>
                </a:solidFill>
              </a:rPr>
              <a:t>Visualize and </a:t>
            </a:r>
            <a:r>
              <a:rPr lang="en-GB" sz="1200" i="1" dirty="0">
                <a:solidFill>
                  <a:schemeClr val="tx2"/>
                </a:solidFill>
              </a:rPr>
              <a:t>explore</a:t>
            </a:r>
            <a:r>
              <a:rPr lang="en-GB" sz="1200" dirty="0">
                <a:solidFill>
                  <a:schemeClr val="tx2"/>
                </a:solidFill>
              </a:rPr>
              <a:t> your data in new ways </a:t>
            </a:r>
            <a:r>
              <a:rPr lang="en-US" sz="1200" dirty="0">
                <a:solidFill>
                  <a:schemeClr val="tx2"/>
                </a:solidFill>
              </a:rPr>
              <a:t>through a freeform drag-and-drop canvas</a:t>
            </a:r>
            <a:endParaRPr lang="en-GB" sz="1200" dirty="0">
              <a:solidFill>
                <a:schemeClr val="tx2"/>
              </a:solidFill>
            </a:endParaRPr>
          </a:p>
          <a:p>
            <a:pPr marL="628650" lvl="1" indent="-171450">
              <a:buFont typeface="Arial" panose="020B0604020202020204" pitchFamily="34" charset="0"/>
              <a:buChar char="•"/>
            </a:pPr>
            <a:r>
              <a:rPr lang="en-US" sz="1200" dirty="0">
                <a:solidFill>
                  <a:schemeClr val="tx2"/>
                </a:solidFill>
              </a:rPr>
              <a:t>Author </a:t>
            </a:r>
            <a:r>
              <a:rPr lang="en-US" sz="1200" i="1" dirty="0">
                <a:solidFill>
                  <a:schemeClr val="tx2"/>
                </a:solidFill>
              </a:rPr>
              <a:t>reports</a:t>
            </a:r>
            <a:r>
              <a:rPr lang="en-US" sz="1200" dirty="0">
                <a:solidFill>
                  <a:schemeClr val="tx2"/>
                </a:solidFill>
              </a:rPr>
              <a:t> with a broad range of modern data visualizations</a:t>
            </a:r>
          </a:p>
          <a:p>
            <a:pPr marL="628650" lvl="1" indent="-171450">
              <a:buFont typeface="Arial" panose="020B0604020202020204" pitchFamily="34" charset="0"/>
              <a:buChar char="•"/>
            </a:pPr>
            <a:r>
              <a:rPr lang="en-US" sz="1200" dirty="0">
                <a:solidFill>
                  <a:schemeClr val="tx2"/>
                </a:solidFill>
              </a:rPr>
              <a:t>Publish beautiful, interactive reports directly to powerbi.com</a:t>
            </a:r>
            <a:endParaRPr lang="en-US" sz="1400" dirty="0">
              <a:solidFill>
                <a:schemeClr val="tx2"/>
              </a:solidFill>
            </a:endParaRPr>
          </a:p>
          <a:p>
            <a:pPr marL="628650" lvl="1" indent="-171450">
              <a:buFont typeface="Arial" panose="020B0604020202020204" pitchFamily="34" charset="0"/>
              <a:buChar char="•"/>
            </a:pPr>
            <a:r>
              <a:rPr lang="en-US" sz="1200" dirty="0">
                <a:solidFill>
                  <a:schemeClr val="tx2"/>
                </a:solidFill>
              </a:rPr>
              <a:t>Securely </a:t>
            </a:r>
            <a:r>
              <a:rPr lang="en-US" sz="1200" i="1" dirty="0">
                <a:solidFill>
                  <a:schemeClr val="tx2"/>
                </a:solidFill>
              </a:rPr>
              <a:t>share</a:t>
            </a:r>
            <a:r>
              <a:rPr lang="en-US" sz="1200" dirty="0">
                <a:solidFill>
                  <a:schemeClr val="tx2"/>
                </a:solidFill>
              </a:rPr>
              <a:t> reports through unique, curated content library approach</a:t>
            </a:r>
            <a:endParaRPr lang="en-US" sz="1400" dirty="0">
              <a:solidFill>
                <a:schemeClr val="tx2"/>
              </a:solidFill>
            </a:endParaRPr>
          </a:p>
          <a:p>
            <a:endParaRPr lang="en-US" dirty="0"/>
          </a:p>
          <a:p>
            <a:pPr marL="0" indent="0">
              <a:buFont typeface="Arial" panose="020B0604020202020204" pitchFamily="34" charset="0"/>
              <a:buNone/>
            </a:pPr>
            <a:endParaRPr lang="en-US" dirty="0"/>
          </a:p>
          <a:p>
            <a:pPr marL="0" indent="0">
              <a:buFont typeface="Arial" panose="020B0604020202020204" pitchFamily="34" charset="0"/>
              <a:buNone/>
            </a:pPr>
            <a:r>
              <a:rPr lang="en-US" b="1" dirty="0"/>
              <a:t>4. Finally, the Power BI REST API library </a:t>
            </a:r>
            <a:r>
              <a:rPr lang="en-US" dirty="0"/>
              <a:t>allows you to customize nearly every aspect of Power BI, including</a:t>
            </a:r>
            <a:r>
              <a:rPr lang="en-US" baseline="0" dirty="0"/>
              <a:t> connecting to </a:t>
            </a:r>
            <a:r>
              <a:rPr lang="en-US" dirty="0"/>
              <a:t>custom data sources</a:t>
            </a:r>
            <a:r>
              <a:rPr lang="en-US" baseline="0" dirty="0"/>
              <a:t>, enabling real-time data streaming from your data source to Power BI, and integrating other applications with Power BI</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98C02C0-98AB-4661-8FF3-2C79CAD8CBF9}" type="slidenum">
              <a:rPr kumimoji="0" lang="en-US" sz="1800" b="0" i="0" u="none" strike="noStrike" kern="0" cap="none" spc="0" normalizeH="0" baseline="0" noProof="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46484878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latin typeface="+mn-lt"/>
                <a:ea typeface="+mn-ea"/>
                <a:cs typeface="+mn-cs"/>
              </a:rPr>
              <a:t>Key message:</a:t>
            </a:r>
          </a:p>
          <a:p>
            <a:r>
              <a:rPr lang="en-US" sz="1200" b="0" kern="1200" dirty="0">
                <a:solidFill>
                  <a:schemeClr val="tx1"/>
                </a:solidFill>
                <a:latin typeface="+mn-lt"/>
                <a:ea typeface="+mn-ea"/>
                <a:cs typeface="+mn-cs"/>
              </a:rPr>
              <a:t>There are several capabilities</a:t>
            </a:r>
            <a:r>
              <a:rPr lang="en-US" sz="1200" b="0" kern="1200" baseline="0" dirty="0">
                <a:solidFill>
                  <a:schemeClr val="tx1"/>
                </a:solidFill>
                <a:latin typeface="+mn-lt"/>
                <a:ea typeface="+mn-ea"/>
                <a:cs typeface="+mn-cs"/>
              </a:rPr>
              <a:t> that differentiate Power BI from other offerings in the market.</a:t>
            </a:r>
          </a:p>
          <a:p>
            <a:endParaRPr lang="en-US" sz="1200" b="0" kern="1200" baseline="0" dirty="0">
              <a:solidFill>
                <a:schemeClr val="tx1"/>
              </a:solidFill>
              <a:latin typeface="+mn-lt"/>
              <a:ea typeface="+mn-ea"/>
              <a:cs typeface="+mn-cs"/>
            </a:endParaRPr>
          </a:p>
          <a:p>
            <a:r>
              <a:rPr lang="en-US" sz="1200" b="1" kern="1200" baseline="0" dirty="0">
                <a:solidFill>
                  <a:schemeClr val="tx1"/>
                </a:solidFill>
                <a:latin typeface="+mn-lt"/>
                <a:ea typeface="+mn-ea"/>
                <a:cs typeface="+mn-cs"/>
              </a:rPr>
              <a:t>Talking points:</a:t>
            </a:r>
            <a:endParaRPr lang="en-US" sz="1200" b="1" kern="1200" dirty="0">
              <a:solidFill>
                <a:schemeClr val="tx1"/>
              </a:solidFill>
              <a:latin typeface="+mn-lt"/>
              <a:ea typeface="+mn-ea"/>
              <a:cs typeface="+mn-cs"/>
            </a:endParaRPr>
          </a:p>
          <a:p>
            <a:pPr marL="0" marR="0" indent="0" algn="l" defTabSz="914367" rtl="0" eaLnBrk="1" fontAlgn="auto" latinLnBrk="0" hangingPunct="1">
              <a:lnSpc>
                <a:spcPct val="100000"/>
              </a:lnSpc>
              <a:spcBef>
                <a:spcPts val="0"/>
              </a:spcBef>
              <a:spcAft>
                <a:spcPts val="0"/>
              </a:spcAft>
              <a:buClrTx/>
              <a:buSzTx/>
              <a:buFontTx/>
              <a:buNone/>
              <a:tabLst/>
              <a:defRPr/>
            </a:pPr>
            <a:r>
              <a:rPr lang="en-US" sz="1200" kern="1200" dirty="0">
                <a:gradFill>
                  <a:gsLst>
                    <a:gs pos="1250">
                      <a:srgbClr val="000000"/>
                    </a:gs>
                    <a:gs pos="99000">
                      <a:srgbClr val="000000"/>
                    </a:gs>
                  </a:gsLst>
                  <a:lin ang="5400000" scaled="0"/>
                </a:gradFill>
                <a:latin typeface="+mn-lt"/>
                <a:ea typeface="+mn-ea"/>
                <a:cs typeface="+mn-cs"/>
              </a:rPr>
              <a:t>Power BI is a cloud-based analytics service that provides faster time to insight. It is used for visualizing, exploring and extracting insights from data. It brings together data from diverse sources to deliver rich, comprehensive views of business operations. </a:t>
            </a:r>
            <a:endParaRPr lang="en-US" sz="3200" dirty="0">
              <a:gradFill>
                <a:gsLst>
                  <a:gs pos="1250">
                    <a:srgbClr val="000000"/>
                  </a:gs>
                  <a:gs pos="99000">
                    <a:srgbClr val="000000"/>
                  </a:gs>
                </a:gsLst>
                <a:lin ang="5400000" scaled="0"/>
              </a:gradFill>
            </a:endParaRPr>
          </a:p>
          <a:p>
            <a:pPr defTabSz="914367"/>
            <a:r>
              <a:rPr lang="en-US" sz="1200" kern="1200" dirty="0">
                <a:gradFill>
                  <a:gsLst>
                    <a:gs pos="1250">
                      <a:srgbClr val="000000"/>
                    </a:gs>
                    <a:gs pos="99000">
                      <a:srgbClr val="000000"/>
                    </a:gs>
                  </a:gsLst>
                  <a:lin ang="5400000" scaled="0"/>
                </a:gradFill>
                <a:latin typeface="+mn-lt"/>
                <a:ea typeface="+mn-ea"/>
                <a:cs typeface="+mn-cs"/>
              </a:rPr>
              <a:t>What that means is, with Power BI, you can see all of your data through a single pane of glass, and create an analytics environment in minutes to monitor data and share reports. Live dashboards and reports show visualizations and KPIs from data that reside both on-premises and in the cloud, providing a consolidated view across your business regardless of where your data lives. </a:t>
            </a:r>
            <a:endParaRPr lang="en-US" sz="3200" kern="1200" baseline="0" dirty="0">
              <a:solidFill>
                <a:schemeClr val="tx1"/>
              </a:solidFill>
              <a:latin typeface="Segoe UI Light" pitchFamily="34" charset="0"/>
              <a:ea typeface="+mn-ea"/>
              <a:cs typeface="+mn-cs"/>
            </a:endParaRPr>
          </a:p>
          <a:p>
            <a:endParaRPr lang="en-US" sz="3200" kern="1200" baseline="0" dirty="0">
              <a:solidFill>
                <a:schemeClr val="tx1"/>
              </a:solidFill>
              <a:latin typeface="Segoe UI Light" pitchFamily="34" charset="0"/>
              <a:ea typeface="+mn-ea"/>
              <a:cs typeface="+mn-cs"/>
            </a:endParaRPr>
          </a:p>
          <a:p>
            <a:r>
              <a:rPr lang="en-US" sz="1200" b="1" kern="1200" dirty="0">
                <a:solidFill>
                  <a:schemeClr val="tx1"/>
                </a:solidFill>
                <a:latin typeface="+mn-lt"/>
                <a:ea typeface="+mn-ea"/>
                <a:cs typeface="+mn-cs"/>
              </a:rPr>
              <a:t>There are several capabilities</a:t>
            </a:r>
            <a:r>
              <a:rPr lang="en-US" sz="1200" b="1" kern="1200" baseline="0" dirty="0">
                <a:solidFill>
                  <a:schemeClr val="tx1"/>
                </a:solidFill>
                <a:latin typeface="+mn-lt"/>
                <a:ea typeface="+mn-ea"/>
                <a:cs typeface="+mn-cs"/>
              </a:rPr>
              <a:t> that are unique to Power BI – these include: </a:t>
            </a:r>
            <a:endParaRPr lang="en-US" sz="3200" b="1" kern="1200" dirty="0">
              <a:solidFill>
                <a:schemeClr val="tx1"/>
              </a:solidFill>
              <a:latin typeface="Segoe UI Light" pitchFamily="34" charset="0"/>
              <a:ea typeface="+mn-ea"/>
              <a:cs typeface="+mn-cs"/>
            </a:endParaRPr>
          </a:p>
          <a:p>
            <a:pPr marL="457200" indent="-457200">
              <a:buFont typeface="Arial" panose="020B0604020202020204" pitchFamily="34" charset="0"/>
              <a:buChar char="•"/>
            </a:pPr>
            <a:r>
              <a:rPr lang="en-US" sz="1200" kern="1200" dirty="0">
                <a:solidFill>
                  <a:schemeClr val="tx1"/>
                </a:solidFill>
                <a:latin typeface="+mn-lt"/>
                <a:ea typeface="+mn-ea"/>
                <a:cs typeface="+mn-cs"/>
              </a:rPr>
              <a:t>Pre-built dashboards and reports for popular SaaS solutions such as </a:t>
            </a:r>
            <a:r>
              <a:rPr lang="en-US" sz="1200" kern="1200" dirty="0" err="1">
                <a:solidFill>
                  <a:schemeClr val="tx1"/>
                </a:solidFill>
                <a:latin typeface="+mn-lt"/>
                <a:ea typeface="+mn-ea"/>
                <a:cs typeface="+mn-cs"/>
              </a:rPr>
              <a:t>Marketo</a:t>
            </a:r>
            <a:r>
              <a:rPr lang="en-US" sz="1200" kern="1200" dirty="0">
                <a:solidFill>
                  <a:schemeClr val="tx1"/>
                </a:solidFill>
                <a:latin typeface="+mn-lt"/>
                <a:ea typeface="+mn-ea"/>
                <a:cs typeface="+mn-cs"/>
              </a:rPr>
              <a:t>, Salesforce, GitHub, </a:t>
            </a:r>
            <a:r>
              <a:rPr lang="en-US" sz="1200" kern="1200" dirty="0" err="1">
                <a:solidFill>
                  <a:schemeClr val="tx1"/>
                </a:solidFill>
                <a:latin typeface="+mn-lt"/>
                <a:ea typeface="+mn-ea"/>
                <a:cs typeface="+mn-cs"/>
              </a:rPr>
              <a:t>ZenDesk</a:t>
            </a:r>
            <a:r>
              <a:rPr lang="en-US" sz="1200" kern="1200" dirty="0">
                <a:solidFill>
                  <a:schemeClr val="tx1"/>
                </a:solidFill>
                <a:latin typeface="+mn-lt"/>
                <a:ea typeface="+mn-ea"/>
                <a:cs typeface="+mn-cs"/>
              </a:rPr>
              <a:t>, Dynamics CRM, and many others</a:t>
            </a:r>
            <a:endParaRPr lang="en-US" sz="3200" kern="1200" dirty="0">
              <a:solidFill>
                <a:schemeClr val="tx1"/>
              </a:solidFill>
              <a:latin typeface="Segoe UI Light" pitchFamily="34" charset="0"/>
              <a:ea typeface="+mn-ea"/>
              <a:cs typeface="+mn-cs"/>
            </a:endParaRPr>
          </a:p>
          <a:p>
            <a:pPr marL="457200" indent="-457200">
              <a:buFont typeface="Arial" panose="020B0604020202020204" pitchFamily="34" charset="0"/>
              <a:buChar char="•"/>
            </a:pPr>
            <a:r>
              <a:rPr lang="en-US" sz="1200" kern="1200" dirty="0">
                <a:solidFill>
                  <a:schemeClr val="tx1"/>
                </a:solidFill>
                <a:latin typeface="+mn-lt"/>
                <a:ea typeface="+mn-ea"/>
                <a:cs typeface="+mn-cs"/>
              </a:rPr>
              <a:t>Dashboard</a:t>
            </a:r>
            <a:r>
              <a:rPr lang="en-US" sz="1200" kern="1200" baseline="0" dirty="0">
                <a:solidFill>
                  <a:schemeClr val="tx1"/>
                </a:solidFill>
                <a:latin typeface="+mn-lt"/>
                <a:ea typeface="+mn-ea"/>
                <a:cs typeface="+mn-cs"/>
              </a:rPr>
              <a:t>s and visualizations that </a:t>
            </a:r>
            <a:r>
              <a:rPr lang="en-US" sz="1200" kern="1200" dirty="0">
                <a:solidFill>
                  <a:schemeClr val="tx1"/>
                </a:solidFill>
                <a:latin typeface="+mn-lt"/>
                <a:ea typeface="+mn-ea"/>
                <a:cs typeface="+mn-cs"/>
              </a:rPr>
              <a:t>support real-time</a:t>
            </a:r>
            <a:r>
              <a:rPr lang="en-US" sz="1200" kern="1200" baseline="0" dirty="0">
                <a:solidFill>
                  <a:schemeClr val="tx1"/>
                </a:solidFill>
                <a:latin typeface="+mn-lt"/>
                <a:ea typeface="+mn-ea"/>
                <a:cs typeface="+mn-cs"/>
              </a:rPr>
              <a:t> updates</a:t>
            </a:r>
            <a:endParaRPr lang="en-US" sz="3200" kern="1200" dirty="0">
              <a:solidFill>
                <a:schemeClr val="tx1"/>
              </a:solidFill>
              <a:latin typeface="Segoe UI Light" pitchFamily="34" charset="0"/>
              <a:ea typeface="+mn-ea"/>
              <a:cs typeface="+mn-cs"/>
            </a:endParaRPr>
          </a:p>
          <a:p>
            <a:pPr marL="457200" marR="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latin typeface="+mn-lt"/>
                <a:ea typeface="+mn-ea"/>
                <a:cs typeface="+mn-cs"/>
              </a:rPr>
              <a:t>Secure, live connection to on-premises data sources to drive insight across the</a:t>
            </a:r>
            <a:r>
              <a:rPr lang="en-US" sz="1200" kern="1200" baseline="0" dirty="0">
                <a:solidFill>
                  <a:schemeClr val="tx1"/>
                </a:solidFill>
                <a:latin typeface="+mn-lt"/>
                <a:ea typeface="+mn-ea"/>
                <a:cs typeface="+mn-cs"/>
              </a:rPr>
              <a:t> entire range of organizational information (Analysis Services, Azure S</a:t>
            </a:r>
            <a:r>
              <a:rPr lang="en-US" sz="3200" kern="1200" dirty="0">
                <a:ln w="3175">
                  <a:noFill/>
                </a:ln>
                <a:gradFill>
                  <a:gsLst>
                    <a:gs pos="1250">
                      <a:schemeClr val="tx2"/>
                    </a:gs>
                    <a:gs pos="99000">
                      <a:schemeClr val="tx2"/>
                    </a:gs>
                  </a:gsLst>
                  <a:lin ang="5400000" scaled="0"/>
                </a:gradFill>
                <a:latin typeface="+mn-lt"/>
                <a:ea typeface="+mn-ea"/>
                <a:cs typeface="+mn-cs"/>
              </a:rPr>
              <a:t>QL Database, SQL Database Auditing,</a:t>
            </a:r>
            <a:r>
              <a:rPr lang="en-US" sz="3200" kern="1200" baseline="0" dirty="0">
                <a:ln w="3175">
                  <a:noFill/>
                </a:ln>
                <a:gradFill>
                  <a:gsLst>
                    <a:gs pos="1250">
                      <a:schemeClr val="tx2"/>
                    </a:gs>
                    <a:gs pos="99000">
                      <a:schemeClr val="tx2"/>
                    </a:gs>
                  </a:gsLst>
                  <a:lin ang="5400000" scaled="0"/>
                </a:gradFill>
                <a:latin typeface="+mn-lt"/>
                <a:ea typeface="+mn-ea"/>
                <a:cs typeface="+mn-cs"/>
              </a:rPr>
              <a:t> Azure SQL Data Warehouse)</a:t>
            </a:r>
          </a:p>
          <a:p>
            <a:pPr marL="457200" marR="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3200" kern="1200" dirty="0">
                <a:ln w="3175">
                  <a:noFill/>
                </a:ln>
                <a:gradFill>
                  <a:gsLst>
                    <a:gs pos="1250">
                      <a:schemeClr val="tx2"/>
                    </a:gs>
                    <a:gs pos="99000">
                      <a:schemeClr val="tx2"/>
                    </a:gs>
                  </a:gsLst>
                  <a:lin ang="5400000" scaled="0"/>
                </a:gradFill>
                <a:latin typeface="+mn-lt"/>
                <a:ea typeface="+mn-ea"/>
                <a:cs typeface="+mn-cs"/>
              </a:rPr>
              <a:t>Automated scheduled refresh to keep your Power BI data in sync with on premises data sources</a:t>
            </a:r>
          </a:p>
          <a:p>
            <a:pPr marL="457200" indent="-457200">
              <a:buFont typeface="Arial" panose="020B0604020202020204" pitchFamily="34" charset="0"/>
              <a:buChar char="•"/>
            </a:pPr>
            <a:endParaRPr lang="en-US" sz="3200" kern="1200" baseline="0" dirty="0">
              <a:solidFill>
                <a:schemeClr val="tx1"/>
              </a:solidFill>
              <a:latin typeface="Segoe UI Light" pitchFamily="34" charset="0"/>
              <a:ea typeface="+mn-ea"/>
              <a:cs typeface="+mn-cs"/>
            </a:endParaRPr>
          </a:p>
          <a:p>
            <a:pPr marL="457200" indent="-457200">
              <a:buFont typeface="Arial" panose="020B0604020202020204" pitchFamily="34" charset="0"/>
              <a:buChar char="•"/>
            </a:pPr>
            <a:r>
              <a:rPr lang="en-US" sz="1200" kern="1200" dirty="0">
                <a:solidFill>
                  <a:schemeClr val="tx1"/>
                </a:solidFill>
                <a:latin typeface="+mn-lt"/>
                <a:ea typeface="+mn-ea"/>
                <a:cs typeface="+mn-cs"/>
              </a:rPr>
              <a:t>Native mobile applications for keeping users</a:t>
            </a:r>
            <a:r>
              <a:rPr lang="en-US" sz="1200" kern="1200" baseline="0" dirty="0">
                <a:solidFill>
                  <a:schemeClr val="tx1"/>
                </a:solidFill>
                <a:latin typeface="+mn-lt"/>
                <a:ea typeface="+mn-ea"/>
                <a:cs typeface="+mn-cs"/>
              </a:rPr>
              <a:t> connected on the go</a:t>
            </a:r>
            <a:endParaRPr lang="en-US" sz="3200" kern="1200" dirty="0">
              <a:solidFill>
                <a:schemeClr val="tx1"/>
              </a:solidFill>
              <a:latin typeface="Segoe UI Light" pitchFamily="34" charset="0"/>
              <a:ea typeface="+mn-ea"/>
              <a:cs typeface="+mn-cs"/>
            </a:endParaRPr>
          </a:p>
          <a:p>
            <a:pPr marL="457200" indent="-457200">
              <a:buFont typeface="Arial" panose="020B0604020202020204" pitchFamily="34" charset="0"/>
              <a:buChar char="•"/>
            </a:pPr>
            <a:r>
              <a:rPr lang="en-US" sz="1200" kern="1200" dirty="0">
                <a:solidFill>
                  <a:schemeClr val="tx1"/>
                </a:solidFill>
                <a:latin typeface="+mn-lt"/>
                <a:ea typeface="+mn-ea"/>
                <a:cs typeface="+mn-cs"/>
              </a:rPr>
              <a:t>Easy integration with other Microsoft offerings,</a:t>
            </a:r>
            <a:r>
              <a:rPr lang="en-US" sz="1200" kern="1200" baseline="0" dirty="0">
                <a:solidFill>
                  <a:schemeClr val="tx1"/>
                </a:solidFill>
                <a:latin typeface="+mn-lt"/>
                <a:ea typeface="+mn-ea"/>
                <a:cs typeface="+mn-cs"/>
              </a:rPr>
              <a:t> </a:t>
            </a:r>
            <a:r>
              <a:rPr lang="en-US" sz="1200" kern="1200" dirty="0">
                <a:solidFill>
                  <a:schemeClr val="tx1"/>
                </a:solidFill>
                <a:latin typeface="+mn-lt"/>
                <a:ea typeface="+mn-ea"/>
                <a:cs typeface="+mn-cs"/>
              </a:rPr>
              <a:t>from Excel to Azure services</a:t>
            </a:r>
            <a:endParaRPr lang="en-US" sz="3200" kern="1200" dirty="0">
              <a:solidFill>
                <a:schemeClr val="tx1"/>
              </a:solidFill>
              <a:latin typeface="Segoe UI Light" pitchFamily="34" charset="0"/>
              <a:ea typeface="+mn-ea"/>
              <a:cs typeface="+mn-cs"/>
            </a:endParaRPr>
          </a:p>
          <a:p>
            <a:pPr marL="457200" indent="-457200">
              <a:buFont typeface="Arial" panose="020B0604020202020204" pitchFamily="34" charset="0"/>
              <a:buChar char="•"/>
            </a:pPr>
            <a:r>
              <a:rPr lang="en-US" sz="1200" kern="1200" dirty="0">
                <a:solidFill>
                  <a:schemeClr val="tx1"/>
                </a:solidFill>
                <a:latin typeface="+mn-lt"/>
                <a:ea typeface="+mn-ea"/>
                <a:cs typeface="+mn-cs"/>
              </a:rPr>
              <a:t>Intuitive data exploration,</a:t>
            </a:r>
            <a:r>
              <a:rPr lang="en-US" sz="1200" kern="1200" baseline="0" dirty="0">
                <a:solidFill>
                  <a:schemeClr val="tx1"/>
                </a:solidFill>
                <a:latin typeface="+mn-lt"/>
                <a:ea typeface="+mn-ea"/>
                <a:cs typeface="+mn-cs"/>
              </a:rPr>
              <a:t> which enables users to ask questions of their data in </a:t>
            </a:r>
            <a:r>
              <a:rPr lang="en-US" sz="1200" kern="1200" dirty="0">
                <a:solidFill>
                  <a:schemeClr val="tx1"/>
                </a:solidFill>
                <a:latin typeface="+mn-lt"/>
                <a:ea typeface="+mn-ea"/>
                <a:cs typeface="+mn-cs"/>
              </a:rPr>
              <a:t>plain English</a:t>
            </a:r>
            <a:endParaRPr lang="en-US" sz="3200" kern="1200" dirty="0">
              <a:solidFill>
                <a:schemeClr val="tx1"/>
              </a:solidFill>
              <a:latin typeface="Segoe UI Light" pitchFamily="34" charset="0"/>
              <a:ea typeface="+mn-ea"/>
              <a:cs typeface="+mn-cs"/>
            </a:endParaRPr>
          </a:p>
          <a:p>
            <a:endParaRPr lang="en-US" sz="3200" dirty="0"/>
          </a:p>
          <a:p>
            <a:pPr defTabSz="914367"/>
            <a:r>
              <a:rPr lang="en-US" sz="1200" kern="1200" dirty="0">
                <a:solidFill>
                  <a:srgbClr val="FFFFFF"/>
                </a:solidFill>
                <a:latin typeface="+mn-lt"/>
                <a:ea typeface="+mn-ea"/>
                <a:cs typeface="+mn-cs"/>
              </a:rPr>
              <a:t>To summarize, Power BI is a SaaS offering that enables anyone to easily connect to their data, create live operational dashboards and explore data via interactive visualizations</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3329DEA-6433-4493-B9C4-3E0AC755FE5D}"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423006869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3329DEA-6433-4493-B9C4-3E0AC755FE5D}"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47747392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Power BI dashboards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With updates to Power BI customers can now see all their data through a single pane of glass. Live Power BI dashboards show visualizations and KPIs from data that reside both on-premises and in the cloud, providing a consolidated view across their business regardless of where their data lives.  </a:t>
            </a:r>
          </a:p>
          <a:p>
            <a:pPr marL="0" marR="0">
              <a:lnSpc>
                <a:spcPct val="107000"/>
              </a:lnSpc>
              <a:spcBef>
                <a:spcPts val="0"/>
              </a:spcBef>
              <a:spcAft>
                <a:spcPts val="80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Simplifying how you interact with data, natural language query is built into the dashboard allowing users to type questions and receive answers from data in the form of interactive visualizations. </a:t>
            </a:r>
          </a:p>
          <a:p>
            <a:pPr marL="0" marR="0">
              <a:lnSpc>
                <a:spcPct val="107000"/>
              </a:lnSpc>
              <a:spcBef>
                <a:spcPts val="0"/>
              </a:spcBef>
              <a:spcAft>
                <a:spcPts val="80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You can then explore their data further by drilling through the dashboard into the underlying reports, discovering new insights that they can pin back to the dashboard to monitor performance going forward. </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Server &amp; Tools Business</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171B3BB-DFF4-43DF-B887-7B1543BC1A74}"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6</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31994627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Stay connected from any device</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Power</a:t>
            </a:r>
            <a:r>
              <a:rPr lang="en-US" sz="1200" kern="1200" baseline="0" dirty="0">
                <a:solidFill>
                  <a:schemeClr val="tx1"/>
                </a:solidFill>
                <a:effectLst/>
                <a:latin typeface="+mn-lt"/>
                <a:ea typeface="+mn-ea"/>
                <a:cs typeface="+mn-cs"/>
              </a:rPr>
              <a:t> BI mobile apps are available for iPhone, iPad, Android Phone, and Windows 8.1. </a:t>
            </a:r>
            <a:endParaRPr lang="en-US" sz="120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22783"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22783"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66FE32E-4D27-4B29-B8FB-FE12313DAC5D}"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6</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98638226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kern="1200" baseline="0" dirty="0">
                <a:solidFill>
                  <a:schemeClr val="tx1"/>
                </a:solidFill>
                <a:effectLst/>
                <a:latin typeface="Segoe UI Light" pitchFamily="34" charset="0"/>
                <a:ea typeface="+mn-ea"/>
                <a:cs typeface="+mn-cs"/>
              </a:rPr>
              <a:t>Power BI is a cloud-based business analytics service that enables anyone to visualize and analyze data with greater speed, efficiency, and understanding. It connects users to a broad range of live data through easy-to-use dashboards, provides interactive reports, and delivers compelling visualizations that bring data to life.</a:t>
            </a:r>
          </a:p>
          <a:p>
            <a:pPr rtl="0" fontAlgn="ctr"/>
            <a:endParaRPr lang="en-US" sz="900" kern="1200" dirty="0">
              <a:solidFill>
                <a:schemeClr val="tx1"/>
              </a:solidFill>
              <a:effectLst/>
              <a:latin typeface="Segoe UI Light" pitchFamily="34" charset="0"/>
              <a:ea typeface="+mn-ea"/>
              <a:cs typeface="+mn-cs"/>
            </a:endParaRPr>
          </a:p>
          <a:p>
            <a:pPr rtl="0" fontAlgn="ctr"/>
            <a:r>
              <a:rPr lang="en-US" sz="900" kern="1200" dirty="0">
                <a:solidFill>
                  <a:schemeClr val="tx1"/>
                </a:solidFill>
                <a:effectLst/>
                <a:latin typeface="Segoe UI Light" pitchFamily="34" charset="0"/>
                <a:ea typeface="+mn-ea"/>
                <a:cs typeface="+mn-cs"/>
              </a:rPr>
              <a:t>Through of the course of the preview over 45,000 companies, 500,000 users, cross 185 countries have used Power BI. That is a decade's worth of growth in last generation business intelligence where I have to go get software, install software, get servers, get analysts involved, get all sorts of people involved before anyone got any value, that's a long road from "I want to do it" to "I've done it". With Power BI, this is an enormous user population of people that are now connected with data in a way that was either previously very difficult or for many impossible. </a:t>
            </a:r>
          </a:p>
          <a:p>
            <a:pPr rtl="0" fontAlgn="ctr"/>
            <a:endParaRPr lang="en-US" sz="900" kern="1200" dirty="0">
              <a:solidFill>
                <a:schemeClr val="tx1"/>
              </a:solidFill>
              <a:effectLst/>
              <a:latin typeface="Segoe UI Light" pitchFamily="34" charset="0"/>
              <a:ea typeface="+mn-ea"/>
              <a:cs typeface="+mn-cs"/>
            </a:endParaRPr>
          </a:p>
          <a:p>
            <a:pPr rtl="0" fontAlgn="ctr"/>
            <a:r>
              <a:rPr lang="en-US" sz="900" kern="1200" dirty="0">
                <a:solidFill>
                  <a:schemeClr val="tx1"/>
                </a:solidFill>
                <a:effectLst/>
                <a:latin typeface="Segoe UI Light" pitchFamily="34" charset="0"/>
                <a:ea typeface="+mn-ea"/>
                <a:cs typeface="+mn-cs"/>
              </a:rPr>
              <a:t>Power BI in many ways is a connector between people and the power of the Microsoft Data Platform including data that lives in our cloud, other peoples clouds, or your </a:t>
            </a:r>
            <a:r>
              <a:rPr lang="en-US" sz="900" kern="1200" dirty="0" err="1">
                <a:solidFill>
                  <a:schemeClr val="tx1"/>
                </a:solidFill>
                <a:effectLst/>
                <a:latin typeface="Segoe UI Light" pitchFamily="34" charset="0"/>
                <a:ea typeface="+mn-ea"/>
                <a:cs typeface="+mn-cs"/>
              </a:rPr>
              <a:t>on-premise</a:t>
            </a:r>
            <a:r>
              <a:rPr lang="en-US" sz="900" kern="1200" dirty="0">
                <a:solidFill>
                  <a:schemeClr val="tx1"/>
                </a:solidFill>
                <a:effectLst/>
                <a:latin typeface="Segoe UI Light" pitchFamily="34" charset="0"/>
                <a:ea typeface="+mn-ea"/>
                <a:cs typeface="+mn-cs"/>
              </a:rPr>
              <a:t> systems and also processed by this wide variety of intelligence analytical capabilities that we have - statistical analysis, machine learning, building custom application - all of this technology and the value of converting data into intelligence flows through Power BI. </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Worldwide Partner Conference 2015</a:t>
            </a: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6 11:04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53055136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Connect live to on-premises Analysis Services models </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Realize the benefits of a cloud based BI solution without having to move your data. With the new Power BI connector for Analysis Services you can create a secure connection to SQL Server Analysis Services from Power BI. When users view and explore dashboards and reports the system will interactively query the on-premises cube to fetch the data using the user’s credentials. With this hybrid solution, you can continue to manage and secure your data on-premises, removing the need to have data reside in the cloud. </a:t>
            </a: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FAQ:</a:t>
            </a: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How does security work with the new SQL Server Analysis Service connector?</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Power BI customers can now benefit from the role level security in SQL Server Analysis Services.</a:t>
            </a:r>
            <a:r>
              <a:rPr lang="en-US" sz="1200" b="1"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The Power BI user name is passed through to on-premises Analysis Services and appropriate</a:t>
            </a:r>
            <a:r>
              <a:rPr lang="en-US" sz="1200" kern="1200" baseline="0" dirty="0">
                <a:solidFill>
                  <a:schemeClr val="tx1"/>
                </a:solidFill>
                <a:effectLst/>
                <a:latin typeface="+mn-lt"/>
                <a:ea typeface="+mn-ea"/>
                <a:cs typeface="+mn-cs"/>
              </a:rPr>
              <a:t> role-based security</a:t>
            </a:r>
            <a:r>
              <a:rPr lang="en-US" sz="1200" kern="1200" dirty="0">
                <a:solidFill>
                  <a:schemeClr val="tx1"/>
                </a:solidFill>
                <a:effectLst/>
                <a:latin typeface="+mn-lt"/>
                <a:ea typeface="+mn-ea"/>
                <a:cs typeface="+mn-cs"/>
              </a:rPr>
              <a:t>. Analysis Services resolves the user name to an authorized user via Azure Active Directory (more</a:t>
            </a:r>
            <a:r>
              <a:rPr lang="en-US" sz="1200" kern="1200" baseline="0" dirty="0">
                <a:solidFill>
                  <a:schemeClr val="tx1"/>
                </a:solidFill>
                <a:effectLst/>
                <a:latin typeface="+mn-lt"/>
                <a:ea typeface="+mn-ea"/>
                <a:cs typeface="+mn-cs"/>
              </a:rPr>
              <a:t> info:: </a:t>
            </a:r>
            <a:r>
              <a:rPr lang="en-US" sz="900" u="sng" kern="1200" dirty="0">
                <a:solidFill>
                  <a:schemeClr val="tx1"/>
                </a:solidFill>
                <a:effectLst/>
                <a:latin typeface="Segoe UI Light" pitchFamily="34" charset="0"/>
                <a:ea typeface="+mn-ea"/>
                <a:cs typeface="+mn-cs"/>
                <a:hlinkClick r:id="rId3"/>
              </a:rPr>
              <a:t>http://support.powerbi.com/knowledgebase/articles/505323-why-you-need-dirsync-to-connect-to-on-premises-ana</a:t>
            </a:r>
            <a:r>
              <a:rPr lang="en-US" sz="1200" kern="1200" dirty="0">
                <a:solidFill>
                  <a:schemeClr val="tx1"/>
                </a:solidFill>
                <a:effectLst/>
                <a:latin typeface="+mn-lt"/>
                <a:ea typeface="+mn-ea"/>
                <a:cs typeface="+mn-cs"/>
              </a:rPr>
              <a:t>) and then applies appropriate role-based security to restricted access. </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How does data transfer work between Power BI and SQL Server Analysis Services?</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Data is transferred between on-premises Analysis Services and Power BI through the</a:t>
            </a:r>
            <a:r>
              <a:rPr lang="en-US" sz="1200" b="1" kern="1200" dirty="0">
                <a:solidFill>
                  <a:schemeClr val="tx1"/>
                </a:solidFill>
                <a:effectLst/>
                <a:latin typeface="+mn-lt"/>
                <a:ea typeface="+mn-ea"/>
                <a:cs typeface="+mn-cs"/>
              </a:rPr>
              <a:t> </a:t>
            </a:r>
            <a:r>
              <a:rPr lang="en-US" sz="1200" b="1" i="1" u="sng" kern="1200" dirty="0">
                <a:solidFill>
                  <a:schemeClr val="tx1"/>
                </a:solidFill>
                <a:effectLst/>
                <a:latin typeface="+mn-lt"/>
                <a:ea typeface="+mn-ea"/>
                <a:cs typeface="+mn-cs"/>
                <a:hlinkClick r:id="rId4"/>
              </a:rPr>
              <a:t>Service</a:t>
            </a:r>
            <a:r>
              <a:rPr lang="en-US" sz="1200" b="1" i="1"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Bus (which uses a secure SSL channel).</a:t>
            </a: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Does the Power BI connector for Analysis Services add security risk by opening a port on the firewall?</a:t>
            </a:r>
            <a:endParaRPr lang="en-US" sz="1200" kern="1200" dirty="0">
              <a:solidFill>
                <a:schemeClr val="tx1"/>
              </a:solidFill>
              <a:effectLst/>
              <a:latin typeface="+mn-lt"/>
              <a:ea typeface="+mn-ea"/>
              <a:cs typeface="+mn-cs"/>
            </a:endParaRPr>
          </a:p>
          <a:p>
            <a:r>
              <a:rPr lang="en-US" sz="1200" u="none" kern="1200" dirty="0">
                <a:solidFill>
                  <a:schemeClr val="tx1"/>
                </a:solidFill>
                <a:effectLst/>
                <a:latin typeface="+mn-lt"/>
                <a:ea typeface="+mn-ea"/>
                <a:cs typeface="+mn-cs"/>
              </a:rPr>
              <a:t>Service Bus (which is the underlying transport/relay service used in this scenario) only uses an outbound port  -- it does not require an inbound port to be opened on the on-premises firewall. It uses a shared secret mechanism to create a secure channel between cloud and on-prem. </a:t>
            </a:r>
            <a:br>
              <a:rPr lang="en-US" sz="1200" kern="1200" dirty="0">
                <a:solidFill>
                  <a:schemeClr val="tx1"/>
                </a:solidFill>
                <a:effectLst/>
                <a:latin typeface="+mn-lt"/>
                <a:ea typeface="+mn-ea"/>
                <a:cs typeface="+mn-cs"/>
              </a:rPr>
            </a:b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Will the SQL Server Analysis Service connector work in IaaS as well?</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Yes, as long as the IaaS VM is domain-joined and Azure Active Directory </a:t>
            </a:r>
            <a:r>
              <a:rPr lang="en-US" sz="1200" kern="1200" dirty="0" err="1">
                <a:solidFill>
                  <a:schemeClr val="tx1"/>
                </a:solidFill>
                <a:effectLst/>
                <a:latin typeface="+mn-lt"/>
                <a:ea typeface="+mn-ea"/>
                <a:cs typeface="+mn-cs"/>
              </a:rPr>
              <a:t>DirSync</a:t>
            </a:r>
            <a:r>
              <a:rPr lang="en-US" sz="1200" kern="1200" dirty="0">
                <a:solidFill>
                  <a:schemeClr val="tx1"/>
                </a:solidFill>
                <a:effectLst/>
                <a:latin typeface="+mn-lt"/>
                <a:ea typeface="+mn-ea"/>
                <a:cs typeface="+mn-cs"/>
              </a:rPr>
              <a:t> is set up.  </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Server &amp; Tools Business</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171B3BB-DFF4-43DF-B887-7B1543BC1A74}"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6</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1439552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baseline="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prstClr val="black">
                        <a:lumMod val="50000"/>
                      </a:prstClr>
                    </a:gs>
                    <a:gs pos="100000">
                      <a:prstClr val="black">
                        <a:lumMod val="50000"/>
                      </a:prstClr>
                    </a:gs>
                  </a:gsLst>
                  <a:lin ang="5400000" scaled="0"/>
                </a:gradFill>
                <a:effectLst/>
                <a:uLnTx/>
                <a:uFillTx/>
                <a:latin typeface="Calibri" panose="020F0502020204030204"/>
                <a:ea typeface="+mn-ea"/>
                <a:cs typeface="+mn-cs"/>
              </a:rPr>
              <a:t>Server &amp; Tools Business</a:t>
            </a:r>
            <a:endParaRPr kumimoji="0" lang="en-US" sz="1200" b="0" i="0" u="none" strike="noStrike" kern="1200" cap="none" spc="0" normalizeH="0" baseline="0" noProof="0" dirty="0">
              <a:ln>
                <a:noFill/>
              </a:ln>
              <a:gradFill>
                <a:gsLst>
                  <a:gs pos="0">
                    <a:prstClr val="black">
                      <a:lumMod val="50000"/>
                    </a:prstClr>
                  </a:gs>
                  <a:gs pos="100000">
                    <a:prstClr val="black">
                      <a:lumMod val="50000"/>
                    </a:prstClr>
                  </a:gs>
                </a:gsLst>
                <a:lin ang="5400000" scaled="0"/>
              </a:gra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5D478A-9C86-4D35-94F4-43ACBC67324B}"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0/20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77020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Let’s start today’s session by looking at some key trends that are impacting customer priorities when it comes to their data platform solutions. </a:t>
            </a:r>
          </a:p>
          <a:p>
            <a:endParaRPr lang="en-US" dirty="0"/>
          </a:p>
          <a:p>
            <a:r>
              <a:rPr lang="en-US" dirty="0"/>
              <a:t>One of the key trends we are observing when it comes to mission critical workloads is the focus on in-memory databases to improve performance and efficiency.  One of the key enablers has been the dramatic drop in pricing for memory to where it is now possible and relatively affordable to put databases In-Memory.</a:t>
            </a:r>
          </a:p>
          <a:p>
            <a:endParaRPr lang="en-US" dirty="0"/>
          </a:p>
          <a:p>
            <a:r>
              <a:rPr lang="en-US" dirty="0"/>
              <a:t>Another big trend is the adoption of cloud computing by customers- largely as IDC points out is due to how the cloud is enabling customer innovation.  Examples we have seen from our customers include better and faster customer service through cloud, faster development cycles, faster time to markets to name a few..</a:t>
            </a:r>
          </a:p>
          <a:p>
            <a:endParaRPr lang="en-US" dirty="0"/>
          </a:p>
          <a:p>
            <a:r>
              <a:rPr lang="en-US" i="1" dirty="0"/>
              <a:t>Last but not least is the data explosion trend getting into the </a:t>
            </a:r>
            <a:r>
              <a:rPr lang="en-US" i="1" dirty="0" err="1"/>
              <a:t>Zetabytes</a:t>
            </a:r>
            <a:r>
              <a:rPr lang="en-US" i="1" dirty="0"/>
              <a:t> this year per IDC. Customers are looking to gain new insights on their business faster by looking at additional and larger data sets both internal and external.  These new insights are helping customers obtain a competitive edge thus also leading to massive volumes of data.</a:t>
            </a:r>
          </a:p>
          <a:p>
            <a:endParaRPr lang="en-US" dirty="0"/>
          </a:p>
          <a:p>
            <a:endParaRPr lang="en-US" dirty="0"/>
          </a:p>
          <a:p>
            <a:r>
              <a:rPr lang="en-US" dirty="0"/>
              <a:t>---------</a:t>
            </a:r>
          </a:p>
          <a:p>
            <a:endParaRPr lang="en-US" dirty="0"/>
          </a:p>
          <a:p>
            <a:r>
              <a:rPr lang="en-US" dirty="0"/>
              <a:t>Gartner asserts that “</a:t>
            </a:r>
            <a:r>
              <a:rPr lang="en-US" b="1" dirty="0"/>
              <a:t>By 2015 businesses that build a modern information management system will outperform their peers financially by 20 percent.” Big Data Deck</a:t>
            </a:r>
          </a:p>
          <a:p>
            <a:endParaRPr lang="en-US" b="1" dirty="0"/>
          </a:p>
          <a:p>
            <a:r>
              <a:rPr lang="en-US" dirty="0">
                <a:hlinkClick r:id="rId3"/>
              </a:rPr>
              <a:t>http://gigaom.files.wordpress.com/2010/05/2010-digital-universe-iview_5-4-10.pdf</a:t>
            </a:r>
            <a:endParaRPr lang="en-US" dirty="0"/>
          </a:p>
          <a:p>
            <a:endParaRPr lang="en-US" dirty="0"/>
          </a:p>
        </p:txBody>
      </p:sp>
      <p:sp>
        <p:nvSpPr>
          <p:cNvPr id="4" name="Header Placeholder 3"/>
          <p:cNvSpPr>
            <a:spLocks noGrp="1"/>
          </p:cNvSpPr>
          <p:nvPr>
            <p:ph type="hdr" sz="quarter" idx="10"/>
          </p:nvPr>
        </p:nvSpPr>
        <p:spPr/>
        <p:txBody>
          <a:bodyPr/>
          <a:lstStyle/>
          <a:p>
            <a:r>
              <a:rPr lang="en-US">
                <a:gradFill>
                  <a:gsLst>
                    <a:gs pos="0">
                      <a:prstClr val="black">
                        <a:lumMod val="50000"/>
                      </a:prstClr>
                    </a:gs>
                    <a:gs pos="100000">
                      <a:prstClr val="black">
                        <a:lumMod val="50000"/>
                      </a:prstClr>
                    </a:gs>
                  </a:gsLst>
                  <a:lin ang="5400000" scaled="0"/>
                </a:gradFill>
              </a:rPr>
              <a:t>Server &amp; Tools Business</a:t>
            </a:r>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F4A0BD1-9198-4B22-8B09-DDD5655CBD29}" type="datetime1">
              <a:rPr lang="en-US" smtClean="0">
                <a:solidFill>
                  <a:prstClr val="black"/>
                </a:solidFill>
              </a:rPr>
              <a:pPr/>
              <a:t>6/10/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10412177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4A10D84-4101-4519-8A99-128B44ED2F4A}" type="datetime1">
              <a:rPr lang="en-US" smtClean="0"/>
              <a:t>6/10/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39317144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Microsoft provides an industry leading BI platform and</a:t>
            </a:r>
            <a:r>
              <a:rPr lang="en-US" baseline="0" dirty="0"/>
              <a:t> has been ranked as a leader in the BI space by Gartner for the last 9 years. </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Microsoft provides a powerful set of self-service BI capabilities at a fraction of the cost of other solutions. </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Microsoft is focused on providing a set of capabilities to enable users to more easily access and gain faster insights from data, which we will discuss through the course of this presentation. </a:t>
            </a:r>
            <a:endParaRPr lang="en-US" dirty="0"/>
          </a:p>
        </p:txBody>
      </p:sp>
      <p:sp>
        <p:nvSpPr>
          <p:cNvPr id="4" name="Header Placeholder 3"/>
          <p:cNvSpPr>
            <a:spLocks noGrp="1"/>
          </p:cNvSpPr>
          <p:nvPr>
            <p:ph type="hdr" sz="quarter" idx="10"/>
          </p:nvPr>
        </p:nvSpPr>
        <p:spPr/>
        <p:txBody>
          <a:bodyPr/>
          <a:lstStyle/>
          <a:p>
            <a:r>
              <a:rPr lang="en-US">
                <a:solidFill>
                  <a:prstClr val="black"/>
                </a:solidFill>
              </a:rPr>
              <a:t>System Center Marketing</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4905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905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79C244B-9810-46DF-B81E-A6CAC455C285}" type="datetime1">
              <a:rPr lang="en-US" smtClean="0">
                <a:solidFill>
                  <a:prstClr val="black"/>
                </a:solidFill>
              </a:rPr>
              <a:pPr/>
              <a:t>6/10/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34102355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2D966F8-945C-4996-A6D0-4AA093D85809}" type="datetime1">
              <a:rPr lang="en-US" smtClean="0"/>
              <a:t>6/10/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6314561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631" rtl="0" eaLnBrk="1" fontAlgn="auto" latinLnBrk="0" hangingPunct="1">
              <a:lnSpc>
                <a:spcPct val="90000"/>
              </a:lnSpc>
              <a:spcBef>
                <a:spcPts val="0"/>
              </a:spcBef>
              <a:spcAft>
                <a:spcPts val="340"/>
              </a:spcAft>
              <a:buClrTx/>
              <a:buSzTx/>
              <a:buFontTx/>
              <a:buNone/>
              <a:tabLst/>
              <a:defRPr/>
            </a:pPr>
            <a:r>
              <a:rPr lang="en-US" sz="900" dirty="0"/>
              <a:t>How can you take advantage</a:t>
            </a:r>
            <a:r>
              <a:rPr lang="en-US" sz="900" baseline="0" dirty="0"/>
              <a:t> of our Power BI through the Cloud Solution Provider (CSP) program? </a:t>
            </a:r>
          </a:p>
          <a:p>
            <a:pPr marL="0" marR="0" indent="0" algn="l" defTabSz="932631" rtl="0" eaLnBrk="1" fontAlgn="auto" latinLnBrk="0" hangingPunct="1">
              <a:lnSpc>
                <a:spcPct val="90000"/>
              </a:lnSpc>
              <a:spcBef>
                <a:spcPts val="0"/>
              </a:spcBef>
              <a:spcAft>
                <a:spcPts val="340"/>
              </a:spcAft>
              <a:buClrTx/>
              <a:buSzTx/>
              <a:buFontTx/>
              <a:buNone/>
              <a:tabLst/>
              <a:defRPr/>
            </a:pPr>
            <a:endParaRPr lang="en-US" sz="900" baseline="0" dirty="0"/>
          </a:p>
          <a:p>
            <a:pPr marL="0" marR="0" indent="0" algn="l" defTabSz="932631" rtl="0" eaLnBrk="1" fontAlgn="auto" latinLnBrk="0" hangingPunct="1">
              <a:lnSpc>
                <a:spcPct val="90000"/>
              </a:lnSpc>
              <a:spcBef>
                <a:spcPts val="0"/>
              </a:spcBef>
              <a:spcAft>
                <a:spcPts val="340"/>
              </a:spcAft>
              <a:buClrTx/>
              <a:buSzTx/>
              <a:buFontTx/>
              <a:buNone/>
              <a:tabLst/>
              <a:defRPr/>
            </a:pPr>
            <a:r>
              <a:rPr lang="en-US" sz="900" dirty="0"/>
              <a:t>The CSP Program delivers a platform for partners to own the end-to-end customer engagement by enabling partners to directly provision, bill, and support Microsoft Cloud Services for their customers.  As a</a:t>
            </a:r>
            <a:r>
              <a:rPr lang="en-US" sz="900" baseline="0" dirty="0"/>
              <a:t> CSP partner, you</a:t>
            </a:r>
            <a:r>
              <a:rPr lang="en-US" sz="900" dirty="0"/>
              <a:t> can benefit from re-selling one platform for all Microsoft Cloud Services including Office 365, Azure, EMS and CRM Online, as well as creating value-based, unique IP services, managed services and project services to differentiate in market. </a:t>
            </a:r>
          </a:p>
          <a:p>
            <a:endParaRPr lang="en-US" sz="900" b="1" dirty="0"/>
          </a:p>
          <a:p>
            <a:pPr marL="0" marR="0" lvl="0" indent="0" algn="l" defTabSz="932742" rtl="0" eaLnBrk="1" fontAlgn="auto" latinLnBrk="0" hangingPunct="1">
              <a:lnSpc>
                <a:spcPct val="90000"/>
              </a:lnSpc>
              <a:spcBef>
                <a:spcPts val="0"/>
              </a:spcBef>
              <a:spcAft>
                <a:spcPts val="340"/>
              </a:spcAft>
              <a:buClrTx/>
              <a:buSzTx/>
              <a:buFontTx/>
              <a:buNone/>
              <a:tabLst/>
              <a:defRPr/>
            </a:pPr>
            <a:r>
              <a:rPr kumimoji="0" lang="en-US" sz="900" b="0" i="0" u="none" strike="noStrike" kern="0" cap="none" spc="0" normalizeH="0" baseline="0" noProof="0" dirty="0">
                <a:ln>
                  <a:noFill/>
                </a:ln>
                <a:gradFill>
                  <a:gsLst>
                    <a:gs pos="2917">
                      <a:srgbClr val="00188F"/>
                    </a:gs>
                    <a:gs pos="30000">
                      <a:srgbClr val="00188F"/>
                    </a:gs>
                  </a:gsLst>
                  <a:lin ang="5400000" scaled="0"/>
                </a:gradFill>
                <a:effectLst/>
                <a:uLnTx/>
                <a:uFillTx/>
              </a:rPr>
              <a:t>There are 6 aspects to the CSP Partner-customer relationship:</a:t>
            </a:r>
          </a:p>
          <a:p>
            <a:pPr marL="0" marR="0" lvl="0" indent="0" algn="l" defTabSz="932742" rtl="0" eaLnBrk="1" fontAlgn="auto" latinLnBrk="0" hangingPunct="1">
              <a:lnSpc>
                <a:spcPct val="90000"/>
              </a:lnSpc>
              <a:spcBef>
                <a:spcPts val="0"/>
              </a:spcBef>
              <a:spcAft>
                <a:spcPts val="340"/>
              </a:spcAft>
              <a:buClrTx/>
              <a:buSzTx/>
              <a:buFontTx/>
              <a:buNone/>
              <a:tabLst/>
              <a:defRPr/>
            </a:pPr>
            <a:endParaRPr kumimoji="0" lang="en-US" sz="900" b="1" i="0" u="none" strike="noStrike" kern="0" cap="none" spc="0" normalizeH="0" baseline="0" noProof="0" dirty="0">
              <a:ln>
                <a:noFill/>
              </a:ln>
              <a:gradFill>
                <a:gsLst>
                  <a:gs pos="2917">
                    <a:srgbClr val="00188F"/>
                  </a:gs>
                  <a:gs pos="30000">
                    <a:srgbClr val="00188F"/>
                  </a:gs>
                </a:gsLst>
                <a:lin ang="5400000" scaled="0"/>
              </a:gradFill>
              <a:effectLst/>
              <a:uLnTx/>
              <a:uFillTx/>
            </a:endParaRP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kumimoji="0" lang="en-US" sz="900" b="1" i="0" u="none" strike="noStrike" kern="0" cap="none" spc="0" normalizeH="0" baseline="0" noProof="0" dirty="0">
                <a:ln>
                  <a:noFill/>
                </a:ln>
                <a:gradFill>
                  <a:gsLst>
                    <a:gs pos="2917">
                      <a:srgbClr val="00188F"/>
                    </a:gs>
                    <a:gs pos="30000">
                      <a:srgbClr val="00188F"/>
                    </a:gs>
                  </a:gsLst>
                  <a:lin ang="5400000" scaled="0"/>
                </a:gradFill>
                <a:effectLst/>
                <a:uLnTx/>
                <a:uFillTx/>
              </a:rPr>
              <a:t>Sell</a:t>
            </a:r>
            <a:r>
              <a:rPr kumimoji="0" lang="en-US" sz="900" b="0" i="0" u="none" strike="noStrike" kern="0" cap="none" spc="0" normalizeH="0" baseline="0" noProof="0" dirty="0">
                <a:ln>
                  <a:noFill/>
                </a:ln>
                <a:gradFill>
                  <a:gsLst>
                    <a:gs pos="2917">
                      <a:srgbClr val="00188F"/>
                    </a:gs>
                    <a:gs pos="30000">
                      <a:srgbClr val="00188F"/>
                    </a:gs>
                  </a:gsLst>
                  <a:lin ang="5400000" scaled="0"/>
                </a:gradFill>
                <a:effectLst/>
                <a:uLnTx/>
                <a:uFillTx/>
              </a:rPr>
              <a:t>: First-time partners will truly be able to sell as a bundled package or purely just resell Microsoft Azure services: s</a:t>
            </a:r>
            <a:r>
              <a:rPr lang="en-IN" sz="900" dirty="0">
                <a:solidFill>
                  <a:prstClr val="white"/>
                </a:solidFill>
                <a:cs typeface="Segoe UI Semibold" panose="020B0702040204020203" pitchFamily="34" charset="0"/>
              </a:rPr>
              <a:t>et the price, the terms, and directly bill customers</a:t>
            </a:r>
          </a:p>
          <a:p>
            <a:pPr marL="388686" lvl="1" indent="-171450" defTabSz="932239">
              <a:spcBef>
                <a:spcPts val="612"/>
              </a:spcBef>
              <a:buFont typeface="Arial" panose="020B0604020202020204" pitchFamily="34" charset="0"/>
              <a:buChar char="•"/>
            </a:pPr>
            <a:r>
              <a:rPr lang="en-US" sz="900" kern="0" dirty="0">
                <a:solidFill>
                  <a:srgbClr val="505050"/>
                </a:solidFill>
                <a:cs typeface="Segoe UI" panose="020B0502040204020203" pitchFamily="34" charset="0"/>
              </a:rPr>
              <a:t>Bill monthly, if desired </a:t>
            </a:r>
          </a:p>
          <a:p>
            <a:pPr marL="388686" lvl="1" indent="-171450" defTabSz="932239">
              <a:spcBef>
                <a:spcPts val="612"/>
              </a:spcBef>
              <a:buFont typeface="Arial" panose="020B0604020202020204" pitchFamily="34" charset="0"/>
              <a:buChar char="•"/>
            </a:pPr>
            <a:r>
              <a:rPr lang="en-US" sz="900" kern="0" dirty="0">
                <a:solidFill>
                  <a:srgbClr val="505050"/>
                </a:solidFill>
                <a:cs typeface="Segoe UI" panose="020B0502040204020203" pitchFamily="34" charset="0"/>
              </a:rPr>
              <a:t>Meet a growing customer expectation of a cloud subscription model</a:t>
            </a:r>
          </a:p>
          <a:p>
            <a:pPr marL="388686" lvl="1" indent="-171450" defTabSz="932239">
              <a:spcBef>
                <a:spcPts val="612"/>
              </a:spcBef>
              <a:buFont typeface="Arial" panose="020B0604020202020204" pitchFamily="34" charset="0"/>
              <a:buChar char="•"/>
            </a:pPr>
            <a:r>
              <a:rPr lang="en-US" sz="900" kern="0" dirty="0">
                <a:solidFill>
                  <a:srgbClr val="505050"/>
                </a:solidFill>
                <a:cs typeface="Segoe UI" panose="020B0502040204020203" pitchFamily="34" charset="0"/>
              </a:rPr>
              <a:t>Build a monthly annuity revenue stream</a:t>
            </a:r>
            <a:endParaRPr kumimoji="0" lang="en-US" sz="900" b="0" i="0" u="none" strike="noStrike" kern="0" cap="none" spc="0" normalizeH="0" baseline="0" noProof="0" dirty="0">
              <a:ln>
                <a:noFill/>
              </a:ln>
              <a:gradFill>
                <a:gsLst>
                  <a:gs pos="2917">
                    <a:srgbClr val="00188F"/>
                  </a:gs>
                  <a:gs pos="30000">
                    <a:srgbClr val="00188F"/>
                  </a:gs>
                </a:gsLst>
                <a:lin ang="5400000" scaled="0"/>
              </a:gradFill>
              <a:effectLst/>
              <a:uLnTx/>
              <a:uFillTx/>
              <a:cs typeface="+mn-cs"/>
            </a:endParaRPr>
          </a:p>
          <a:p>
            <a:pPr marL="228600" lvl="0" indent="-228600" defTabSz="932239">
              <a:spcBef>
                <a:spcPts val="612"/>
              </a:spcBef>
              <a:buFont typeface="+mj-lt"/>
              <a:buAutoNum type="arabicPeriod"/>
            </a:pPr>
            <a:endParaRPr kumimoji="0" lang="en-US" sz="900" b="0" i="0" u="none" strike="noStrike" kern="0" cap="none" spc="0" normalizeH="0" baseline="0" noProof="0" dirty="0">
              <a:ln>
                <a:noFill/>
              </a:ln>
              <a:gradFill>
                <a:gsLst>
                  <a:gs pos="2917">
                    <a:srgbClr val="00188F"/>
                  </a:gs>
                  <a:gs pos="30000">
                    <a:srgbClr val="00188F"/>
                  </a:gs>
                </a:gsLst>
                <a:lin ang="5400000" scaled="0"/>
              </a:gradFill>
              <a:effectLst/>
              <a:uLnTx/>
              <a:uFillTx/>
              <a:cs typeface="+mn-cs"/>
            </a:endParaRPr>
          </a:p>
          <a:p>
            <a:pPr marL="228600" lvl="0" indent="-228600" defTabSz="932239">
              <a:spcBef>
                <a:spcPts val="612"/>
              </a:spcBef>
              <a:buFont typeface="+mj-lt"/>
              <a:buAutoNum type="arabicPeriod"/>
            </a:pPr>
            <a:r>
              <a:rPr kumimoji="0" lang="en-US" sz="900" b="1" i="0" u="none" strike="noStrike" kern="0" cap="none" spc="0" normalizeH="0" baseline="0" noProof="0" dirty="0">
                <a:ln>
                  <a:noFill/>
                </a:ln>
                <a:gradFill>
                  <a:gsLst>
                    <a:gs pos="2917">
                      <a:srgbClr val="00188F"/>
                    </a:gs>
                    <a:gs pos="30000">
                      <a:srgbClr val="00188F"/>
                    </a:gs>
                  </a:gsLst>
                  <a:lin ang="5400000" scaled="0"/>
                </a:gradFill>
                <a:effectLst/>
                <a:uLnTx/>
                <a:uFillTx/>
              </a:rPr>
              <a:t>Value-Added Services:</a:t>
            </a:r>
            <a:r>
              <a:rPr kumimoji="0" lang="en-US" sz="900" b="0" i="0" u="none" strike="noStrike" kern="0" cap="none" spc="0" normalizeH="0" baseline="0" noProof="0" dirty="0">
                <a:ln>
                  <a:noFill/>
                </a:ln>
                <a:gradFill>
                  <a:gsLst>
                    <a:gs pos="2917">
                      <a:srgbClr val="00188F"/>
                    </a:gs>
                    <a:gs pos="30000">
                      <a:srgbClr val="00188F"/>
                    </a:gs>
                  </a:gsLst>
                  <a:lin ang="5400000" scaled="0"/>
                </a:gradFill>
                <a:effectLst/>
                <a:uLnTx/>
                <a:uFillTx/>
              </a:rPr>
              <a:t> Partners will have the power to leverage CSP to add managed services and/or 3</a:t>
            </a:r>
            <a:r>
              <a:rPr kumimoji="0" lang="en-US" sz="900" b="0" i="0" u="none" strike="noStrike" kern="0" cap="none" spc="0" normalizeH="0" baseline="30000" noProof="0" dirty="0">
                <a:ln>
                  <a:noFill/>
                </a:ln>
                <a:gradFill>
                  <a:gsLst>
                    <a:gs pos="2917">
                      <a:srgbClr val="00188F"/>
                    </a:gs>
                    <a:gs pos="30000">
                      <a:srgbClr val="00188F"/>
                    </a:gs>
                  </a:gsLst>
                  <a:lin ang="5400000" scaled="0"/>
                </a:gradFill>
                <a:effectLst/>
                <a:uLnTx/>
                <a:uFillTx/>
              </a:rPr>
              <a:t>rd</a:t>
            </a:r>
            <a:r>
              <a:rPr kumimoji="0" lang="en-US" sz="900" b="0" i="0" u="none" strike="noStrike" kern="0" cap="none" spc="0" normalizeH="0" baseline="0" noProof="0" dirty="0">
                <a:ln>
                  <a:noFill/>
                </a:ln>
                <a:gradFill>
                  <a:gsLst>
                    <a:gs pos="2917">
                      <a:srgbClr val="00188F"/>
                    </a:gs>
                    <a:gs pos="30000">
                      <a:srgbClr val="00188F"/>
                    </a:gs>
                  </a:gsLst>
                  <a:lin ang="5400000" scaled="0"/>
                </a:gradFill>
                <a:effectLst/>
                <a:uLnTx/>
                <a:uFillTx/>
              </a:rPr>
              <a:t> party applications in addition to the Azure services.</a:t>
            </a:r>
          </a:p>
          <a:p>
            <a:pPr marL="228600" lvl="0" indent="-228600" defTabSz="932239">
              <a:spcBef>
                <a:spcPts val="612"/>
              </a:spcBef>
              <a:buFont typeface="+mj-lt"/>
              <a:buAutoNum type="arabicPeriod"/>
            </a:pPr>
            <a:endParaRPr kumimoji="0" lang="en-US" sz="900" b="0" i="0" u="none" strike="noStrike" kern="0" cap="none" spc="0" normalizeH="0" baseline="0" noProof="0" dirty="0">
              <a:ln>
                <a:noFill/>
              </a:ln>
              <a:gradFill>
                <a:gsLst>
                  <a:gs pos="2917">
                    <a:srgbClr val="00188F"/>
                  </a:gs>
                  <a:gs pos="30000">
                    <a:srgbClr val="00188F"/>
                  </a:gs>
                </a:gsLst>
                <a:lin ang="5400000" scaled="0"/>
              </a:gradFill>
              <a:effectLst/>
              <a:uLnTx/>
              <a:uFillTx/>
            </a:endParaRPr>
          </a:p>
          <a:p>
            <a:pPr marL="228600" lvl="0" indent="-228600" defTabSz="932239">
              <a:spcBef>
                <a:spcPts val="612"/>
              </a:spcBef>
              <a:buFont typeface="+mj-lt"/>
              <a:buAutoNum type="arabicPeriod"/>
            </a:pPr>
            <a:r>
              <a:rPr kumimoji="0" lang="en-US" sz="900" b="1" i="0" u="none" strike="noStrike" kern="0" cap="none" spc="0" normalizeH="0" baseline="0" noProof="0" dirty="0">
                <a:ln>
                  <a:noFill/>
                </a:ln>
                <a:gradFill>
                  <a:gsLst>
                    <a:gs pos="2917">
                      <a:srgbClr val="00188F"/>
                    </a:gs>
                    <a:gs pos="30000">
                      <a:srgbClr val="00188F"/>
                    </a:gs>
                  </a:gsLst>
                  <a:lin ang="5400000" scaled="0"/>
                </a:gradFill>
                <a:effectLst/>
                <a:uLnTx/>
                <a:uFillTx/>
              </a:rPr>
              <a:t>Provision</a:t>
            </a:r>
            <a:r>
              <a:rPr kumimoji="0" lang="en-US" sz="900" b="0" i="0" u="none" strike="noStrike" kern="0" cap="none" spc="0" normalizeH="0" baseline="0" noProof="0" dirty="0">
                <a:ln>
                  <a:noFill/>
                </a:ln>
                <a:gradFill>
                  <a:gsLst>
                    <a:gs pos="2917">
                      <a:srgbClr val="00188F"/>
                    </a:gs>
                    <a:gs pos="30000">
                      <a:srgbClr val="00188F"/>
                    </a:gs>
                  </a:gsLst>
                  <a:lin ang="5400000" scaled="0"/>
                </a:gradFill>
                <a:effectLst/>
                <a:uLnTx/>
                <a:uFillTx/>
              </a:rPr>
              <a:t> services on the fly based on the needs of your customers. </a:t>
            </a:r>
            <a:r>
              <a:rPr lang="en-US" sz="900" kern="0" dirty="0">
                <a:solidFill>
                  <a:prstClr val="white"/>
                </a:solidFill>
                <a:cs typeface="Segoe UI Semibold" panose="020B0702040204020203" pitchFamily="34" charset="0"/>
              </a:rPr>
              <a:t>Directly provision and manage subscriptions:</a:t>
            </a:r>
          </a:p>
          <a:p>
            <a:pPr marL="388686" lvl="1" indent="-171450" defTabSz="932239">
              <a:spcBef>
                <a:spcPts val="612"/>
              </a:spcBef>
            </a:pPr>
            <a:r>
              <a:rPr lang="en-US" sz="900" kern="0" dirty="0">
                <a:solidFill>
                  <a:srgbClr val="505050"/>
                </a:solidFill>
                <a:cs typeface="Segoe UI" panose="020B0502040204020203" pitchFamily="34" charset="0"/>
              </a:rPr>
              <a:t>In-product tools &amp; APIs to directly provision, manage, and modify customer subscriptions</a:t>
            </a:r>
          </a:p>
          <a:p>
            <a:pPr marL="388686" lvl="1" indent="-171450" defTabSz="932239">
              <a:spcBef>
                <a:spcPts val="612"/>
              </a:spcBef>
            </a:pPr>
            <a:r>
              <a:rPr lang="en-US" sz="900" kern="0" dirty="0">
                <a:solidFill>
                  <a:srgbClr val="505050"/>
                </a:solidFill>
                <a:cs typeface="Segoe UI" panose="020B0502040204020203" pitchFamily="34" charset="0"/>
              </a:rPr>
              <a:t>Speed the sales cycle to get customers up and running quickly</a:t>
            </a:r>
          </a:p>
          <a:p>
            <a:pPr marL="445836" lvl="1" indent="-228600" defTabSz="932239">
              <a:spcBef>
                <a:spcPts val="612"/>
              </a:spcBef>
              <a:buFont typeface="+mj-lt"/>
              <a:buAutoNum type="arabicPeriod"/>
            </a:pPr>
            <a:endParaRPr kumimoji="0" lang="en-US" sz="900" b="1" i="0" u="none" strike="noStrike" kern="0" cap="none" spc="0" normalizeH="0" baseline="0" noProof="0" dirty="0">
              <a:ln>
                <a:noFill/>
              </a:ln>
              <a:solidFill>
                <a:srgbClr val="505050"/>
              </a:solidFill>
              <a:effectLst/>
              <a:uLnTx/>
              <a:uFillTx/>
              <a:cs typeface="Segoe UI" panose="020B0502040204020203" pitchFamily="34" charset="0"/>
            </a:endParaRPr>
          </a:p>
          <a:p>
            <a:pPr marL="228600" lvl="0" indent="-228600" defTabSz="932239">
              <a:spcBef>
                <a:spcPts val="612"/>
              </a:spcBef>
              <a:buFont typeface="+mj-lt"/>
              <a:buAutoNum type="arabicPeriod"/>
            </a:pPr>
            <a:r>
              <a:rPr kumimoji="0" lang="en-US" sz="900" b="1" i="0" u="none" strike="noStrike" kern="0" cap="none" spc="0" normalizeH="0" baseline="0" noProof="0" dirty="0">
                <a:ln>
                  <a:noFill/>
                </a:ln>
                <a:gradFill>
                  <a:gsLst>
                    <a:gs pos="2917">
                      <a:srgbClr val="00188F"/>
                    </a:gs>
                    <a:gs pos="30000">
                      <a:srgbClr val="00188F"/>
                    </a:gs>
                  </a:gsLst>
                  <a:lin ang="5400000" scaled="0"/>
                </a:gradFill>
                <a:effectLst/>
                <a:uLnTx/>
                <a:uFillTx/>
              </a:rPr>
              <a:t>Manage</a:t>
            </a:r>
            <a:r>
              <a:rPr kumimoji="0" lang="en-US" sz="900" b="0" i="0" u="none" strike="noStrike" kern="0" cap="none" spc="0" normalizeH="0" baseline="0" noProof="0" dirty="0">
                <a:ln>
                  <a:noFill/>
                </a:ln>
                <a:gradFill>
                  <a:gsLst>
                    <a:gs pos="2917">
                      <a:srgbClr val="00188F"/>
                    </a:gs>
                    <a:gs pos="30000">
                      <a:srgbClr val="00188F"/>
                    </a:gs>
                  </a:gsLst>
                  <a:lin ang="5400000" scaled="0"/>
                </a:gradFill>
                <a:effectLst/>
                <a:uLnTx/>
                <a:uFillTx/>
              </a:rPr>
              <a:t>: Through multi-tenant capabilities, you’ll be able to manage all of your customers’ subscriptions across services. </a:t>
            </a:r>
          </a:p>
          <a:p>
            <a:pPr marL="228600" lvl="0" indent="-228600" defTabSz="932239">
              <a:spcBef>
                <a:spcPts val="612"/>
              </a:spcBef>
              <a:buFont typeface="+mj-lt"/>
              <a:buAutoNum type="arabicPeriod"/>
            </a:pPr>
            <a:endParaRPr kumimoji="0" lang="en-US" sz="900" b="0" i="0" u="none" strike="noStrike" kern="0" cap="none" spc="0" normalizeH="0" baseline="0" noProof="0" dirty="0">
              <a:ln>
                <a:noFill/>
              </a:ln>
              <a:gradFill>
                <a:gsLst>
                  <a:gs pos="2917">
                    <a:srgbClr val="00188F"/>
                  </a:gs>
                  <a:gs pos="30000">
                    <a:srgbClr val="00188F"/>
                  </a:gs>
                </a:gsLst>
                <a:lin ang="5400000" scaled="0"/>
              </a:gradFill>
              <a:effectLst/>
              <a:uLnTx/>
              <a:uFillTx/>
            </a:endParaRPr>
          </a:p>
          <a:p>
            <a:pPr marL="228600" lvl="0" indent="-228600" defTabSz="932239">
              <a:spcBef>
                <a:spcPts val="612"/>
              </a:spcBef>
              <a:buFont typeface="+mj-lt"/>
              <a:buAutoNum type="arabicPeriod"/>
            </a:pPr>
            <a:r>
              <a:rPr kumimoji="0" lang="en-US" sz="900" b="1" i="0" u="none" strike="noStrike" kern="0" cap="none" spc="0" normalizeH="0" baseline="0" noProof="0" dirty="0">
                <a:ln>
                  <a:noFill/>
                </a:ln>
                <a:gradFill>
                  <a:gsLst>
                    <a:gs pos="2917">
                      <a:srgbClr val="00188F"/>
                    </a:gs>
                    <a:gs pos="30000">
                      <a:srgbClr val="00188F"/>
                    </a:gs>
                  </a:gsLst>
                  <a:lin ang="5400000" scaled="0"/>
                </a:gradFill>
                <a:effectLst/>
                <a:uLnTx/>
                <a:uFillTx/>
              </a:rPr>
              <a:t>Bill</a:t>
            </a:r>
            <a:r>
              <a:rPr kumimoji="0" lang="en-US" sz="900" b="0" i="0" u="none" strike="noStrike" kern="0" cap="none" spc="0" normalizeH="0" baseline="0" noProof="0" dirty="0">
                <a:ln>
                  <a:noFill/>
                </a:ln>
                <a:gradFill>
                  <a:gsLst>
                    <a:gs pos="2917">
                      <a:srgbClr val="00188F"/>
                    </a:gs>
                    <a:gs pos="30000">
                      <a:srgbClr val="00188F"/>
                    </a:gs>
                  </a:gsLst>
                  <a:lin ang="5400000" scaled="0"/>
                </a:gradFill>
                <a:effectLst/>
                <a:uLnTx/>
                <a:uFillTx/>
              </a:rPr>
              <a:t>: Own the complete cash flow with your customer: between Microsoft and the Partner, and between the Partner and the Customer</a:t>
            </a:r>
          </a:p>
          <a:p>
            <a:pPr marL="228600" lvl="0" indent="-228600" defTabSz="932239">
              <a:spcBef>
                <a:spcPts val="612"/>
              </a:spcBef>
              <a:buFont typeface="+mj-lt"/>
              <a:buAutoNum type="arabicPeriod"/>
            </a:pPr>
            <a:endParaRPr kumimoji="0" lang="en-US" sz="900" b="0" i="0" u="none" strike="noStrike" kern="0" cap="none" spc="0" normalizeH="0" baseline="0" noProof="0" dirty="0">
              <a:ln>
                <a:noFill/>
              </a:ln>
              <a:gradFill>
                <a:gsLst>
                  <a:gs pos="2917">
                    <a:srgbClr val="00188F"/>
                  </a:gs>
                  <a:gs pos="30000">
                    <a:srgbClr val="00188F"/>
                  </a:gs>
                </a:gsLst>
                <a:lin ang="5400000" scaled="0"/>
              </a:gradFill>
              <a:effectLst/>
              <a:uLnTx/>
              <a:uFillTx/>
            </a:endParaRPr>
          </a:p>
          <a:p>
            <a:pPr marL="228600" lvl="0" indent="-228600" defTabSz="932239">
              <a:spcBef>
                <a:spcPts val="612"/>
              </a:spcBef>
              <a:buFont typeface="+mj-lt"/>
              <a:buAutoNum type="arabicPeriod"/>
            </a:pPr>
            <a:r>
              <a:rPr kumimoji="0" lang="en-US" sz="900" b="1" i="0" u="none" strike="noStrike" kern="0" cap="none" spc="0" normalizeH="0" baseline="0" noProof="0" dirty="0">
                <a:ln>
                  <a:noFill/>
                </a:ln>
                <a:gradFill>
                  <a:gsLst>
                    <a:gs pos="2917">
                      <a:srgbClr val="00188F"/>
                    </a:gs>
                    <a:gs pos="30000">
                      <a:srgbClr val="00188F"/>
                    </a:gs>
                  </a:gsLst>
                  <a:lin ang="5400000" scaled="0"/>
                </a:gradFill>
                <a:effectLst/>
                <a:uLnTx/>
                <a:uFillTx/>
              </a:rPr>
              <a:t>Support</a:t>
            </a:r>
            <a:r>
              <a:rPr kumimoji="0" lang="en-US" sz="900" b="0" i="0" u="none" strike="noStrike" kern="0" cap="none" spc="0" normalizeH="0" baseline="0" noProof="0" dirty="0">
                <a:ln>
                  <a:noFill/>
                </a:ln>
                <a:gradFill>
                  <a:gsLst>
                    <a:gs pos="2917">
                      <a:srgbClr val="00188F"/>
                    </a:gs>
                    <a:gs pos="30000">
                      <a:srgbClr val="00188F"/>
                    </a:gs>
                  </a:gsLst>
                  <a:lin ang="5400000" scaled="0"/>
                </a:gradFill>
                <a:effectLst/>
                <a:uLnTx/>
                <a:uFillTx/>
              </a:rPr>
              <a:t>: Become the front-line support for your customer to ensure business continuity. </a:t>
            </a:r>
            <a:r>
              <a:rPr lang="en-US" sz="900" kern="0" dirty="0">
                <a:solidFill>
                  <a:prstClr val="white"/>
                </a:solidFill>
              </a:rPr>
              <a:t>Be the first point of contact for customer support</a:t>
            </a:r>
          </a:p>
          <a:p>
            <a:pPr marL="388686" lvl="1" indent="-171450" defTabSz="932239">
              <a:spcBef>
                <a:spcPts val="612"/>
              </a:spcBef>
              <a:buFont typeface="Arial" panose="020B0604020202020204" pitchFamily="34" charset="0"/>
              <a:buChar char="•"/>
            </a:pPr>
            <a:r>
              <a:rPr lang="en-US" sz="900" kern="0" dirty="0">
                <a:solidFill>
                  <a:srgbClr val="505050"/>
                </a:solidFill>
                <a:cs typeface="Segoe UI" panose="020B0502040204020203" pitchFamily="34" charset="0"/>
              </a:rPr>
              <a:t>Increased touch points help identify needs for new services and solutions</a:t>
            </a:r>
          </a:p>
          <a:p>
            <a:pPr marL="388686" lvl="1" indent="-171450" defTabSz="932239">
              <a:spcBef>
                <a:spcPts val="612"/>
              </a:spcBef>
              <a:buFont typeface="Arial" panose="020B0604020202020204" pitchFamily="34" charset="0"/>
              <a:buChar char="•"/>
            </a:pPr>
            <a:r>
              <a:rPr lang="en-US" sz="900" kern="0" dirty="0">
                <a:solidFill>
                  <a:srgbClr val="505050"/>
                </a:solidFill>
                <a:cs typeface="Segoe UI" panose="020B0502040204020203" pitchFamily="34" charset="0"/>
              </a:rPr>
              <a:t>Partner owns relationship with customer</a:t>
            </a:r>
            <a:endParaRPr kumimoji="0" lang="en-US" sz="900" b="0" i="0" u="none" strike="noStrike" kern="0" cap="none" spc="0" normalizeH="0" baseline="0" noProof="0" dirty="0">
              <a:ln>
                <a:noFill/>
              </a:ln>
              <a:gradFill>
                <a:gsLst>
                  <a:gs pos="2917">
                    <a:srgbClr val="00188F"/>
                  </a:gs>
                  <a:gs pos="30000">
                    <a:srgbClr val="00188F"/>
                  </a:gs>
                </a:gsLst>
                <a:lin ang="5400000" scaled="0"/>
              </a:gradFill>
              <a:effectLst/>
              <a:uLnTx/>
              <a:uFillTx/>
            </a:endParaRPr>
          </a:p>
          <a:p>
            <a:pPr marL="0" marR="0" lvl="0" indent="0" defTabSz="914400" eaLnBrk="1" fontAlgn="auto" latinLnBrk="0" hangingPunct="1">
              <a:lnSpc>
                <a:spcPct val="90000"/>
              </a:lnSpc>
              <a:spcBef>
                <a:spcPts val="0"/>
              </a:spcBef>
              <a:spcAft>
                <a:spcPts val="600"/>
              </a:spcAft>
              <a:buClrTx/>
              <a:buSzTx/>
              <a:buFontTx/>
              <a:buNone/>
              <a:tabLst/>
              <a:defRPr/>
            </a:pPr>
            <a:endParaRPr kumimoji="0" lang="en-US" sz="900" b="0" i="0" u="none" strike="noStrike" kern="0" cap="none" spc="0" normalizeH="0" baseline="0" noProof="0" dirty="0">
              <a:ln>
                <a:noFill/>
              </a:ln>
              <a:gradFill>
                <a:gsLst>
                  <a:gs pos="2917">
                    <a:srgbClr val="00188F"/>
                  </a:gs>
                  <a:gs pos="30000">
                    <a:srgbClr val="00188F"/>
                  </a:gs>
                </a:gsLst>
                <a:lin ang="5400000" scaled="0"/>
              </a:gradFill>
              <a:effectLst/>
              <a:uLnTx/>
              <a:uFillTx/>
            </a:endParaRPr>
          </a:p>
          <a:p>
            <a:pPr marL="0" marR="0" lvl="0" indent="0" defTabSz="914400" eaLnBrk="1" fontAlgn="auto" latinLnBrk="0" hangingPunct="1">
              <a:lnSpc>
                <a:spcPct val="90000"/>
              </a:lnSpc>
              <a:spcBef>
                <a:spcPts val="0"/>
              </a:spcBef>
              <a:spcAft>
                <a:spcPts val="600"/>
              </a:spcAft>
              <a:buClrTx/>
              <a:buSzTx/>
              <a:buFontTx/>
              <a:buNone/>
              <a:tabLst/>
              <a:defRPr/>
            </a:pPr>
            <a:r>
              <a:rPr kumimoji="0" lang="en-US" sz="900" b="1" i="0" u="none" strike="noStrike" kern="0" cap="none" spc="0" normalizeH="0" baseline="0" noProof="0" dirty="0">
                <a:ln>
                  <a:noFill/>
                </a:ln>
                <a:gradFill>
                  <a:gsLst>
                    <a:gs pos="2917">
                      <a:srgbClr val="00188F"/>
                    </a:gs>
                    <a:gs pos="30000">
                      <a:srgbClr val="00188F"/>
                    </a:gs>
                  </a:gsLst>
                  <a:lin ang="5400000" scaled="0"/>
                </a:gradFill>
                <a:effectLst/>
                <a:uLnTx/>
                <a:uFillTx/>
              </a:rPr>
              <a:t>Steps for success:</a:t>
            </a:r>
          </a:p>
          <a:p>
            <a:pPr marL="228600" marR="0" lvl="0" indent="-228600" algn="l" defTabSz="914400" rtl="0" eaLnBrk="1" fontAlgn="auto" latinLnBrk="0" hangingPunct="1">
              <a:lnSpc>
                <a:spcPct val="90000"/>
              </a:lnSpc>
              <a:spcBef>
                <a:spcPts val="0"/>
              </a:spcBef>
              <a:spcAft>
                <a:spcPts val="600"/>
              </a:spcAft>
              <a:buClrTx/>
              <a:buSzTx/>
              <a:buFont typeface="+mj-lt"/>
              <a:buAutoNum type="arabicPeriod"/>
              <a:tabLst/>
              <a:defRPr/>
            </a:pPr>
            <a:r>
              <a:rPr lang="en-US" sz="900" kern="0" dirty="0">
                <a:solidFill>
                  <a:prstClr val="white"/>
                </a:solidFill>
              </a:rPr>
              <a:t>Create cloud subscription + partner offer</a:t>
            </a:r>
          </a:p>
          <a:p>
            <a:pPr marL="228600" marR="0" lvl="0" indent="-228600" algn="l" defTabSz="914400" rtl="0" eaLnBrk="1" fontAlgn="auto" latinLnBrk="0" hangingPunct="1">
              <a:lnSpc>
                <a:spcPct val="90000"/>
              </a:lnSpc>
              <a:spcBef>
                <a:spcPts val="0"/>
              </a:spcBef>
              <a:spcAft>
                <a:spcPts val="600"/>
              </a:spcAft>
              <a:buClrTx/>
              <a:buSzTx/>
              <a:buFont typeface="+mj-lt"/>
              <a:buAutoNum type="arabicPeriod"/>
              <a:tabLst/>
              <a:defRPr/>
            </a:pPr>
            <a:r>
              <a:rPr lang="en-US" sz="900" kern="0" dirty="0">
                <a:solidFill>
                  <a:prstClr val="white"/>
                </a:solidFill>
              </a:rPr>
              <a:t>Set package price and sell to customers</a:t>
            </a:r>
          </a:p>
          <a:p>
            <a:pPr marL="228600" marR="0" lvl="0" indent="-228600" algn="l" defTabSz="914400" rtl="0" eaLnBrk="1" fontAlgn="auto" latinLnBrk="0" hangingPunct="1">
              <a:lnSpc>
                <a:spcPct val="90000"/>
              </a:lnSpc>
              <a:spcBef>
                <a:spcPts val="0"/>
              </a:spcBef>
              <a:spcAft>
                <a:spcPts val="600"/>
              </a:spcAft>
              <a:buClrTx/>
              <a:buSzTx/>
              <a:buFont typeface="+mj-lt"/>
              <a:buAutoNum type="arabicPeriod"/>
              <a:tabLst/>
              <a:defRPr/>
            </a:pPr>
            <a:r>
              <a:rPr lang="en-US" sz="900" kern="0" dirty="0">
                <a:solidFill>
                  <a:prstClr val="white"/>
                </a:solidFill>
              </a:rPr>
              <a:t>Place order for Microsoft Cloud Services</a:t>
            </a:r>
          </a:p>
          <a:p>
            <a:pPr marL="228600" marR="0" lvl="0" indent="-228600" algn="l" defTabSz="914400" rtl="0" eaLnBrk="1" fontAlgn="auto" latinLnBrk="0" hangingPunct="1">
              <a:lnSpc>
                <a:spcPct val="90000"/>
              </a:lnSpc>
              <a:spcBef>
                <a:spcPts val="0"/>
              </a:spcBef>
              <a:spcAft>
                <a:spcPts val="600"/>
              </a:spcAft>
              <a:buClrTx/>
              <a:buSzTx/>
              <a:buFont typeface="+mj-lt"/>
              <a:buAutoNum type="arabicPeriod"/>
              <a:tabLst/>
              <a:defRPr/>
            </a:pPr>
            <a:r>
              <a:rPr lang="en-US" sz="900" kern="0" dirty="0">
                <a:solidFill>
                  <a:prstClr val="white"/>
                </a:solidFill>
              </a:rPr>
              <a:t>Offer single packaged solution</a:t>
            </a:r>
            <a:endParaRPr kumimoji="0" lang="en-US" sz="900" b="0" i="0" u="none" strike="noStrike" kern="0" cap="none" spc="0" normalizeH="0" baseline="0" noProof="0" dirty="0">
              <a:ln>
                <a:noFill/>
              </a:ln>
              <a:gradFill>
                <a:gsLst>
                  <a:gs pos="2917">
                    <a:srgbClr val="00188F"/>
                  </a:gs>
                  <a:gs pos="30000">
                    <a:srgbClr val="00188F"/>
                  </a:gs>
                </a:gsLst>
                <a:lin ang="5400000" scaled="0"/>
              </a:gradFill>
              <a:effectLst/>
              <a:uLnTx/>
              <a:uFillTx/>
            </a:endParaRPr>
          </a:p>
          <a:p>
            <a:pPr marL="0" marR="0" lvl="0" indent="0" defTabSz="914400" eaLnBrk="1" fontAlgn="auto" latinLnBrk="0" hangingPunct="1">
              <a:lnSpc>
                <a:spcPct val="90000"/>
              </a:lnSpc>
              <a:spcBef>
                <a:spcPts val="0"/>
              </a:spcBef>
              <a:spcAft>
                <a:spcPts val="600"/>
              </a:spcAft>
              <a:buClrTx/>
              <a:buSzTx/>
              <a:buFontTx/>
              <a:buNone/>
              <a:tabLst/>
              <a:defRPr/>
            </a:pPr>
            <a:endParaRPr kumimoji="0" lang="en-US" sz="900" b="0" i="0" u="none" strike="noStrike" kern="0" cap="none" spc="0" normalizeH="0" baseline="0" noProof="0" dirty="0">
              <a:ln>
                <a:noFill/>
              </a:ln>
              <a:gradFill>
                <a:gsLst>
                  <a:gs pos="2917">
                    <a:srgbClr val="00188F"/>
                  </a:gs>
                  <a:gs pos="30000">
                    <a:srgbClr val="00188F"/>
                  </a:gs>
                </a:gsLst>
                <a:lin ang="5400000" scaled="0"/>
              </a:gradFill>
              <a:effectLst/>
              <a:uLnTx/>
              <a:uFillTx/>
            </a:endParaRPr>
          </a:p>
          <a:p>
            <a:r>
              <a:rPr lang="en-US" sz="900" dirty="0"/>
              <a:t>*More details here: aka.ms/</a:t>
            </a:r>
            <a:r>
              <a:rPr lang="en-US" sz="900" dirty="0" err="1"/>
              <a:t>partnerincentives</a:t>
            </a:r>
            <a:endParaRPr lang="en-US" sz="900" dirty="0"/>
          </a:p>
          <a:p>
            <a:endParaRPr lang="en-US" sz="900" dirty="0"/>
          </a:p>
          <a:p>
            <a:endParaRPr lang="en-US" sz="900" dirty="0"/>
          </a:p>
          <a:p>
            <a:endParaRPr lang="en-US" dirty="0"/>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6 11:0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852612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Bef>
                <a:spcPts val="600"/>
              </a:spcBef>
              <a:spcAft>
                <a:spcPts val="600"/>
              </a:spcAft>
              <a:buFont typeface="+mj-lt"/>
              <a:buNone/>
            </a:pPr>
            <a:r>
              <a:rPr lang="en-US" sz="1050" b="0" dirty="0"/>
              <a:t>Get the most out of </a:t>
            </a:r>
            <a:r>
              <a:rPr lang="en-US" sz="1050" b="0" baseline="0" dirty="0"/>
              <a:t>data by visualizing and analyzing data with greater speed, efficiency, and experience data in new ways.</a:t>
            </a:r>
          </a:p>
          <a:p>
            <a:pPr marL="0" indent="0">
              <a:spcBef>
                <a:spcPts val="600"/>
              </a:spcBef>
              <a:spcAft>
                <a:spcPts val="600"/>
              </a:spcAft>
              <a:buFont typeface="+mj-lt"/>
              <a:buNone/>
            </a:pPr>
            <a:endParaRPr lang="en-US" sz="1050" b="0" baseline="0" dirty="0"/>
          </a:p>
          <a:p>
            <a:pPr marL="0" indent="0">
              <a:spcBef>
                <a:spcPts val="600"/>
              </a:spcBef>
              <a:spcAft>
                <a:spcPts val="600"/>
              </a:spcAft>
              <a:buFont typeface="+mj-lt"/>
              <a:buNone/>
            </a:pPr>
            <a:r>
              <a:rPr lang="en-US" sz="1050" b="0" baseline="0" dirty="0"/>
              <a:t>Power BI has enabled us to be more productive, as well as better allocate time and resources.</a:t>
            </a:r>
          </a:p>
          <a:p>
            <a:pPr marL="0" indent="0">
              <a:spcBef>
                <a:spcPts val="600"/>
              </a:spcBef>
              <a:spcAft>
                <a:spcPts val="600"/>
              </a:spcAft>
              <a:buFont typeface="+mj-lt"/>
              <a:buNone/>
            </a:pPr>
            <a:endParaRPr lang="en-US" sz="1050" b="0" baseline="0" dirty="0"/>
          </a:p>
          <a:p>
            <a:pPr marL="171450" indent="-171450">
              <a:spcBef>
                <a:spcPts val="600"/>
              </a:spcBef>
              <a:spcAft>
                <a:spcPts val="600"/>
              </a:spcAft>
              <a:buFont typeface="Arial" panose="020B0604020202020204" pitchFamily="34" charset="0"/>
              <a:buChar char="•"/>
            </a:pPr>
            <a:r>
              <a:rPr lang="en-US" sz="1050" b="0" baseline="0" dirty="0"/>
              <a:t>Provide a live 360º view of business analytics</a:t>
            </a:r>
          </a:p>
          <a:p>
            <a:pPr marL="171450" indent="-171450">
              <a:spcBef>
                <a:spcPts val="600"/>
              </a:spcBef>
              <a:spcAft>
                <a:spcPts val="600"/>
              </a:spcAft>
              <a:buFont typeface="Arial" panose="020B0604020202020204" pitchFamily="34" charset="0"/>
              <a:buChar char="•"/>
            </a:pPr>
            <a:r>
              <a:rPr lang="en-US" sz="1050" b="0" baseline="0" dirty="0"/>
              <a:t>Get more value from data by translating into insight at the point of impact</a:t>
            </a:r>
          </a:p>
          <a:p>
            <a:pPr marL="171450" indent="-171450">
              <a:spcBef>
                <a:spcPts val="600"/>
              </a:spcBef>
              <a:spcAft>
                <a:spcPts val="600"/>
              </a:spcAft>
              <a:buFont typeface="Arial" panose="020B0604020202020204" pitchFamily="34" charset="0"/>
              <a:buChar char="•"/>
            </a:pPr>
            <a:r>
              <a:rPr lang="en-US" sz="1050" b="0" baseline="0" dirty="0"/>
              <a:t>Receive alerts to important changes in data</a:t>
            </a:r>
          </a:p>
          <a:p>
            <a:pPr marL="171450" indent="-171450">
              <a:spcBef>
                <a:spcPts val="600"/>
              </a:spcBef>
              <a:spcAft>
                <a:spcPts val="600"/>
              </a:spcAft>
              <a:buFont typeface="Arial" panose="020B0604020202020204" pitchFamily="34" charset="0"/>
              <a:buChar char="•"/>
            </a:pPr>
            <a:r>
              <a:rPr lang="en-US" sz="1050" b="0" baseline="0" dirty="0"/>
              <a:t>Integrate Power BI visualizations into applications</a:t>
            </a:r>
          </a:p>
          <a:p>
            <a:pPr marL="171450" indent="-171450">
              <a:spcBef>
                <a:spcPts val="600"/>
              </a:spcBef>
              <a:spcAft>
                <a:spcPts val="600"/>
              </a:spcAft>
              <a:buFont typeface="Arial" panose="020B0604020202020204" pitchFamily="34" charset="0"/>
              <a:buChar char="•"/>
            </a:pPr>
            <a:r>
              <a:rPr lang="en-US" sz="1050" b="0" baseline="0" dirty="0"/>
              <a:t>Stay connected to live dashboards and reports from any device</a:t>
            </a:r>
          </a:p>
          <a:p>
            <a:pPr marL="171450" marR="0" indent="-171450" algn="l" defTabSz="932631" rtl="0" eaLnBrk="1" fontAlgn="auto" latinLnBrk="0" hangingPunct="1">
              <a:lnSpc>
                <a:spcPct val="90000"/>
              </a:lnSpc>
              <a:spcBef>
                <a:spcPts val="600"/>
              </a:spcBef>
              <a:spcAft>
                <a:spcPts val="600"/>
              </a:spcAft>
              <a:buClrTx/>
              <a:buSzTx/>
              <a:buFont typeface="Arial" panose="020B0604020202020204" pitchFamily="34" charset="0"/>
              <a:buChar char="•"/>
              <a:tabLst/>
              <a:defRPr/>
            </a:pPr>
            <a:r>
              <a:rPr lang="en-US" sz="1050" b="0" baseline="0" dirty="0"/>
              <a:t>Native apps for mobile devices: Windows, </a:t>
            </a:r>
            <a:r>
              <a:rPr lang="en-US" sz="1050" b="0" dirty="0"/>
              <a:t>iPad, iPhone, and Android</a:t>
            </a:r>
            <a:endParaRPr lang="en-US" sz="1050" b="0" baseline="0" dirty="0"/>
          </a:p>
          <a:p>
            <a:pPr marL="171450" indent="-171450">
              <a:spcBef>
                <a:spcPts val="600"/>
              </a:spcBef>
              <a:spcAft>
                <a:spcPts val="600"/>
              </a:spcAft>
              <a:buFont typeface="Arial" panose="020B0604020202020204" pitchFamily="34" charset="0"/>
              <a:buChar char="•"/>
            </a:pPr>
            <a:r>
              <a:rPr lang="en-US" sz="1050" b="0" baseline="0" dirty="0"/>
              <a:t>Share and collaborate with colleagues and take action</a:t>
            </a:r>
          </a:p>
          <a:p>
            <a:pPr marL="0" indent="0">
              <a:spcBef>
                <a:spcPts val="600"/>
              </a:spcBef>
              <a:spcAft>
                <a:spcPts val="600"/>
              </a:spcAft>
              <a:buFont typeface="+mj-lt"/>
              <a:buNone/>
            </a:pPr>
            <a:endParaRPr lang="en-US" sz="1050" b="1" dirty="0"/>
          </a:p>
          <a:p>
            <a:pPr marL="228600" indent="-228600">
              <a:spcBef>
                <a:spcPts val="600"/>
              </a:spcBef>
              <a:spcAft>
                <a:spcPts val="600"/>
              </a:spcAft>
              <a:buFont typeface="+mj-lt"/>
              <a:buAutoNum type="arabicPeriod"/>
            </a:pPr>
            <a:r>
              <a:rPr lang="en-US" sz="1050" b="1" dirty="0"/>
              <a:t>Fast, easy access to the data you need.</a:t>
            </a:r>
          </a:p>
          <a:p>
            <a:pPr marL="445836" lvl="1" indent="-228600">
              <a:spcBef>
                <a:spcPts val="600"/>
              </a:spcBef>
              <a:spcAft>
                <a:spcPts val="600"/>
              </a:spcAft>
              <a:buFont typeface="Arial" panose="020B0604020202020204" pitchFamily="34" charset="0"/>
              <a:buChar char="•"/>
            </a:pPr>
            <a:r>
              <a:rPr lang="en-US" sz="1050" b="0" dirty="0"/>
              <a:t>Get started in seconds with a cloud-based service.</a:t>
            </a:r>
          </a:p>
          <a:p>
            <a:pPr marL="445836" lvl="1" indent="-228600">
              <a:spcBef>
                <a:spcPts val="600"/>
              </a:spcBef>
              <a:spcAft>
                <a:spcPts val="600"/>
              </a:spcAft>
              <a:buFont typeface="Arial" panose="020B0604020202020204" pitchFamily="34" charset="0"/>
              <a:buChar char="•"/>
            </a:pPr>
            <a:r>
              <a:rPr lang="en-US" sz="1050" b="0" dirty="0"/>
              <a:t>Begin visualizing your data in minutes with content packs providing pre-built dashboards and reports created by your organization or by popular service providers like Salesforce.com and QuickBooks Online. </a:t>
            </a:r>
          </a:p>
          <a:p>
            <a:pPr marL="445836" lvl="1" indent="-228600">
              <a:spcBef>
                <a:spcPts val="600"/>
              </a:spcBef>
              <a:spcAft>
                <a:spcPts val="600"/>
              </a:spcAft>
              <a:buFont typeface="Arial" panose="020B0604020202020204" pitchFamily="34" charset="0"/>
              <a:buChar char="•"/>
            </a:pPr>
            <a:r>
              <a:rPr lang="en-US" sz="1050" b="0" dirty="0"/>
              <a:t>Access data no matter where it lives, on-premises or in the cloud. </a:t>
            </a:r>
          </a:p>
          <a:p>
            <a:pPr marL="228600" indent="-228600">
              <a:spcBef>
                <a:spcPts val="600"/>
              </a:spcBef>
              <a:spcAft>
                <a:spcPts val="600"/>
              </a:spcAft>
              <a:buFont typeface="+mj-lt"/>
              <a:buAutoNum type="arabicPeriod"/>
            </a:pPr>
            <a:r>
              <a:rPr lang="en-US" sz="1050" b="1" dirty="0"/>
              <a:t>One dashboard, a live 360º view of your business</a:t>
            </a:r>
          </a:p>
          <a:p>
            <a:pPr marL="445836" lvl="1" indent="-228600">
              <a:spcBef>
                <a:spcPts val="600"/>
              </a:spcBef>
              <a:spcAft>
                <a:spcPts val="600"/>
              </a:spcAft>
              <a:buFont typeface="Arial" panose="020B0604020202020204" pitchFamily="34" charset="0"/>
              <a:buChar char="•"/>
            </a:pPr>
            <a:r>
              <a:rPr lang="en-US" sz="1050" b="0" dirty="0"/>
              <a:t>See all your data in one place with live dashboards.</a:t>
            </a:r>
          </a:p>
          <a:p>
            <a:pPr marL="445836" lvl="1" indent="-228600">
              <a:spcBef>
                <a:spcPts val="600"/>
              </a:spcBef>
              <a:spcAft>
                <a:spcPts val="600"/>
              </a:spcAft>
              <a:buFont typeface="Arial" panose="020B0604020202020204" pitchFamily="34" charset="0"/>
              <a:buChar char="•"/>
            </a:pPr>
            <a:r>
              <a:rPr lang="en-US" sz="1050" b="0" dirty="0"/>
              <a:t>Monitor live data to keep an eye on important changes.</a:t>
            </a:r>
          </a:p>
          <a:p>
            <a:pPr marL="445836" lvl="1" indent="-228600">
              <a:spcBef>
                <a:spcPts val="600"/>
              </a:spcBef>
              <a:spcAft>
                <a:spcPts val="600"/>
              </a:spcAft>
              <a:buFont typeface="Arial" panose="020B0604020202020204" pitchFamily="34" charset="0"/>
              <a:buChar char="•"/>
            </a:pPr>
            <a:r>
              <a:rPr lang="en-US" sz="1050" b="0" dirty="0"/>
              <a:t>See your data update in real time with support for streaming data sources.</a:t>
            </a:r>
          </a:p>
          <a:p>
            <a:pPr marL="445836" lvl="1" indent="-228600">
              <a:spcBef>
                <a:spcPts val="600"/>
              </a:spcBef>
              <a:spcAft>
                <a:spcPts val="600"/>
              </a:spcAft>
              <a:buFont typeface="Arial" panose="020B0604020202020204" pitchFamily="34" charset="0"/>
              <a:buChar char="•"/>
            </a:pPr>
            <a:r>
              <a:rPr lang="en-US" sz="1050" b="0" dirty="0"/>
              <a:t>Stay connected to your data with native apps for your phone or tablet.</a:t>
            </a:r>
          </a:p>
          <a:p>
            <a:pPr marL="445836" lvl="1" indent="-228600">
              <a:spcBef>
                <a:spcPts val="600"/>
              </a:spcBef>
              <a:spcAft>
                <a:spcPts val="600"/>
              </a:spcAft>
              <a:buFont typeface="Arial" panose="020B0604020202020204" pitchFamily="34" charset="0"/>
              <a:buChar char="•"/>
            </a:pPr>
            <a:r>
              <a:rPr lang="en-US" sz="1050" b="0" dirty="0"/>
              <a:t>Easily share data and collaborate with colleagues</a:t>
            </a:r>
          </a:p>
          <a:p>
            <a:pPr marL="228600" indent="-228600">
              <a:spcBef>
                <a:spcPts val="600"/>
              </a:spcBef>
              <a:spcAft>
                <a:spcPts val="600"/>
              </a:spcAft>
              <a:buFont typeface="+mj-lt"/>
              <a:buAutoNum type="arabicPeriod"/>
            </a:pPr>
            <a:r>
              <a:rPr lang="en-US" sz="1050" b="1" dirty="0"/>
              <a:t>Explore your data and discover new insights. </a:t>
            </a:r>
          </a:p>
          <a:p>
            <a:pPr marL="445836" lvl="1" indent="-228600">
              <a:spcBef>
                <a:spcPts val="600"/>
              </a:spcBef>
              <a:spcAft>
                <a:spcPts val="600"/>
              </a:spcAft>
              <a:buFont typeface="Arial" panose="020B0604020202020204" pitchFamily="34" charset="0"/>
              <a:buChar char="•"/>
            </a:pPr>
            <a:r>
              <a:rPr lang="en-US" sz="1050" b="0" dirty="0"/>
              <a:t>Power BI Desktop tool for visual data exploration and creation of interactive reports. </a:t>
            </a:r>
          </a:p>
          <a:p>
            <a:pPr marL="445836" lvl="1" indent="-228600">
              <a:spcBef>
                <a:spcPts val="600"/>
              </a:spcBef>
              <a:spcAft>
                <a:spcPts val="600"/>
              </a:spcAft>
              <a:buFont typeface="Arial" panose="020B0604020202020204" pitchFamily="34" charset="0"/>
              <a:buChar char="•"/>
            </a:pPr>
            <a:r>
              <a:rPr lang="en-US" sz="1050" b="0" dirty="0"/>
              <a:t>Drill into interactive web-based reports for underlying detail. </a:t>
            </a:r>
          </a:p>
          <a:p>
            <a:pPr marL="445836" lvl="1" indent="-228600">
              <a:spcBef>
                <a:spcPts val="600"/>
              </a:spcBef>
              <a:spcAft>
                <a:spcPts val="600"/>
              </a:spcAft>
              <a:buFont typeface="Arial" panose="020B0604020202020204" pitchFamily="34" charset="0"/>
              <a:buChar char="•"/>
            </a:pPr>
            <a:r>
              <a:rPr lang="en-US" sz="1050" b="0" dirty="0"/>
              <a:t>Easily get insights from your data with Natural language query, allowing you to explore data in natural language.</a:t>
            </a:r>
          </a:p>
          <a:p>
            <a:pPr marL="445836" lvl="1" indent="-228600">
              <a:spcBef>
                <a:spcPts val="600"/>
              </a:spcBef>
              <a:spcAft>
                <a:spcPts val="600"/>
              </a:spcAft>
              <a:buFont typeface="Arial" panose="020B0604020202020204" pitchFamily="34" charset="0"/>
              <a:buChar char="•"/>
            </a:pPr>
            <a:r>
              <a:rPr lang="en-US" sz="1050" b="0" dirty="0"/>
              <a:t>Visually explore your data and uncover new insights. </a:t>
            </a:r>
          </a:p>
          <a:p>
            <a:pPr marL="445836" lvl="1" indent="-228600">
              <a:spcBef>
                <a:spcPts val="600"/>
              </a:spcBef>
              <a:spcAft>
                <a:spcPts val="600"/>
              </a:spcAft>
              <a:buFont typeface="Arial" panose="020B0604020202020204" pitchFamily="34" charset="0"/>
              <a:buChar char="•"/>
            </a:pPr>
            <a:r>
              <a:rPr lang="en-US" sz="1050" b="0" dirty="0"/>
              <a:t>Pin new visualizations to your dashboard to continue to monitor performance.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6 11:0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363850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5.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8.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12.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4.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8.png"/><Relationship Id="rId5" Type="http://schemas.openxmlformats.org/officeDocument/2006/relationships/image" Target="../media/image27.emf"/><Relationship Id="rId4" Type="http://schemas.openxmlformats.org/officeDocument/2006/relationships/oleObject" Target="../embeddings/oleObject1.bin"/></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emf"/><Relationship Id="rId1" Type="http://schemas.openxmlformats.org/officeDocument/2006/relationships/slideMaster" Target="../slideMasters/slideMaster15.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5.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16.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16.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1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9.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27.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30.png"/><Relationship Id="rId5" Type="http://schemas.openxmlformats.org/officeDocument/2006/relationships/image" Target="../media/image27.emf"/><Relationship Id="rId4" Type="http://schemas.openxmlformats.org/officeDocument/2006/relationships/oleObject" Target="../embeddings/oleObject4.bin"/></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5.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19.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19.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0.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20.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2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21.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21.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gray">
          <a:xfrm>
            <a:off x="10607310" y="6182441"/>
            <a:ext cx="1552931" cy="332660"/>
          </a:xfrm>
          <a:prstGeom prst="rect">
            <a:avLst/>
          </a:prstGeom>
        </p:spPr>
      </p:pic>
      <p:pic>
        <p:nvPicPr>
          <p:cNvPr id="3" name="Picture 2"/>
          <p:cNvPicPr>
            <a:picLocks noChangeAspect="1"/>
          </p:cNvPicPr>
          <p:nvPr userDrawn="1"/>
        </p:nvPicPr>
        <p:blipFill>
          <a:blip r:embed="rId3">
            <a:lum bright="100000"/>
          </a:blip>
          <a:stretch>
            <a:fillRect/>
          </a:stretch>
        </p:blipFill>
        <p:spPr>
          <a:xfrm>
            <a:off x="457201" y="423277"/>
            <a:ext cx="7148250" cy="1350756"/>
          </a:xfrm>
          <a:prstGeom prst="rect">
            <a:avLst/>
          </a:prstGeom>
        </p:spPr>
      </p:pic>
    </p:spTree>
    <p:extLst>
      <p:ext uri="{BB962C8B-B14F-4D97-AF65-F5344CB8AC3E}">
        <p14:creationId xmlns:p14="http://schemas.microsoft.com/office/powerpoint/2010/main" val="2352431010"/>
      </p:ext>
    </p:extLst>
  </p:cSld>
  <p:clrMapOvr>
    <a:masterClrMapping/>
  </p:clrMapOvr>
  <p:transition>
    <p:fade/>
  </p:transition>
  <p:extLst mod="1">
    <p:ext uri="{DCECCB84-F9BA-43D5-87BE-67443E8EF086}">
      <p15:sldGuideLst xmlns:p15="http://schemas.microsoft.com/office/powerpoint/2012/main">
        <p15:guide id="1" pos="392" userDrawn="1">
          <p15:clr>
            <a:srgbClr val="C35EA4"/>
          </p15:clr>
        </p15:guide>
        <p15:guide id="2" pos="10263" userDrawn="1">
          <p15:clr>
            <a:srgbClr val="C35EA4"/>
          </p15:clr>
        </p15:guide>
        <p15:guide id="3" orient="horz" pos="411" userDrawn="1">
          <p15:clr>
            <a:srgbClr val="C35EA4"/>
          </p15:clr>
        </p15:guide>
        <p15:guide id="4" orient="horz" pos="5581"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1"/>
            <a:ext cx="11889564" cy="2091819"/>
          </a:xfrm>
        </p:spPr>
        <p:txBody>
          <a:bodyPr/>
          <a:lstStyle>
            <a:lvl1pPr marL="0" indent="0">
              <a:buNone/>
              <a:defRPr/>
            </a:lvl1pPr>
            <a:lvl2pPr marL="28570" indent="0">
              <a:buNone/>
              <a:defRPr sz="2000"/>
            </a:lvl2pPr>
            <a:lvl3pPr marL="223800" indent="0">
              <a:buNone/>
              <a:defRPr sz="2000"/>
            </a:lvl3pPr>
            <a:lvl4pPr marL="476170" indent="0">
              <a:buNone/>
              <a:defRPr sz="1801"/>
            </a:lvl4pPr>
            <a:lvl5pPr marL="739651" indent="0">
              <a:buNone/>
              <a:defRPr sz="180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327496" y="6697629"/>
            <a:ext cx="3781484"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849771381"/>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738536"/>
          </a:xfrm>
        </p:spPr>
        <p:txBody>
          <a:bodyPr/>
          <a:lstStyle/>
          <a:p>
            <a:endParaRPr lang="en-US" dirty="0"/>
          </a:p>
        </p:txBody>
      </p:sp>
      <p:sp>
        <p:nvSpPr>
          <p:cNvPr id="2" name="Title 1"/>
          <p:cNvSpPr>
            <a:spLocks noGrp="1"/>
          </p:cNvSpPr>
          <p:nvPr>
            <p:ph type="title"/>
          </p:nvPr>
        </p:nvSpPr>
        <p:spPr>
          <a:xfrm>
            <a:off x="274321" y="1211263"/>
            <a:ext cx="4572318" cy="4572000"/>
          </a:xfrm>
        </p:spPr>
        <p:txBody>
          <a:bodyPr/>
          <a:lstStyle>
            <a:lvl1pPr>
              <a:defRPr sz="4799"/>
            </a:lvl1pPr>
          </a:lstStyle>
          <a:p>
            <a:r>
              <a:rPr lang="en-US" dirty="0"/>
              <a:t>Click to edit Master title style</a:t>
            </a:r>
          </a:p>
        </p:txBody>
      </p:sp>
    </p:spTree>
    <p:extLst>
      <p:ext uri="{BB962C8B-B14F-4D97-AF65-F5344CB8AC3E}">
        <p14:creationId xmlns:p14="http://schemas.microsoft.com/office/powerpoint/2010/main" val="2301970024"/>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5726351"/>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Only">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87973877"/>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514473417"/>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9" y="1759883"/>
            <a:ext cx="3474739" cy="3474761"/>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2"/>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2"/>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8432984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39" y="4137020"/>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844" indent="0">
              <a:buFontTx/>
              <a:buNone/>
              <a:defRPr/>
            </a:lvl2pPr>
            <a:lvl3pPr marL="571407" indent="0">
              <a:buFontTx/>
              <a:buNone/>
              <a:defRPr/>
            </a:lvl3pPr>
            <a:lvl4pPr marL="799968" indent="0">
              <a:buFontTx/>
              <a:buNone/>
              <a:defRPr/>
            </a:lvl4pPr>
            <a:lvl5pPr marL="1028530"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0" y="4137021"/>
            <a:ext cx="274291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844" indent="0">
              <a:buFontTx/>
              <a:buNone/>
              <a:defRPr/>
            </a:lvl2pPr>
            <a:lvl3pPr marL="571407" indent="0">
              <a:buFontTx/>
              <a:buNone/>
              <a:defRPr/>
            </a:lvl3pPr>
            <a:lvl4pPr marL="799968" indent="0">
              <a:buFontTx/>
              <a:buNone/>
              <a:defRPr/>
            </a:lvl4pPr>
            <a:lvl5pPr marL="1028530"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1"/>
            <a:ext cx="274291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844" indent="0">
              <a:buFontTx/>
              <a:buNone/>
              <a:defRPr/>
            </a:lvl2pPr>
            <a:lvl3pPr marL="571407" indent="0">
              <a:buFontTx/>
              <a:buNone/>
              <a:defRPr/>
            </a:lvl3pPr>
            <a:lvl4pPr marL="799968" indent="0">
              <a:buFontTx/>
              <a:buNone/>
              <a:defRPr/>
            </a:lvl4pPr>
            <a:lvl5pPr marL="1028530"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5" y="4137021"/>
            <a:ext cx="274291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844" indent="0">
              <a:buFontTx/>
              <a:buNone/>
              <a:defRPr/>
            </a:lvl2pPr>
            <a:lvl3pPr marL="571407" indent="0">
              <a:buFontTx/>
              <a:buNone/>
              <a:defRPr/>
            </a:lvl3pPr>
            <a:lvl4pPr marL="799968" indent="0">
              <a:buFontTx/>
              <a:buNone/>
              <a:defRPr/>
            </a:lvl4pPr>
            <a:lvl5pPr marL="1028530"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39"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44" indent="0">
              <a:buFontTx/>
              <a:buNone/>
              <a:defRPr/>
            </a:lvl2pPr>
            <a:lvl3pPr marL="571407" indent="0">
              <a:buFontTx/>
              <a:buNone/>
              <a:defRPr/>
            </a:lvl3pPr>
            <a:lvl4pPr marL="799968" indent="0">
              <a:buFontTx/>
              <a:buNone/>
              <a:defRPr/>
            </a:lvl4pPr>
            <a:lvl5pPr marL="1028530"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5"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44" indent="0">
              <a:buFontTx/>
              <a:buNone/>
              <a:defRPr/>
            </a:lvl2pPr>
            <a:lvl3pPr marL="571407" indent="0">
              <a:buFontTx/>
              <a:buNone/>
              <a:defRPr/>
            </a:lvl3pPr>
            <a:lvl4pPr marL="799968" indent="0">
              <a:buFontTx/>
              <a:buNone/>
              <a:defRPr/>
            </a:lvl4pPr>
            <a:lvl5pPr marL="1028530"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5" y="1274472"/>
            <a:ext cx="2742915"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44" indent="0">
              <a:buFontTx/>
              <a:buNone/>
              <a:defRPr/>
            </a:lvl2pPr>
            <a:lvl3pPr marL="571407" indent="0">
              <a:buFontTx/>
              <a:buNone/>
              <a:defRPr/>
            </a:lvl3pPr>
            <a:lvl4pPr marL="799968" indent="0">
              <a:buFontTx/>
              <a:buNone/>
              <a:defRPr/>
            </a:lvl4pPr>
            <a:lvl5pPr marL="1028530"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6" y="1274472"/>
            <a:ext cx="2742915"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44" indent="0">
              <a:buFontTx/>
              <a:buNone/>
              <a:defRPr/>
            </a:lvl2pPr>
            <a:lvl3pPr marL="571407" indent="0">
              <a:buFontTx/>
              <a:buNone/>
              <a:defRPr/>
            </a:lvl3pPr>
            <a:lvl4pPr marL="799968" indent="0">
              <a:buFontTx/>
              <a:buNone/>
              <a:defRPr/>
            </a:lvl4pPr>
            <a:lvl5pPr marL="1028530"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565994192"/>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19"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3"/>
            <a:ext cx="7315200" cy="517065"/>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621791258"/>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19" y="296899"/>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9" y="1697063"/>
            <a:ext cx="10972800" cy="1965734"/>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1"/>
            </a:lvl4pPr>
            <a:lvl5pPr>
              <a:defRPr sz="180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23452945"/>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19"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3"/>
            <a:ext cx="7315200" cy="517065"/>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2223359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19" y="296899"/>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9" y="1697063"/>
            <a:ext cx="10972800" cy="1965734"/>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1"/>
            </a:lvl4pPr>
            <a:lvl5pPr>
              <a:defRPr sz="180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29558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1"/>
            <a:ext cx="11889564" cy="2091819"/>
          </a:xfrm>
        </p:spPr>
        <p:txBody>
          <a:bodyPr/>
          <a:lstStyle>
            <a:lvl1pPr marL="0" indent="0">
              <a:buNone/>
              <a:defRPr>
                <a:gradFill>
                  <a:gsLst>
                    <a:gs pos="2920">
                      <a:schemeClr val="tx2"/>
                    </a:gs>
                    <a:gs pos="39000">
                      <a:schemeClr val="tx2"/>
                    </a:gs>
                  </a:gsLst>
                  <a:lin ang="5400000" scaled="0"/>
                </a:gradFill>
              </a:defRPr>
            </a:lvl1pPr>
            <a:lvl2pPr marL="28570" indent="0">
              <a:buNone/>
              <a:defRPr sz="2000"/>
            </a:lvl2pPr>
            <a:lvl3pPr marL="223800" indent="0">
              <a:buNone/>
              <a:defRPr sz="2000"/>
            </a:lvl3pPr>
            <a:lvl4pPr marL="476170" indent="0">
              <a:buNone/>
              <a:defRPr sz="1801"/>
            </a:lvl4pPr>
            <a:lvl5pPr marL="739651" indent="0">
              <a:buNone/>
              <a:defRPr sz="180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327496" y="6697629"/>
            <a:ext cx="3781484"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1757163"/>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7" y="1697039"/>
            <a:ext cx="9144000" cy="849335"/>
          </a:xfrm>
        </p:spPr>
        <p:txBody>
          <a:bodyPr/>
          <a:lstStyle>
            <a:lvl1pPr marL="0" indent="0">
              <a:buNone/>
              <a:defRPr sz="4799"/>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61582786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7" y="1697039"/>
            <a:ext cx="9144000" cy="849335"/>
          </a:xfrm>
        </p:spPr>
        <p:txBody>
          <a:bodyPr/>
          <a:lstStyle>
            <a:lvl1pPr marL="0" indent="0">
              <a:buNone/>
              <a:defRPr sz="4799"/>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0086801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97"/>
            <a:ext cx="9144318" cy="5486366"/>
          </a:xfrm>
        </p:spPr>
        <p:txBody>
          <a:bodyPr/>
          <a:lstStyle>
            <a:lvl1pPr>
              <a:defRPr sz="4799">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528883101"/>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2751698"/>
          </a:xfrm>
          <a:noFill/>
        </p:spPr>
        <p:txBody>
          <a:bodyPr tIns="91440" bIns="91440" anchor="t" anchorCtr="0"/>
          <a:lstStyle>
            <a:lvl1pPr>
              <a:defRPr sz="7199" spc="-101"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58"/>
            <a:ext cx="10058400"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79549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2751698"/>
          </a:xfrm>
          <a:noFill/>
        </p:spPr>
        <p:txBody>
          <a:bodyPr tIns="91440" bIns="91440" anchor="t" anchorCtr="0"/>
          <a:lstStyle>
            <a:lvl1pPr>
              <a:defRPr sz="7199" spc="-101"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8219764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3"/>
            <a:ext cx="11887200" cy="1831975"/>
          </a:xfrm>
          <a:noFill/>
        </p:spPr>
        <p:txBody>
          <a:bodyPr tIns="91440" bIns="91440" anchor="t" anchorCtr="0"/>
          <a:lstStyle>
            <a:lvl1pPr>
              <a:defRPr sz="8800"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87018894"/>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1"/>
            <a:ext cx="11887200" cy="2510095"/>
          </a:xfrm>
          <a:prstGeom prst="rect">
            <a:avLst/>
          </a:prstGeom>
        </p:spPr>
        <p:txBody>
          <a:bodyPr/>
          <a:lstStyle>
            <a:lvl1pPr marL="290494" indent="-290494">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63" indent="-280969">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56" indent="-29049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42" indent="-228586">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126" indent="-228586">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1"/>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8784701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1"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8"/>
            <a:ext cx="9143937"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354" y="479776"/>
            <a:ext cx="1639084" cy="359162"/>
          </a:xfrm>
          <a:prstGeom prst="rect">
            <a:avLst/>
          </a:prstGeom>
        </p:spPr>
      </p:pic>
    </p:spTree>
    <p:extLst>
      <p:ext uri="{BB962C8B-B14F-4D97-AF65-F5344CB8AC3E}">
        <p14:creationId xmlns:p14="http://schemas.microsoft.com/office/powerpoint/2010/main" val="2712928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436475" cy="738536"/>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262938" y="832967"/>
            <a:ext cx="11910600" cy="5876624"/>
          </a:xfrm>
          <a:prstGeom prst="rect">
            <a:avLst/>
          </a:prstGeom>
          <a:noFill/>
          <a:ln>
            <a:noFill/>
          </a:ln>
        </p:spPr>
      </p:pic>
      <p:sp>
        <p:nvSpPr>
          <p:cNvPr id="5" name="Text Placeholder 4"/>
          <p:cNvSpPr>
            <a:spLocks noGrp="1"/>
          </p:cNvSpPr>
          <p:nvPr>
            <p:ph type="body" sz="quarter" idx="12" hasCustomPrompt="1"/>
          </p:nvPr>
        </p:nvSpPr>
        <p:spPr>
          <a:xfrm>
            <a:off x="276541"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4" y="2125677"/>
            <a:ext cx="5187450" cy="1828800"/>
          </a:xfrm>
          <a:noFill/>
        </p:spPr>
        <p:txBody>
          <a:bodyPr lIns="146304" tIns="91440" rIns="146304" bIns="91440" anchor="t" anchorCtr="0"/>
          <a:lstStyle>
            <a:lvl1pPr>
              <a:defRPr sz="6000" spc="-101"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257798" y="328911"/>
            <a:ext cx="9915740" cy="6380679"/>
          </a:xfrm>
          <a:prstGeom prst="rect">
            <a:avLst/>
          </a:prstGeom>
          <a:noFill/>
          <a:ln>
            <a:noFill/>
          </a:ln>
        </p:spPr>
      </p:pic>
    </p:spTree>
    <p:extLst>
      <p:ext uri="{BB962C8B-B14F-4D97-AF65-F5344CB8AC3E}">
        <p14:creationId xmlns:p14="http://schemas.microsoft.com/office/powerpoint/2010/main" val="23260004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436475" cy="738536"/>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6541"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74704" y="2125677"/>
            <a:ext cx="5187450" cy="1828800"/>
          </a:xfrm>
          <a:noFill/>
        </p:spPr>
        <p:txBody>
          <a:bodyPr lIns="146304" tIns="91440" rIns="146304" bIns="91440" anchor="t" anchorCtr="0"/>
          <a:lstStyle>
            <a:lvl1pPr>
              <a:defRPr sz="6000" spc="-101"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12362656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2"/>
            <a:ext cx="11887200" cy="2294635"/>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27496" y="6697629"/>
            <a:ext cx="3781484"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722938796"/>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436475" cy="738536"/>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6542" y="2125664"/>
            <a:ext cx="5484498" cy="1828805"/>
          </a:xfrm>
          <a:noFill/>
        </p:spPr>
        <p:txBody>
          <a:bodyPr lIns="182880" tIns="146304" rIns="182880" bIns="146304">
            <a:noAutofit/>
          </a:bodyPr>
          <a:lstStyle>
            <a:lvl1pPr marL="0" indent="0">
              <a:spcBef>
                <a:spcPts val="0"/>
              </a:spcBef>
              <a:buNone/>
              <a:defRPr sz="3600"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74703" y="296862"/>
            <a:ext cx="5486335" cy="1828800"/>
          </a:xfrm>
          <a:noFill/>
        </p:spPr>
        <p:txBody>
          <a:bodyPr lIns="146304" tIns="91440" rIns="146304" bIns="91440" anchor="t" anchorCtr="0"/>
          <a:lstStyle>
            <a:lvl1pPr>
              <a:defRPr sz="6000" spc="-101"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20627856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738536"/>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74703" y="2125663"/>
            <a:ext cx="5486335" cy="3657600"/>
          </a:xfrm>
          <a:noFill/>
        </p:spPr>
        <p:txBody>
          <a:bodyPr lIns="146304" tIns="91440" rIns="146304" bIns="91440" anchor="t" anchorCtr="0"/>
          <a:lstStyle>
            <a:lvl1pPr>
              <a:defRPr sz="6000" spc="-101"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20296702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436475" cy="738536"/>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6033081" y="723013"/>
            <a:ext cx="640080" cy="640080"/>
          </a:xfrm>
          <a:solidFill>
            <a:srgbClr val="68217A"/>
          </a:solidFill>
        </p:spPr>
        <p:txBody>
          <a:bodyPr anchor="ctr">
            <a:noAutofit/>
          </a:bodyPr>
          <a:lstStyle>
            <a:lvl1pPr marL="0" indent="0">
              <a:lnSpc>
                <a:spcPts val="600"/>
              </a:lnSpc>
              <a:spcBef>
                <a:spcPts val="0"/>
              </a:spcBef>
              <a:buNone/>
              <a:defRPr sz="600">
                <a:solidFill>
                  <a:schemeClr val="bg1"/>
                </a:solidFill>
              </a:defRPr>
            </a:lvl1pPr>
            <a:lvl2pPr marL="342877" indent="0">
              <a:buNone/>
              <a:defRPr sz="3200"/>
            </a:lvl2pPr>
            <a:lvl3pPr marL="571463" indent="0">
              <a:buNone/>
              <a:defRPr sz="3200"/>
            </a:lvl3pPr>
            <a:lvl4pPr marL="800048" indent="0">
              <a:buNone/>
              <a:defRPr sz="3200"/>
            </a:lvl4pPr>
            <a:lvl5pPr marL="1028632" indent="0">
              <a:buNone/>
              <a:defRPr sz="3200"/>
            </a:lvl5pPr>
          </a:lstStyle>
          <a:p>
            <a:pPr lvl="0"/>
            <a:r>
              <a:rPr lang="en-US"/>
              <a:t> </a:t>
            </a:r>
          </a:p>
        </p:txBody>
      </p:sp>
      <p:sp>
        <p:nvSpPr>
          <p:cNvPr id="14" name="Text Placeholder 5"/>
          <p:cNvSpPr>
            <a:spLocks noGrp="1"/>
          </p:cNvSpPr>
          <p:nvPr>
            <p:ph type="body" sz="quarter" idx="16" hasCustomPrompt="1"/>
          </p:nvPr>
        </p:nvSpPr>
        <p:spPr>
          <a:xfrm>
            <a:off x="9418639" y="912247"/>
            <a:ext cx="640080" cy="261610"/>
          </a:xfrm>
          <a:solidFill>
            <a:srgbClr val="68217A"/>
          </a:solidFill>
        </p:spPr>
        <p:txBody>
          <a:bodyPr anchor="ctr"/>
          <a:lstStyle>
            <a:lvl1pPr marL="0" indent="0">
              <a:lnSpc>
                <a:spcPts val="600"/>
              </a:lnSpc>
              <a:spcBef>
                <a:spcPts val="0"/>
              </a:spcBef>
              <a:buNone/>
              <a:defRPr sz="600">
                <a:solidFill>
                  <a:schemeClr val="bg1"/>
                </a:solidFill>
              </a:defRPr>
            </a:lvl1pPr>
            <a:lvl2pPr marL="342877" indent="0">
              <a:buNone/>
              <a:defRPr sz="3200"/>
            </a:lvl2pPr>
            <a:lvl3pPr marL="571463" indent="0">
              <a:buNone/>
              <a:defRPr sz="3200"/>
            </a:lvl3pPr>
            <a:lvl4pPr marL="800048" indent="0">
              <a:buNone/>
              <a:defRPr sz="3200"/>
            </a:lvl4pPr>
            <a:lvl5pPr marL="1028632" indent="0">
              <a:buNone/>
              <a:defRPr sz="3200"/>
            </a:lvl5pPr>
          </a:lstStyle>
          <a:p>
            <a:pPr lvl="0"/>
            <a:r>
              <a:rPr lang="en-US"/>
              <a:t> </a:t>
            </a:r>
          </a:p>
        </p:txBody>
      </p:sp>
      <p:sp>
        <p:nvSpPr>
          <p:cNvPr id="15" name="Text Placeholder 5"/>
          <p:cNvSpPr>
            <a:spLocks noGrp="1"/>
          </p:cNvSpPr>
          <p:nvPr>
            <p:ph type="body" sz="quarter" idx="17" hasCustomPrompt="1"/>
          </p:nvPr>
        </p:nvSpPr>
        <p:spPr>
          <a:xfrm>
            <a:off x="9418639" y="3821068"/>
            <a:ext cx="640080" cy="261610"/>
          </a:xfrm>
          <a:solidFill>
            <a:srgbClr val="68217A"/>
          </a:solidFill>
        </p:spPr>
        <p:txBody>
          <a:bodyPr anchor="ctr"/>
          <a:lstStyle>
            <a:lvl1pPr marL="0" indent="0">
              <a:lnSpc>
                <a:spcPts val="600"/>
              </a:lnSpc>
              <a:spcBef>
                <a:spcPts val="0"/>
              </a:spcBef>
              <a:buNone/>
              <a:defRPr sz="600">
                <a:solidFill>
                  <a:schemeClr val="bg1"/>
                </a:solidFill>
              </a:defRPr>
            </a:lvl1pPr>
            <a:lvl2pPr marL="342877" indent="0">
              <a:buNone/>
              <a:defRPr sz="3200"/>
            </a:lvl2pPr>
            <a:lvl3pPr marL="571463" indent="0">
              <a:buNone/>
              <a:defRPr sz="3200"/>
            </a:lvl3pPr>
            <a:lvl4pPr marL="800048" indent="0">
              <a:buNone/>
              <a:defRPr sz="3200"/>
            </a:lvl4pPr>
            <a:lvl5pPr marL="1028632" indent="0">
              <a:buNone/>
              <a:defRPr sz="3200"/>
            </a:lvl5pPr>
          </a:lstStyle>
          <a:p>
            <a:pPr lvl="0"/>
            <a:r>
              <a:rPr lang="en-US"/>
              <a:t> </a:t>
            </a:r>
          </a:p>
        </p:txBody>
      </p:sp>
      <p:sp>
        <p:nvSpPr>
          <p:cNvPr id="17" name="Title 16"/>
          <p:cNvSpPr>
            <a:spLocks noGrp="1"/>
          </p:cNvSpPr>
          <p:nvPr>
            <p:ph type="title"/>
          </p:nvPr>
        </p:nvSpPr>
        <p:spPr>
          <a:xfrm>
            <a:off x="4394201" y="3628285"/>
            <a:ext cx="2278960" cy="2272453"/>
          </a:xfrm>
          <a:solidFill>
            <a:srgbClr val="68217A"/>
          </a:solidFill>
        </p:spPr>
        <p:txBody>
          <a:bodyPr lIns="182880" tIns="146304" rIns="182880" bIns="146304"/>
          <a:lstStyle>
            <a:lvl1pPr>
              <a:defRPr sz="3200">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445437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19" y="296898"/>
            <a:ext cx="11887518" cy="3200365"/>
          </a:xfrm>
        </p:spPr>
        <p:txBody>
          <a:bodyPr/>
          <a:lstStyle>
            <a:lvl1pPr>
              <a:defRPr sz="5800">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406137"/>
          </a:xfrm>
        </p:spPr>
        <p:txBody>
          <a:bodyPr/>
          <a:lstStyle>
            <a:lvl1pPr marL="0" indent="0">
              <a:buNone/>
              <a:defRPr sz="1599">
                <a:gradFill>
                  <a:gsLst>
                    <a:gs pos="1250">
                      <a:schemeClr val="tx1"/>
                    </a:gs>
                    <a:gs pos="100000">
                      <a:schemeClr val="tx1"/>
                    </a:gs>
                  </a:gsLst>
                  <a:lin ang="5400000" scaled="0"/>
                </a:gradFill>
                <a:latin typeface="+mn-lt"/>
              </a:defRPr>
            </a:lvl1pPr>
            <a:lvl2pPr>
              <a:defRPr sz="1599"/>
            </a:lvl2pPr>
            <a:lvl3pPr>
              <a:defRPr sz="1599"/>
            </a:lvl3pPr>
            <a:lvl4pPr>
              <a:defRPr sz="1599"/>
            </a:lvl4pPr>
            <a:lvl5pPr marL="1028632" indent="0">
              <a:buNone/>
              <a:defRPr sz="1599"/>
            </a:lvl5pPr>
          </a:lstStyle>
          <a:p>
            <a:pPr lvl="0"/>
            <a:r>
              <a:rPr lang="en-US"/>
              <a:t>Click to edit Master text styles</a:t>
            </a:r>
          </a:p>
        </p:txBody>
      </p:sp>
    </p:spTree>
    <p:extLst>
      <p:ext uri="{BB962C8B-B14F-4D97-AF65-F5344CB8AC3E}">
        <p14:creationId xmlns:p14="http://schemas.microsoft.com/office/powerpoint/2010/main" val="126415460"/>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19" y="296898"/>
            <a:ext cx="11887518" cy="3200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5"/>
            <a:ext cx="5486400" cy="406137"/>
          </a:xfrm>
        </p:spPr>
        <p:txBody>
          <a:bodyPr/>
          <a:lstStyle>
            <a:lvl1pPr marL="0" indent="0">
              <a:buNone/>
              <a:defRPr sz="1599">
                <a:gradFill>
                  <a:gsLst>
                    <a:gs pos="92035">
                      <a:schemeClr val="tx1"/>
                    </a:gs>
                    <a:gs pos="84000">
                      <a:schemeClr val="tx1"/>
                    </a:gs>
                  </a:gsLst>
                  <a:lin ang="5400000" scaled="0"/>
                </a:gradFill>
                <a:latin typeface="+mn-lt"/>
              </a:defRPr>
            </a:lvl1pPr>
            <a:lvl2pPr>
              <a:defRPr sz="1599">
                <a:gradFill>
                  <a:gsLst>
                    <a:gs pos="94030">
                      <a:srgbClr val="FFFFFF"/>
                    </a:gs>
                    <a:gs pos="68000">
                      <a:srgbClr val="FFFFFF"/>
                    </a:gs>
                  </a:gsLst>
                  <a:lin ang="5400000" scaled="0"/>
                </a:gradFill>
              </a:defRPr>
            </a:lvl2pPr>
            <a:lvl3pPr>
              <a:defRPr sz="1599">
                <a:gradFill>
                  <a:gsLst>
                    <a:gs pos="94030">
                      <a:srgbClr val="FFFFFF"/>
                    </a:gs>
                    <a:gs pos="68000">
                      <a:srgbClr val="FFFFFF"/>
                    </a:gs>
                  </a:gsLst>
                  <a:lin ang="5400000" scaled="0"/>
                </a:gradFill>
              </a:defRPr>
            </a:lvl3pPr>
            <a:lvl4pPr>
              <a:defRPr sz="1599">
                <a:gradFill>
                  <a:gsLst>
                    <a:gs pos="94030">
                      <a:srgbClr val="FFFFFF"/>
                    </a:gs>
                    <a:gs pos="68000">
                      <a:srgbClr val="FFFFFF"/>
                    </a:gs>
                  </a:gsLst>
                  <a:lin ang="5400000" scaled="0"/>
                </a:gradFill>
              </a:defRPr>
            </a:lvl4pPr>
            <a:lvl5pPr>
              <a:defRPr sz="1599">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1574382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19" y="296898"/>
            <a:ext cx="11887518" cy="3200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406137"/>
          </a:xfrm>
        </p:spPr>
        <p:txBody>
          <a:bodyPr/>
          <a:lstStyle>
            <a:lvl1pPr marL="0" indent="0">
              <a:buNone/>
              <a:defRPr sz="1599">
                <a:gradFill>
                  <a:gsLst>
                    <a:gs pos="94690">
                      <a:schemeClr val="tx1"/>
                    </a:gs>
                    <a:gs pos="86000">
                      <a:schemeClr val="tx1"/>
                    </a:gs>
                  </a:gsLst>
                  <a:lin ang="5400000" scaled="0"/>
                </a:gradFill>
                <a:latin typeface="+mn-lt"/>
              </a:defRPr>
            </a:lvl1pPr>
            <a:lvl2pPr>
              <a:defRPr sz="1599">
                <a:gradFill>
                  <a:gsLst>
                    <a:gs pos="94030">
                      <a:srgbClr val="FFFFFF"/>
                    </a:gs>
                    <a:gs pos="68000">
                      <a:srgbClr val="FFFFFF"/>
                    </a:gs>
                  </a:gsLst>
                  <a:lin ang="5400000" scaled="0"/>
                </a:gradFill>
              </a:defRPr>
            </a:lvl2pPr>
            <a:lvl3pPr>
              <a:defRPr sz="1599">
                <a:gradFill>
                  <a:gsLst>
                    <a:gs pos="94030">
                      <a:srgbClr val="FFFFFF"/>
                    </a:gs>
                    <a:gs pos="68000">
                      <a:srgbClr val="FFFFFF"/>
                    </a:gs>
                  </a:gsLst>
                  <a:lin ang="5400000" scaled="0"/>
                </a:gradFill>
              </a:defRPr>
            </a:lvl3pPr>
            <a:lvl4pPr>
              <a:defRPr sz="1599">
                <a:gradFill>
                  <a:gsLst>
                    <a:gs pos="94030">
                      <a:srgbClr val="FFFFFF"/>
                    </a:gs>
                    <a:gs pos="68000">
                      <a:srgbClr val="FFFFFF"/>
                    </a:gs>
                  </a:gsLst>
                  <a:lin ang="5400000" scaled="0"/>
                </a:gradFill>
              </a:defRPr>
            </a:lvl4pPr>
            <a:lvl5pPr>
              <a:defRPr sz="1599">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5885433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19"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3"/>
            <a:ext cx="7315200" cy="517065"/>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12915441"/>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19" y="296898"/>
            <a:ext cx="11887518" cy="1828766"/>
          </a:xfrm>
        </p:spPr>
        <p:txBody>
          <a:bodyPr/>
          <a:lstStyle>
            <a:lvl1pPr>
              <a:defRPr sz="5800">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3"/>
            <a:ext cx="7315200" cy="517065"/>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0527168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19" y="296898"/>
            <a:ext cx="11887518" cy="1828766"/>
          </a:xfrm>
        </p:spPr>
        <p:txBody>
          <a:bodyPr/>
          <a:lstStyle>
            <a:lvl1pPr>
              <a:defRPr sz="5800">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3"/>
            <a:ext cx="7315200" cy="517065"/>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0885883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19" y="296899"/>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9" y="1697063"/>
            <a:ext cx="10972800" cy="1965734"/>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1"/>
            </a:lvl4pPr>
            <a:lvl5pPr>
              <a:defRPr sz="180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9008806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2"/>
            <a:ext cx="11887200" cy="2294635"/>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27496" y="6697629"/>
            <a:ext cx="3781484"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494913078"/>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1"/>
            <a:ext cx="6002337" cy="738536"/>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761038" y="1211263"/>
            <a:ext cx="6400800" cy="600164"/>
          </a:xfrm>
        </p:spPr>
        <p:txBody>
          <a:bodyPr/>
          <a:lstStyle>
            <a:lvl1pPr marL="0" indent="0">
              <a:buNone/>
              <a:defRPr sz="3000"/>
            </a:lvl1pPr>
          </a:lstStyle>
          <a:p>
            <a:pPr lvl="0"/>
            <a:r>
              <a:rPr lang="en-US"/>
              <a:t>Click to edit Master text styles</a:t>
            </a:r>
          </a:p>
        </p:txBody>
      </p:sp>
    </p:spTree>
    <p:extLst>
      <p:ext uri="{BB962C8B-B14F-4D97-AF65-F5344CB8AC3E}">
        <p14:creationId xmlns:p14="http://schemas.microsoft.com/office/powerpoint/2010/main" val="2108308713"/>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95256606"/>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
        <p:nvSpPr>
          <p:cNvPr id="4" name="Content Placeholder 3"/>
          <p:cNvSpPr>
            <a:spLocks noGrp="1"/>
          </p:cNvSpPr>
          <p:nvPr>
            <p:ph sz="quarter" idx="10"/>
          </p:nvPr>
        </p:nvSpPr>
        <p:spPr>
          <a:xfrm>
            <a:off x="274637" y="1697038"/>
            <a:ext cx="9144000" cy="683264"/>
          </a:xfrm>
        </p:spPr>
        <p:txBody>
          <a:bodyPr/>
          <a:lstStyle>
            <a:lvl1pPr marL="0" indent="0">
              <a:buNone/>
              <a:defRPr sz="3600"/>
            </a:lvl1pPr>
            <a:lvl2pPr>
              <a:defRPr sz="3600"/>
            </a:lvl2pPr>
            <a:lvl3pPr>
              <a:defRPr sz="3600"/>
            </a:lvl3pPr>
            <a:lvl4pPr>
              <a:defRPr sz="3600"/>
            </a:lvl4pPr>
            <a:lvl5pPr>
              <a:defRPr sz="3600"/>
            </a:lvl5pPr>
          </a:lstStyle>
          <a:p>
            <a:pPr lvl="0"/>
            <a:r>
              <a:rPr lang="en-US"/>
              <a:t>Click to edit Master text styles</a:t>
            </a:r>
          </a:p>
        </p:txBody>
      </p:sp>
    </p:spTree>
    <p:extLst>
      <p:ext uri="{BB962C8B-B14F-4D97-AF65-F5344CB8AC3E}">
        <p14:creationId xmlns:p14="http://schemas.microsoft.com/office/powerpoint/2010/main" val="1699131060"/>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9" y="1697063"/>
            <a:ext cx="3657599" cy="434093"/>
          </a:xfrm>
        </p:spPr>
        <p:txBody>
          <a:bodyPr/>
          <a:lstStyle>
            <a:lvl1pPr marL="0" indent="0">
              <a:buNone/>
              <a:defRPr sz="1801">
                <a:latin typeface="+mn-lt"/>
              </a:defRPr>
            </a:lvl1pPr>
            <a:lvl2pPr>
              <a:defRPr sz="1801"/>
            </a:lvl2pPr>
            <a:lvl3pPr>
              <a:defRPr sz="1801"/>
            </a:lvl3pPr>
            <a:lvl4pPr>
              <a:defRPr sz="1801"/>
            </a:lvl4pPr>
            <a:lvl5pPr>
              <a:defRPr sz="1801"/>
            </a:lvl5pPr>
          </a:lstStyle>
          <a:p>
            <a:pPr lvl="0"/>
            <a:r>
              <a:rPr lang="en-US"/>
              <a:t>Click to edit Master text styles</a:t>
            </a:r>
          </a:p>
        </p:txBody>
      </p:sp>
    </p:spTree>
    <p:extLst>
      <p:ext uri="{BB962C8B-B14F-4D97-AF65-F5344CB8AC3E}">
        <p14:creationId xmlns:p14="http://schemas.microsoft.com/office/powerpoint/2010/main" val="2830501349"/>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1"/>
            <a:ext cx="12436475" cy="738536"/>
          </a:xfrm>
        </p:spPr>
        <p:txBody>
          <a:bodyPr/>
          <a:lstStyle/>
          <a:p>
            <a:r>
              <a:rPr lang="en-US"/>
              <a:t>Click icon to add picture</a:t>
            </a:r>
            <a:endParaRPr lang="en-US" dirty="0"/>
          </a:p>
        </p:txBody>
      </p:sp>
      <p:sp>
        <p:nvSpPr>
          <p:cNvPr id="2" name="Title 1"/>
          <p:cNvSpPr>
            <a:spLocks noGrp="1"/>
          </p:cNvSpPr>
          <p:nvPr>
            <p:ph type="title"/>
          </p:nvPr>
        </p:nvSpPr>
        <p:spPr/>
        <p:txBody>
          <a:bodyPr/>
          <a:lstStyle>
            <a:lvl1pPr>
              <a:defRPr sz="4799">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116672568"/>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98"/>
            <a:ext cx="11889564" cy="752093"/>
          </a:xfrm>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3040064"/>
            <a:ext cx="11887200" cy="517065"/>
          </a:xfrm>
        </p:spPr>
        <p:txBody>
          <a:bodyPr/>
          <a:lstStyle>
            <a:lvl1pPr marL="0" indent="0">
              <a:buNone/>
              <a:defRPr sz="2400"/>
            </a:lvl1pPr>
          </a:lstStyle>
          <a:p>
            <a:pPr lvl="0"/>
            <a:r>
              <a:rPr lang="en-US"/>
              <a:t>Click to edit Master text styles</a:t>
            </a:r>
          </a:p>
        </p:txBody>
      </p:sp>
      <p:sp>
        <p:nvSpPr>
          <p:cNvPr id="6" name="Content Placeholder 5"/>
          <p:cNvSpPr>
            <a:spLocks noGrp="1"/>
          </p:cNvSpPr>
          <p:nvPr>
            <p:ph sz="quarter" idx="11"/>
          </p:nvPr>
        </p:nvSpPr>
        <p:spPr>
          <a:xfrm>
            <a:off x="274638"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7" name="Content Placeholder 5"/>
          <p:cNvSpPr>
            <a:spLocks noGrp="1"/>
          </p:cNvSpPr>
          <p:nvPr>
            <p:ph sz="quarter" idx="12"/>
          </p:nvPr>
        </p:nvSpPr>
        <p:spPr>
          <a:xfrm>
            <a:off x="3321740"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8" name="Content Placeholder 5"/>
          <p:cNvSpPr>
            <a:spLocks noGrp="1"/>
          </p:cNvSpPr>
          <p:nvPr>
            <p:ph sz="quarter" idx="13"/>
          </p:nvPr>
        </p:nvSpPr>
        <p:spPr>
          <a:xfrm>
            <a:off x="6368842"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9" name="Content Placeholder 5"/>
          <p:cNvSpPr>
            <a:spLocks noGrp="1"/>
          </p:cNvSpPr>
          <p:nvPr>
            <p:ph sz="quarter" idx="14"/>
          </p:nvPr>
        </p:nvSpPr>
        <p:spPr>
          <a:xfrm>
            <a:off x="9415944"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173280745"/>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1"/>
            </a:lvl4pPr>
            <a:lvl5pPr>
              <a:defRPr sz="1801"/>
            </a:lvl5pPr>
          </a:lstStyle>
          <a:p>
            <a:pPr lvl="0"/>
            <a:r>
              <a:rPr lang="en-US"/>
              <a:t>Click to edit Master text styles</a:t>
            </a:r>
          </a:p>
        </p:txBody>
      </p:sp>
    </p:spTree>
    <p:extLst>
      <p:ext uri="{BB962C8B-B14F-4D97-AF65-F5344CB8AC3E}">
        <p14:creationId xmlns:p14="http://schemas.microsoft.com/office/powerpoint/2010/main" val="3750760735"/>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Tree>
    <p:extLst>
      <p:ext uri="{BB962C8B-B14F-4D97-AF65-F5344CB8AC3E}">
        <p14:creationId xmlns:p14="http://schemas.microsoft.com/office/powerpoint/2010/main" val="1855814053"/>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3427467"/>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8608" y="296864"/>
            <a:ext cx="11887200" cy="6247693"/>
            <a:chOff x="274638" y="297107"/>
            <a:chExt cx="11887200" cy="6247693"/>
          </a:xfrm>
        </p:grpSpPr>
        <p:pic>
          <p:nvPicPr>
            <p:cNvPr id="4" name="Picture 3" descr="NewGridTile_8x8.png"/>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74321" y="2122489"/>
            <a:ext cx="11889564" cy="2746375"/>
          </a:xfrm>
        </p:spPr>
        <p:txBody>
          <a:bodyPr/>
          <a:lstStyle>
            <a:lvl1pPr>
              <a:defRPr sz="8800">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4520501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0"/>
            <a:ext cx="5486399" cy="260260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36" indent="0">
              <a:buNone/>
              <a:tabLst/>
              <a:defRPr sz="2000"/>
            </a:lvl3pPr>
            <a:lvl4pPr marL="460299" indent="0">
              <a:buNone/>
              <a:defRPr/>
            </a:lvl4pPr>
            <a:lvl5pPr marL="68568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1" y="1212850"/>
            <a:ext cx="5486399" cy="260260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36" indent="0">
              <a:buNone/>
              <a:tabLst/>
              <a:defRPr sz="2000"/>
            </a:lvl3pPr>
            <a:lvl4pPr marL="460299" indent="0">
              <a:buNone/>
              <a:defRPr/>
            </a:lvl4pPr>
            <a:lvl5pPr marL="68568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27496" y="6697629"/>
            <a:ext cx="3781484"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643236815"/>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122489"/>
            <a:ext cx="11889564" cy="2746375"/>
          </a:xfrm>
        </p:spPr>
        <p:txBody>
          <a:bodyPr/>
          <a:lstStyle>
            <a:lvl1pPr>
              <a:defRPr sz="8800">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8635350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64"/>
            <a:ext cx="11889564" cy="1828800"/>
          </a:xfrm>
        </p:spPr>
        <p:txBody>
          <a:bodyPr/>
          <a:lstStyle>
            <a:lvl1pPr>
              <a:defRPr sz="5400">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132079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1" y="2129451"/>
            <a:ext cx="11889564" cy="917575"/>
          </a:xfrm>
        </p:spPr>
        <p:txBody>
          <a:bodyPr/>
          <a:lstStyle>
            <a:lvl1pPr>
              <a:defRPr sz="6000"/>
            </a:lvl1pPr>
          </a:lstStyle>
          <a:p>
            <a:r>
              <a:rPr lang="en-US" dirty="0"/>
              <a:t>Thank you</a:t>
            </a:r>
          </a:p>
        </p:txBody>
      </p:sp>
    </p:spTree>
    <p:extLst>
      <p:ext uri="{BB962C8B-B14F-4D97-AF65-F5344CB8AC3E}">
        <p14:creationId xmlns:p14="http://schemas.microsoft.com/office/powerpoint/2010/main" val="3693381963"/>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620241760"/>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3351433849"/>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3626830"/>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Only">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667915868"/>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455455844"/>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87296809"/>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177418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0"/>
            <a:ext cx="5486399" cy="2602609"/>
          </a:xfrm>
        </p:spPr>
        <p:txBody>
          <a:bodyPr wrap="square">
            <a:spAutoFit/>
          </a:bodyPr>
          <a:lstStyle>
            <a:lvl1pPr marL="0" indent="0">
              <a:spcBef>
                <a:spcPts val="1224"/>
              </a:spcBef>
              <a:buClr>
                <a:schemeClr val="tx1"/>
              </a:buClr>
              <a:buFont typeface="Wingdings" pitchFamily="2" charset="2"/>
              <a:buNone/>
              <a:defRPr sz="3600">
                <a:gradFill>
                  <a:gsLst>
                    <a:gs pos="5109">
                      <a:schemeClr val="tx2"/>
                    </a:gs>
                    <a:gs pos="25000">
                      <a:schemeClr val="tx2"/>
                    </a:gs>
                  </a:gsLst>
                  <a:lin ang="5400000" scaled="0"/>
                </a:gradFill>
              </a:defRPr>
            </a:lvl1pPr>
            <a:lvl2pPr marL="0" indent="0">
              <a:buNone/>
              <a:defRPr sz="2000"/>
            </a:lvl2pPr>
            <a:lvl3pPr marL="231736" indent="0">
              <a:buNone/>
              <a:tabLst/>
              <a:defRPr sz="2000"/>
            </a:lvl3pPr>
            <a:lvl4pPr marL="460299" indent="0">
              <a:buNone/>
              <a:defRPr/>
            </a:lvl4pPr>
            <a:lvl5pPr marL="68568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1" y="1212850"/>
            <a:ext cx="5486399" cy="2602609"/>
          </a:xfrm>
        </p:spPr>
        <p:txBody>
          <a:bodyPr wrap="square">
            <a:spAutoFit/>
          </a:bodyPr>
          <a:lstStyle>
            <a:lvl1pPr marL="0" indent="0">
              <a:spcBef>
                <a:spcPts val="1224"/>
              </a:spcBef>
              <a:buClr>
                <a:schemeClr val="tx1"/>
              </a:buClr>
              <a:buFont typeface="Wingdings" pitchFamily="2" charset="2"/>
              <a:buNone/>
              <a:defRPr sz="3600">
                <a:gradFill>
                  <a:gsLst>
                    <a:gs pos="100000">
                      <a:schemeClr val="tx2"/>
                    </a:gs>
                    <a:gs pos="0">
                      <a:schemeClr val="tx2"/>
                    </a:gs>
                  </a:gsLst>
                  <a:lin ang="5400000" scaled="0"/>
                </a:gradFill>
              </a:defRPr>
            </a:lvl1pPr>
            <a:lvl2pPr marL="0" indent="0">
              <a:buNone/>
              <a:defRPr sz="2000"/>
            </a:lvl2pPr>
            <a:lvl3pPr marL="231736" indent="0">
              <a:buNone/>
              <a:tabLst/>
              <a:defRPr sz="2000"/>
            </a:lvl3pPr>
            <a:lvl4pPr marL="460299" indent="0">
              <a:buNone/>
              <a:defRPr/>
            </a:lvl4pPr>
            <a:lvl5pPr marL="68568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27496" y="6697629"/>
            <a:ext cx="3781484"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036776428"/>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545566897"/>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043365"/>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5863269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568212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933450177"/>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8172963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040332090"/>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3406416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474363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6199847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670273"/>
          </a:xfrm>
        </p:spPr>
        <p:txBody>
          <a:bodyPr wrap="square">
            <a:spAutoFit/>
          </a:bodyPr>
          <a:lstStyle>
            <a:lvl1pPr marL="287290" indent="-287290">
              <a:spcBef>
                <a:spcPts val="1224"/>
              </a:spcBef>
              <a:buClr>
                <a:schemeClr val="tx1"/>
              </a:buClr>
              <a:buFont typeface="Wingdings" panose="05000000000000000000" pitchFamily="2" charset="2"/>
              <a:buChar char="§"/>
              <a:defRPr sz="3600"/>
            </a:lvl1pPr>
            <a:lvl2pPr marL="531078" indent="-233156">
              <a:defRPr sz="2400"/>
            </a:lvl2pPr>
            <a:lvl3pPr marL="699467" indent="-168391">
              <a:tabLst/>
              <a:defRPr sz="2000"/>
            </a:lvl3pPr>
            <a:lvl4pPr marL="880810" indent="-181344">
              <a:defRPr/>
            </a:lvl4pPr>
            <a:lvl5pPr marL="1049201" indent="-16839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1" y="1212849"/>
            <a:ext cx="5486399" cy="2670273"/>
          </a:xfrm>
        </p:spPr>
        <p:txBody>
          <a:bodyPr wrap="square">
            <a:spAutoFit/>
          </a:bodyPr>
          <a:lstStyle>
            <a:lvl1pPr marL="287290" indent="-287290">
              <a:spcBef>
                <a:spcPts val="1224"/>
              </a:spcBef>
              <a:buClr>
                <a:schemeClr val="tx1"/>
              </a:buClr>
              <a:buFont typeface="Wingdings" panose="05000000000000000000" pitchFamily="2" charset="2"/>
              <a:buChar char="§"/>
              <a:defRPr sz="3600"/>
            </a:lvl1pPr>
            <a:lvl2pPr marL="531078" indent="-233156">
              <a:defRPr sz="2400"/>
            </a:lvl2pPr>
            <a:lvl3pPr marL="699467" indent="-168391">
              <a:tabLst/>
              <a:defRPr sz="2000"/>
            </a:lvl3pPr>
            <a:lvl4pPr marL="880810" indent="-181344">
              <a:defRPr/>
            </a:lvl4pPr>
            <a:lvl5pPr marL="1049201" indent="-16839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27496" y="6697629"/>
            <a:ext cx="3781484"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204173007"/>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125010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9143937"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354" y="479775"/>
            <a:ext cx="1639084" cy="359162"/>
          </a:xfrm>
          <a:prstGeom prst="rect">
            <a:avLst/>
          </a:prstGeom>
        </p:spPr>
      </p:pic>
    </p:spTree>
    <p:extLst>
      <p:ext uri="{BB962C8B-B14F-4D97-AF65-F5344CB8AC3E}">
        <p14:creationId xmlns:p14="http://schemas.microsoft.com/office/powerpoint/2010/main" val="32722277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436475" cy="6994525"/>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262937" y="832966"/>
            <a:ext cx="11910600" cy="5876623"/>
          </a:xfrm>
          <a:prstGeom prst="rect">
            <a:avLst/>
          </a:prstGeom>
          <a:noFill/>
          <a:ln>
            <a:noFill/>
          </a:ln>
        </p:spPr>
      </p:pic>
      <p:sp>
        <p:nvSpPr>
          <p:cNvPr id="5"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257797" y="328910"/>
            <a:ext cx="9915740" cy="6380679"/>
          </a:xfrm>
          <a:prstGeom prst="rect">
            <a:avLst/>
          </a:prstGeom>
          <a:noFill/>
          <a:ln>
            <a:noFill/>
          </a:ln>
        </p:spPr>
      </p:pic>
    </p:spTree>
    <p:extLst>
      <p:ext uri="{BB962C8B-B14F-4D97-AF65-F5344CB8AC3E}">
        <p14:creationId xmlns:p14="http://schemas.microsoft.com/office/powerpoint/2010/main" val="3123257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436475" cy="6994525"/>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4343735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436475" cy="6994525"/>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6541" y="2125663"/>
            <a:ext cx="5484498" cy="1828806"/>
          </a:xfrm>
          <a:noFill/>
        </p:spPr>
        <p:txBody>
          <a:bodyPr lIns="182880" tIns="146304" rIns="182880" bIns="146304">
            <a:noAutofit/>
          </a:bodyPr>
          <a:lstStyle>
            <a:lvl1pPr marL="0" indent="0">
              <a:spcBef>
                <a:spcPts val="0"/>
              </a:spcBef>
              <a:buNone/>
              <a:defRPr sz="3600"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74703" y="296863"/>
            <a:ext cx="5486335" cy="1828800"/>
          </a:xfrm>
          <a:noFill/>
        </p:spPr>
        <p:txBody>
          <a:bodyPr lIns="146304" tIns="91440" rIns="146304" bIns="91440" anchor="t" anchorCtr="0"/>
          <a:lstStyle>
            <a:lvl1pPr>
              <a:defRPr sz="6000" spc="-100"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31938739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74703" y="2125663"/>
            <a:ext cx="5486335" cy="3657600"/>
          </a:xfrm>
          <a:noFill/>
        </p:spPr>
        <p:txBody>
          <a:bodyPr lIns="146304" tIns="91440" rIns="146304" bIns="91440" anchor="t" anchorCtr="0"/>
          <a:lstStyle>
            <a:lvl1pPr>
              <a:defRPr sz="6000" spc="-100"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36101346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436475" cy="6994525"/>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6033080" y="723012"/>
            <a:ext cx="640080" cy="640080"/>
          </a:xfrm>
          <a:solidFill>
            <a:srgbClr val="68217A"/>
          </a:solidFill>
        </p:spPr>
        <p:txBody>
          <a:bodyPr anchor="ctr">
            <a:noAutofit/>
          </a:bodyP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4" name="Text Placeholder 5"/>
          <p:cNvSpPr>
            <a:spLocks noGrp="1"/>
          </p:cNvSpPr>
          <p:nvPr>
            <p:ph type="body" sz="quarter" idx="16" hasCustomPrompt="1"/>
          </p:nvPr>
        </p:nvSpPr>
        <p:spPr>
          <a:xfrm>
            <a:off x="9418638" y="723012"/>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5" name="Text Placeholder 5"/>
          <p:cNvSpPr>
            <a:spLocks noGrp="1"/>
          </p:cNvSpPr>
          <p:nvPr>
            <p:ph type="body" sz="quarter" idx="17" hasCustomPrompt="1"/>
          </p:nvPr>
        </p:nvSpPr>
        <p:spPr>
          <a:xfrm>
            <a:off x="9418638" y="3631833"/>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7" name="Title 16"/>
          <p:cNvSpPr>
            <a:spLocks noGrp="1"/>
          </p:cNvSpPr>
          <p:nvPr>
            <p:ph type="title"/>
          </p:nvPr>
        </p:nvSpPr>
        <p:spPr>
          <a:xfrm>
            <a:off x="4394200" y="3628284"/>
            <a:ext cx="2278960" cy="2272453"/>
          </a:xfrm>
          <a:solidFill>
            <a:srgbClr val="68217A"/>
          </a:solidFill>
        </p:spPr>
        <p:txBody>
          <a:bodyPr lIns="182880" tIns="146304" rIns="182880" bIns="146304"/>
          <a:lstStyle>
            <a:lvl1pPr>
              <a:defRPr sz="3200">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4880413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1250">
                      <a:schemeClr val="tx1"/>
                    </a:gs>
                    <a:gs pos="100000">
                      <a:schemeClr val="tx1"/>
                    </a:gs>
                  </a:gsLst>
                  <a:lin ang="5400000" scaled="0"/>
                </a:gradFill>
                <a:latin typeface="+mn-lt"/>
              </a:defRPr>
            </a:lvl1pPr>
            <a:lvl2pPr>
              <a:defRPr sz="1600"/>
            </a:lvl2pPr>
            <a:lvl3pPr>
              <a:defRPr sz="1600"/>
            </a:lvl3pPr>
            <a:lvl4pPr>
              <a:defRPr sz="1600"/>
            </a:lvl4pPr>
            <a:lvl5pPr marL="1028700" indent="0">
              <a:buNone/>
              <a:defRPr sz="1600"/>
            </a:lvl5pPr>
          </a:lstStyle>
          <a:p>
            <a:pPr lvl="0"/>
            <a:r>
              <a:rPr lang="en-US"/>
              <a:t>Click to edit Master text styles</a:t>
            </a:r>
          </a:p>
        </p:txBody>
      </p:sp>
    </p:spTree>
    <p:extLst>
      <p:ext uri="{BB962C8B-B14F-4D97-AF65-F5344CB8AC3E}">
        <p14:creationId xmlns:p14="http://schemas.microsoft.com/office/powerpoint/2010/main" val="146392323"/>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406265"/>
          </a:xfrm>
        </p:spPr>
        <p:txBody>
          <a:bodyPr/>
          <a:lstStyle>
            <a:lvl1pPr marL="0" indent="0">
              <a:buNone/>
              <a:defRPr sz="1600">
                <a:gradFill>
                  <a:gsLst>
                    <a:gs pos="92035">
                      <a:schemeClr val="tx1"/>
                    </a:gs>
                    <a:gs pos="84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0996103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94690">
                      <a:schemeClr val="tx1"/>
                    </a:gs>
                    <a:gs pos="86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9867573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670273"/>
          </a:xfrm>
        </p:spPr>
        <p:txBody>
          <a:bodyPr wrap="square">
            <a:spAutoFit/>
          </a:bodyPr>
          <a:lstStyle>
            <a:lvl1pPr marL="287290" indent="-287290">
              <a:spcBef>
                <a:spcPts val="1224"/>
              </a:spcBef>
              <a:buClr>
                <a:schemeClr val="tx2"/>
              </a:buClr>
              <a:buFont typeface="Wingdings" panose="05000000000000000000" pitchFamily="2" charset="2"/>
              <a:buChar char="§"/>
              <a:defRPr sz="3600">
                <a:gradFill>
                  <a:gsLst>
                    <a:gs pos="5109">
                      <a:schemeClr val="tx2"/>
                    </a:gs>
                    <a:gs pos="100000">
                      <a:schemeClr val="tx2"/>
                    </a:gs>
                  </a:gsLst>
                  <a:lin ang="5400000" scaled="0"/>
                </a:gradFill>
              </a:defRPr>
            </a:lvl1pPr>
            <a:lvl2pPr marL="531078" indent="-233156">
              <a:defRPr sz="2400"/>
            </a:lvl2pPr>
            <a:lvl3pPr marL="699467" indent="-168391">
              <a:tabLst/>
              <a:defRPr sz="2000"/>
            </a:lvl3pPr>
            <a:lvl4pPr marL="880810" indent="-181344">
              <a:defRPr/>
            </a:lvl4pPr>
            <a:lvl5pPr marL="1049201" indent="-16839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1" y="1212851"/>
            <a:ext cx="5486399" cy="2670273"/>
          </a:xfrm>
        </p:spPr>
        <p:txBody>
          <a:bodyPr wrap="square">
            <a:spAutoFit/>
          </a:bodyPr>
          <a:lstStyle>
            <a:lvl1pPr marL="287290" indent="-287290">
              <a:spcBef>
                <a:spcPts val="1224"/>
              </a:spcBef>
              <a:buClr>
                <a:schemeClr val="tx2"/>
              </a:buClr>
              <a:buFont typeface="Wingdings" panose="05000000000000000000" pitchFamily="2" charset="2"/>
              <a:buChar char="§"/>
              <a:defRPr sz="3600">
                <a:gradFill>
                  <a:gsLst>
                    <a:gs pos="5109">
                      <a:schemeClr val="tx2"/>
                    </a:gs>
                    <a:gs pos="100000">
                      <a:schemeClr val="tx2"/>
                    </a:gs>
                  </a:gsLst>
                  <a:lin ang="5400000" scaled="0"/>
                </a:gradFill>
              </a:defRPr>
            </a:lvl1pPr>
            <a:lvl2pPr marL="531078" indent="-233156">
              <a:defRPr sz="2400"/>
            </a:lvl2pPr>
            <a:lvl3pPr marL="699467" indent="-168391">
              <a:tabLst/>
              <a:defRPr sz="2000"/>
            </a:lvl3pPr>
            <a:lvl4pPr marL="880810" indent="-181344">
              <a:defRPr/>
            </a:lvl4pPr>
            <a:lvl5pPr marL="1049201" indent="-16839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27496" y="6697629"/>
            <a:ext cx="3781484"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617570018"/>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905627828"/>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0116495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6901038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7666740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1"/>
            <a:ext cx="6002338" cy="6994525"/>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761038" y="1211263"/>
            <a:ext cx="6400800" cy="600164"/>
          </a:xfrm>
        </p:spPr>
        <p:txBody>
          <a:bodyPr/>
          <a:lstStyle>
            <a:lvl1pPr marL="0" indent="0">
              <a:buNone/>
              <a:defRPr sz="3000"/>
            </a:lvl1pPr>
          </a:lstStyle>
          <a:p>
            <a:pPr lvl="0"/>
            <a:r>
              <a:rPr lang="en-US"/>
              <a:t>Click to edit Master text styles</a:t>
            </a:r>
          </a:p>
        </p:txBody>
      </p:sp>
    </p:spTree>
    <p:extLst>
      <p:ext uri="{BB962C8B-B14F-4D97-AF65-F5344CB8AC3E}">
        <p14:creationId xmlns:p14="http://schemas.microsoft.com/office/powerpoint/2010/main" val="1864616533"/>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817277678"/>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
        <p:nvSpPr>
          <p:cNvPr id="4" name="Content Placeholder 3"/>
          <p:cNvSpPr>
            <a:spLocks noGrp="1"/>
          </p:cNvSpPr>
          <p:nvPr>
            <p:ph sz="quarter" idx="10"/>
          </p:nvPr>
        </p:nvSpPr>
        <p:spPr>
          <a:xfrm>
            <a:off x="274638" y="1697038"/>
            <a:ext cx="9144000" cy="683264"/>
          </a:xfrm>
        </p:spPr>
        <p:txBody>
          <a:bodyPr/>
          <a:lstStyle>
            <a:lvl1pPr marL="0" indent="0">
              <a:buNone/>
              <a:defRPr sz="3600"/>
            </a:lvl1pPr>
            <a:lvl2pPr>
              <a:defRPr sz="3600"/>
            </a:lvl2pPr>
            <a:lvl3pPr>
              <a:defRPr sz="3600"/>
            </a:lvl3pPr>
            <a:lvl4pPr>
              <a:defRPr sz="3600"/>
            </a:lvl4pPr>
            <a:lvl5pPr>
              <a:defRPr sz="3600"/>
            </a:lvl5pPr>
          </a:lstStyle>
          <a:p>
            <a:pPr lvl="0"/>
            <a:r>
              <a:rPr lang="en-US"/>
              <a:t>Click to edit Master text styles</a:t>
            </a:r>
          </a:p>
        </p:txBody>
      </p:sp>
    </p:spTree>
    <p:extLst>
      <p:ext uri="{BB962C8B-B14F-4D97-AF65-F5344CB8AC3E}">
        <p14:creationId xmlns:p14="http://schemas.microsoft.com/office/powerpoint/2010/main" val="1354859923"/>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3657600" cy="433965"/>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3462029305"/>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6994525"/>
          </a:xfrm>
        </p:spPr>
        <p:txBody>
          <a:bodyPr/>
          <a:lstStyle/>
          <a:p>
            <a:r>
              <a:rPr lang="en-US"/>
              <a:t>Click icon to add picture</a:t>
            </a:r>
            <a:endParaRPr lang="en-US" dirty="0"/>
          </a:p>
        </p:txBody>
      </p:sp>
      <p:sp>
        <p:nvSpPr>
          <p:cNvPr id="2" name="Title 1"/>
          <p:cNvSpPr>
            <a:spLocks noGrp="1"/>
          </p:cNvSpPr>
          <p:nvPr>
            <p:ph type="title"/>
          </p:nvPr>
        </p:nvSpPr>
        <p:spPr/>
        <p:txBody>
          <a:bodyPr/>
          <a:lstStyle>
            <a:lvl1pPr>
              <a:defRPr sz="4800">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79818404"/>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9564" cy="752093"/>
          </a:xfrm>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3040063"/>
            <a:ext cx="11887200" cy="517065"/>
          </a:xfrm>
        </p:spPr>
        <p:txBody>
          <a:bodyPr/>
          <a:lstStyle>
            <a:lvl1pPr marL="0" indent="0">
              <a:buNone/>
              <a:defRPr sz="2400"/>
            </a:lvl1pPr>
          </a:lstStyle>
          <a:p>
            <a:pPr lvl="0"/>
            <a:r>
              <a:rPr lang="en-US"/>
              <a:t>Click to edit Master text styles</a:t>
            </a:r>
          </a:p>
        </p:txBody>
      </p:sp>
      <p:sp>
        <p:nvSpPr>
          <p:cNvPr id="6" name="Content Placeholder 5"/>
          <p:cNvSpPr>
            <a:spLocks noGrp="1"/>
          </p:cNvSpPr>
          <p:nvPr>
            <p:ph sz="quarter" idx="11"/>
          </p:nvPr>
        </p:nvSpPr>
        <p:spPr>
          <a:xfrm>
            <a:off x="274638"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7" name="Content Placeholder 5"/>
          <p:cNvSpPr>
            <a:spLocks noGrp="1"/>
          </p:cNvSpPr>
          <p:nvPr>
            <p:ph sz="quarter" idx="12"/>
          </p:nvPr>
        </p:nvSpPr>
        <p:spPr>
          <a:xfrm>
            <a:off x="3321740"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8" name="Content Placeholder 5"/>
          <p:cNvSpPr>
            <a:spLocks noGrp="1"/>
          </p:cNvSpPr>
          <p:nvPr>
            <p:ph sz="quarter" idx="13"/>
          </p:nvPr>
        </p:nvSpPr>
        <p:spPr>
          <a:xfrm>
            <a:off x="6368842"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9" name="Content Placeholder 5"/>
          <p:cNvSpPr>
            <a:spLocks noGrp="1"/>
          </p:cNvSpPr>
          <p:nvPr>
            <p:ph sz="quarter" idx="14"/>
          </p:nvPr>
        </p:nvSpPr>
        <p:spPr>
          <a:xfrm>
            <a:off x="9415945"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28989630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27496" y="6697629"/>
            <a:ext cx="3781484"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840566695"/>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3578628484"/>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Tree>
    <p:extLst>
      <p:ext uri="{BB962C8B-B14F-4D97-AF65-F5344CB8AC3E}">
        <p14:creationId xmlns:p14="http://schemas.microsoft.com/office/powerpoint/2010/main" val="2272130425"/>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976162"/>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8608" y="296863"/>
            <a:ext cx="11887200"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74320" y="2122488"/>
            <a:ext cx="11889564" cy="2746375"/>
          </a:xfrm>
        </p:spPr>
        <p:txBody>
          <a:bodyPr/>
          <a:lstStyle>
            <a:lvl1pPr>
              <a:defRPr sz="8800">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2823963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122488"/>
            <a:ext cx="11889564" cy="2746375"/>
          </a:xfrm>
        </p:spPr>
        <p:txBody>
          <a:bodyPr/>
          <a:lstStyle>
            <a:lvl1pPr>
              <a:defRPr sz="8800">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8110859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64"/>
            <a:ext cx="11889564" cy="1828800"/>
          </a:xfrm>
        </p:spPr>
        <p:txBody>
          <a:bodyPr/>
          <a:lstStyle>
            <a:lvl1pPr>
              <a:defRPr sz="5400">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9631572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129449"/>
            <a:ext cx="11889564" cy="917575"/>
          </a:xfrm>
        </p:spPr>
        <p:txBody>
          <a:bodyPr/>
          <a:lstStyle>
            <a:lvl1pPr>
              <a:defRPr sz="6000"/>
            </a:lvl1pPr>
          </a:lstStyle>
          <a:p>
            <a:r>
              <a:rPr lang="en-US" dirty="0"/>
              <a:t>Thank you</a:t>
            </a:r>
          </a:p>
        </p:txBody>
      </p:sp>
    </p:spTree>
    <p:extLst>
      <p:ext uri="{BB962C8B-B14F-4D97-AF65-F5344CB8AC3E}">
        <p14:creationId xmlns:p14="http://schemas.microsoft.com/office/powerpoint/2010/main" val="1622884405"/>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9143937" cy="1828007"/>
          </a:xfrm>
          <a:noFill/>
        </p:spPr>
        <p:txBody>
          <a:bodyPr lIns="182880" tIns="146304" rIns="182880" bIns="146304">
            <a:noAutofit/>
          </a:bodyPr>
          <a:lstStyle>
            <a:lvl1pPr marL="0" indent="0">
              <a:spcBef>
                <a:spcPts val="0"/>
              </a:spcBef>
              <a:buNone/>
              <a:defRPr sz="359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355" y="479775"/>
            <a:ext cx="1639084" cy="359162"/>
          </a:xfrm>
          <a:prstGeom prst="rect">
            <a:avLst/>
          </a:prstGeom>
        </p:spPr>
      </p:pic>
    </p:spTree>
    <p:extLst>
      <p:ext uri="{BB962C8B-B14F-4D97-AF65-F5344CB8AC3E}">
        <p14:creationId xmlns:p14="http://schemas.microsoft.com/office/powerpoint/2010/main" val="1743699608"/>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436475" cy="742187"/>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262938" y="832966"/>
            <a:ext cx="11910600" cy="5876623"/>
          </a:xfrm>
          <a:prstGeom prst="rect">
            <a:avLst/>
          </a:prstGeom>
          <a:noFill/>
          <a:ln>
            <a:noFill/>
          </a:ln>
        </p:spPr>
      </p:pic>
      <p:sp>
        <p:nvSpPr>
          <p:cNvPr id="5" name="Text Placeholder 4"/>
          <p:cNvSpPr>
            <a:spLocks noGrp="1"/>
          </p:cNvSpPr>
          <p:nvPr>
            <p:ph type="body" sz="quarter" idx="12" hasCustomPrompt="1"/>
          </p:nvPr>
        </p:nvSpPr>
        <p:spPr>
          <a:xfrm>
            <a:off x="276542" y="3954457"/>
            <a:ext cx="5197379" cy="1018969"/>
          </a:xfrm>
          <a:noFill/>
        </p:spPr>
        <p:txBody>
          <a:bodyPr lIns="182880" tIns="146304" rIns="182880" bIns="146304">
            <a:noAutofit/>
          </a:bodyPr>
          <a:lstStyle>
            <a:lvl1pPr marL="0" indent="0">
              <a:spcBef>
                <a:spcPts val="0"/>
              </a:spcBef>
              <a:buNone/>
              <a:defRPr sz="359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5999" spc="-100"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257798" y="328910"/>
            <a:ext cx="9915740" cy="6380679"/>
          </a:xfrm>
          <a:prstGeom prst="rect">
            <a:avLst/>
          </a:prstGeom>
          <a:noFill/>
          <a:ln>
            <a:noFill/>
          </a:ln>
        </p:spPr>
      </p:pic>
    </p:spTree>
    <p:extLst>
      <p:ext uri="{BB962C8B-B14F-4D97-AF65-F5344CB8AC3E}">
        <p14:creationId xmlns:p14="http://schemas.microsoft.com/office/powerpoint/2010/main" val="1389558811"/>
      </p:ext>
    </p:extLst>
  </p:cSld>
  <p:clrMapOvr>
    <a:overrideClrMapping bg1="lt1" tx1="dk1" bg2="lt2" tx2="dk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436475" cy="742187"/>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6542" y="3954457"/>
            <a:ext cx="5197379" cy="1018969"/>
          </a:xfrm>
          <a:noFill/>
        </p:spPr>
        <p:txBody>
          <a:bodyPr lIns="182880" tIns="146304" rIns="182880" bIns="146304">
            <a:noAutofit/>
          </a:bodyPr>
          <a:lstStyle>
            <a:lvl1pPr marL="0" indent="0">
              <a:spcBef>
                <a:spcPts val="0"/>
              </a:spcBef>
              <a:buNone/>
              <a:defRPr sz="359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5999" spc="-100"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2543981447"/>
      </p:ext>
    </p:extLst>
  </p:cSld>
  <p:clrMapOvr>
    <a:overrideClrMapping bg1="lt1" tx1="dk1" bg2="lt2" tx2="dk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5"/>
            <a:ext cx="11889564" cy="917575"/>
          </a:xfrm>
        </p:spPr>
        <p:txBody>
          <a:bodyPr/>
          <a:lstStyle>
            <a:lvl1pPr>
              <a:defRPr sz="7199" baseline="0"/>
            </a:lvl1pPr>
          </a:lstStyle>
          <a:p>
            <a:r>
              <a:rPr lang="en-US"/>
              <a:t>Click to edit Master title style</a:t>
            </a:r>
            <a:endParaRPr lang="en-US" dirty="0"/>
          </a:p>
        </p:txBody>
      </p:sp>
      <p:sp>
        <p:nvSpPr>
          <p:cNvPr id="3" name="TextBox 7"/>
          <p:cNvSpPr txBox="1"/>
          <p:nvPr userDrawn="1"/>
        </p:nvSpPr>
        <p:spPr bwMode="white">
          <a:xfrm>
            <a:off x="4327496" y="6697629"/>
            <a:ext cx="3781484"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04403602"/>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436475" cy="742187"/>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6541" y="2125663"/>
            <a:ext cx="5484498" cy="1828806"/>
          </a:xfrm>
          <a:noFill/>
        </p:spPr>
        <p:txBody>
          <a:bodyPr lIns="182880" tIns="146304" rIns="182880" bIns="146304">
            <a:noAutofit/>
          </a:bodyPr>
          <a:lstStyle>
            <a:lvl1pPr marL="0" indent="0">
              <a:spcBef>
                <a:spcPts val="0"/>
              </a:spcBef>
              <a:buNone/>
              <a:defRPr sz="3599"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74704" y="296863"/>
            <a:ext cx="5486335" cy="1828800"/>
          </a:xfrm>
          <a:noFill/>
        </p:spPr>
        <p:txBody>
          <a:bodyPr lIns="146304" tIns="91440" rIns="146304" bIns="91440" anchor="t" anchorCtr="0"/>
          <a:lstStyle>
            <a:lvl1pPr>
              <a:defRPr sz="5999" spc="-100"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3361504361"/>
      </p:ext>
    </p:extLst>
  </p:cSld>
  <p:clrMapOvr>
    <a:overrideClrMapping bg1="lt1" tx1="dk1" bg2="lt2" tx2="dk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74704" y="2125663"/>
            <a:ext cx="5486335" cy="3657600"/>
          </a:xfrm>
          <a:noFill/>
        </p:spPr>
        <p:txBody>
          <a:bodyPr lIns="146304" tIns="91440" rIns="146304" bIns="91440" anchor="t" anchorCtr="0"/>
          <a:lstStyle>
            <a:lvl1pPr>
              <a:defRPr sz="5999" spc="-100"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1084373990"/>
      </p:ext>
    </p:extLst>
  </p:cSld>
  <p:clrMapOvr>
    <a:overrideClrMapping bg1="lt1" tx1="dk1" bg2="lt2" tx2="dk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436475" cy="742187"/>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6033080" y="723012"/>
            <a:ext cx="640080" cy="640080"/>
          </a:xfrm>
          <a:solidFill>
            <a:srgbClr val="68217A"/>
          </a:solidFill>
        </p:spPr>
        <p:txBody>
          <a:bodyPr anchor="ctr">
            <a:noAutofit/>
          </a:bodyPr>
          <a:lstStyle>
            <a:lvl1pPr marL="0" indent="0">
              <a:lnSpc>
                <a:spcPts val="600"/>
              </a:lnSpc>
              <a:spcBef>
                <a:spcPts val="0"/>
              </a:spcBef>
              <a:buNone/>
              <a:defRPr sz="600">
                <a:solidFill>
                  <a:schemeClr val="bg1"/>
                </a:solidFill>
              </a:defRPr>
            </a:lvl1pPr>
            <a:lvl2pPr marL="342834" indent="0">
              <a:buNone/>
              <a:defRPr sz="3199"/>
            </a:lvl2pPr>
            <a:lvl3pPr marL="571390" indent="0">
              <a:buNone/>
              <a:defRPr sz="3199"/>
            </a:lvl3pPr>
            <a:lvl4pPr marL="799946" indent="0">
              <a:buNone/>
              <a:defRPr sz="3199"/>
            </a:lvl4pPr>
            <a:lvl5pPr marL="1028503" indent="0">
              <a:buNone/>
              <a:defRPr sz="3199"/>
            </a:lvl5pPr>
          </a:lstStyle>
          <a:p>
            <a:pPr lvl="0"/>
            <a:r>
              <a:rPr lang="en-US"/>
              <a:t> </a:t>
            </a:r>
          </a:p>
        </p:txBody>
      </p:sp>
      <p:sp>
        <p:nvSpPr>
          <p:cNvPr id="14" name="Text Placeholder 5"/>
          <p:cNvSpPr>
            <a:spLocks noGrp="1"/>
          </p:cNvSpPr>
          <p:nvPr>
            <p:ph type="body" sz="quarter" idx="16" hasCustomPrompt="1"/>
          </p:nvPr>
        </p:nvSpPr>
        <p:spPr>
          <a:xfrm>
            <a:off x="9418639" y="909643"/>
            <a:ext cx="640080" cy="266818"/>
          </a:xfrm>
          <a:solidFill>
            <a:srgbClr val="68217A"/>
          </a:solidFill>
        </p:spPr>
        <p:txBody>
          <a:bodyPr anchor="ctr"/>
          <a:lstStyle>
            <a:lvl1pPr marL="0" indent="0">
              <a:lnSpc>
                <a:spcPts val="600"/>
              </a:lnSpc>
              <a:spcBef>
                <a:spcPts val="0"/>
              </a:spcBef>
              <a:buNone/>
              <a:defRPr sz="600">
                <a:solidFill>
                  <a:schemeClr val="bg1"/>
                </a:solidFill>
              </a:defRPr>
            </a:lvl1pPr>
            <a:lvl2pPr marL="342834" indent="0">
              <a:buNone/>
              <a:defRPr sz="3199"/>
            </a:lvl2pPr>
            <a:lvl3pPr marL="571390" indent="0">
              <a:buNone/>
              <a:defRPr sz="3199"/>
            </a:lvl3pPr>
            <a:lvl4pPr marL="799946" indent="0">
              <a:buNone/>
              <a:defRPr sz="3199"/>
            </a:lvl4pPr>
            <a:lvl5pPr marL="1028503" indent="0">
              <a:buNone/>
              <a:defRPr sz="3199"/>
            </a:lvl5pPr>
          </a:lstStyle>
          <a:p>
            <a:pPr lvl="0"/>
            <a:r>
              <a:rPr lang="en-US"/>
              <a:t> </a:t>
            </a:r>
          </a:p>
        </p:txBody>
      </p:sp>
      <p:sp>
        <p:nvSpPr>
          <p:cNvPr id="15" name="Text Placeholder 5"/>
          <p:cNvSpPr>
            <a:spLocks noGrp="1"/>
          </p:cNvSpPr>
          <p:nvPr>
            <p:ph type="body" sz="quarter" idx="17" hasCustomPrompt="1"/>
          </p:nvPr>
        </p:nvSpPr>
        <p:spPr>
          <a:xfrm>
            <a:off x="9418639" y="3818464"/>
            <a:ext cx="640080" cy="266818"/>
          </a:xfrm>
          <a:solidFill>
            <a:srgbClr val="68217A"/>
          </a:solidFill>
        </p:spPr>
        <p:txBody>
          <a:bodyPr anchor="ctr"/>
          <a:lstStyle>
            <a:lvl1pPr marL="0" indent="0">
              <a:lnSpc>
                <a:spcPts val="600"/>
              </a:lnSpc>
              <a:spcBef>
                <a:spcPts val="0"/>
              </a:spcBef>
              <a:buNone/>
              <a:defRPr sz="600">
                <a:solidFill>
                  <a:schemeClr val="bg1"/>
                </a:solidFill>
              </a:defRPr>
            </a:lvl1pPr>
            <a:lvl2pPr marL="342834" indent="0">
              <a:buNone/>
              <a:defRPr sz="3199"/>
            </a:lvl2pPr>
            <a:lvl3pPr marL="571390" indent="0">
              <a:buNone/>
              <a:defRPr sz="3199"/>
            </a:lvl3pPr>
            <a:lvl4pPr marL="799946" indent="0">
              <a:buNone/>
              <a:defRPr sz="3199"/>
            </a:lvl4pPr>
            <a:lvl5pPr marL="1028503" indent="0">
              <a:buNone/>
              <a:defRPr sz="3199"/>
            </a:lvl5pPr>
          </a:lstStyle>
          <a:p>
            <a:pPr lvl="0"/>
            <a:r>
              <a:rPr lang="en-US"/>
              <a:t> </a:t>
            </a:r>
          </a:p>
        </p:txBody>
      </p:sp>
      <p:sp>
        <p:nvSpPr>
          <p:cNvPr id="17" name="Title 16"/>
          <p:cNvSpPr>
            <a:spLocks noGrp="1"/>
          </p:cNvSpPr>
          <p:nvPr>
            <p:ph type="title"/>
          </p:nvPr>
        </p:nvSpPr>
        <p:spPr>
          <a:xfrm>
            <a:off x="4394200" y="3628285"/>
            <a:ext cx="2278960" cy="2272453"/>
          </a:xfrm>
          <a:solidFill>
            <a:srgbClr val="68217A"/>
          </a:solidFill>
        </p:spPr>
        <p:txBody>
          <a:bodyPr lIns="182880" tIns="146304" rIns="182880" bIns="146304"/>
          <a:lstStyle>
            <a:lvl1pPr>
              <a:defRPr sz="3199">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61228393"/>
      </p:ext>
    </p:extLst>
  </p:cSld>
  <p:clrMapOvr>
    <a:overrideClrMapping bg1="lt1" tx1="dk1" bg2="lt2" tx2="dk2" accent1="accent1" accent2="accent2" accent3="accent3" accent4="accent4" accent5="accent5" accent6="accent6" hlink="hlink" folHlink="folHlink"/>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799">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409841"/>
          </a:xfrm>
        </p:spPr>
        <p:txBody>
          <a:bodyPr/>
          <a:lstStyle>
            <a:lvl1pPr marL="0" indent="0">
              <a:buNone/>
              <a:defRPr sz="1599">
                <a:gradFill>
                  <a:gsLst>
                    <a:gs pos="1250">
                      <a:schemeClr val="tx1"/>
                    </a:gs>
                    <a:gs pos="100000">
                      <a:schemeClr val="tx1"/>
                    </a:gs>
                  </a:gsLst>
                  <a:lin ang="5400000" scaled="0"/>
                </a:gradFill>
                <a:latin typeface="+mn-lt"/>
              </a:defRPr>
            </a:lvl1pPr>
            <a:lvl2pPr>
              <a:defRPr sz="1599"/>
            </a:lvl2pPr>
            <a:lvl3pPr>
              <a:defRPr sz="1599"/>
            </a:lvl3pPr>
            <a:lvl4pPr>
              <a:defRPr sz="1599"/>
            </a:lvl4pPr>
            <a:lvl5pPr marL="1028503" indent="0">
              <a:buNone/>
              <a:defRPr sz="1599"/>
            </a:lvl5pPr>
          </a:lstStyle>
          <a:p>
            <a:pPr lvl="0"/>
            <a:r>
              <a:rPr lang="en-US"/>
              <a:t>Click to edit Master text styles</a:t>
            </a:r>
          </a:p>
        </p:txBody>
      </p:sp>
    </p:spTree>
    <p:extLst>
      <p:ext uri="{BB962C8B-B14F-4D97-AF65-F5344CB8AC3E}">
        <p14:creationId xmlns:p14="http://schemas.microsoft.com/office/powerpoint/2010/main" val="2232462244"/>
      </p:ext>
    </p:extLst>
  </p:cSld>
  <p:clrMapOvr>
    <a:masterClrMapping/>
  </p:clrMapOvr>
  <p:transition spd="slow">
    <p:push dir="u"/>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4"/>
            <a:ext cx="5486400" cy="406265"/>
          </a:xfrm>
        </p:spPr>
        <p:txBody>
          <a:bodyPr/>
          <a:lstStyle>
            <a:lvl1pPr marL="0" indent="0">
              <a:buNone/>
              <a:defRPr sz="1599">
                <a:gradFill>
                  <a:gsLst>
                    <a:gs pos="92035">
                      <a:schemeClr val="tx1"/>
                    </a:gs>
                    <a:gs pos="84000">
                      <a:schemeClr val="tx1"/>
                    </a:gs>
                  </a:gsLst>
                  <a:lin ang="5400000" scaled="0"/>
                </a:gradFill>
                <a:latin typeface="+mn-lt"/>
              </a:defRPr>
            </a:lvl1pPr>
            <a:lvl2pPr>
              <a:defRPr sz="1599">
                <a:gradFill>
                  <a:gsLst>
                    <a:gs pos="94030">
                      <a:srgbClr val="FFFFFF"/>
                    </a:gs>
                    <a:gs pos="68000">
                      <a:srgbClr val="FFFFFF"/>
                    </a:gs>
                  </a:gsLst>
                  <a:lin ang="5400000" scaled="0"/>
                </a:gradFill>
              </a:defRPr>
            </a:lvl2pPr>
            <a:lvl3pPr>
              <a:defRPr sz="1599">
                <a:gradFill>
                  <a:gsLst>
                    <a:gs pos="94030">
                      <a:srgbClr val="FFFFFF"/>
                    </a:gs>
                    <a:gs pos="68000">
                      <a:srgbClr val="FFFFFF"/>
                    </a:gs>
                  </a:gsLst>
                  <a:lin ang="5400000" scaled="0"/>
                </a:gradFill>
              </a:defRPr>
            </a:lvl3pPr>
            <a:lvl4pPr>
              <a:defRPr sz="1599">
                <a:gradFill>
                  <a:gsLst>
                    <a:gs pos="94030">
                      <a:srgbClr val="FFFFFF"/>
                    </a:gs>
                    <a:gs pos="68000">
                      <a:srgbClr val="FFFFFF"/>
                    </a:gs>
                  </a:gsLst>
                  <a:lin ang="5400000" scaled="0"/>
                </a:gradFill>
              </a:defRPr>
            </a:lvl4pPr>
            <a:lvl5pPr>
              <a:defRPr sz="1599">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85618170"/>
      </p:ext>
    </p:extLst>
  </p:cSld>
  <p:clrMapOvr>
    <a:overrideClrMapping bg1="dk1" tx1="lt1" bg2="dk2" tx2="lt2" accent1="accent1" accent2="accent2" accent3="accent3" accent4="accent4" accent5="accent5" accent6="accent6" hlink="hlink" folHlink="folHlink"/>
  </p:clrMapOvr>
  <p:transition spd="slow">
    <p:push dir="u"/>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409841"/>
          </a:xfrm>
        </p:spPr>
        <p:txBody>
          <a:bodyPr/>
          <a:lstStyle>
            <a:lvl1pPr marL="0" indent="0">
              <a:buNone/>
              <a:defRPr sz="1599">
                <a:gradFill>
                  <a:gsLst>
                    <a:gs pos="94690">
                      <a:schemeClr val="tx1"/>
                    </a:gs>
                    <a:gs pos="86000">
                      <a:schemeClr val="tx1"/>
                    </a:gs>
                  </a:gsLst>
                  <a:lin ang="5400000" scaled="0"/>
                </a:gradFill>
                <a:latin typeface="+mn-lt"/>
              </a:defRPr>
            </a:lvl1pPr>
            <a:lvl2pPr>
              <a:defRPr sz="1599">
                <a:gradFill>
                  <a:gsLst>
                    <a:gs pos="94030">
                      <a:srgbClr val="FFFFFF"/>
                    </a:gs>
                    <a:gs pos="68000">
                      <a:srgbClr val="FFFFFF"/>
                    </a:gs>
                  </a:gsLst>
                  <a:lin ang="5400000" scaled="0"/>
                </a:gradFill>
              </a:defRPr>
            </a:lvl2pPr>
            <a:lvl3pPr>
              <a:defRPr sz="1599">
                <a:gradFill>
                  <a:gsLst>
                    <a:gs pos="94030">
                      <a:srgbClr val="FFFFFF"/>
                    </a:gs>
                    <a:gs pos="68000">
                      <a:srgbClr val="FFFFFF"/>
                    </a:gs>
                  </a:gsLst>
                  <a:lin ang="5400000" scaled="0"/>
                </a:gradFill>
              </a:defRPr>
            </a:lvl3pPr>
            <a:lvl4pPr>
              <a:defRPr sz="1599">
                <a:gradFill>
                  <a:gsLst>
                    <a:gs pos="94030">
                      <a:srgbClr val="FFFFFF"/>
                    </a:gs>
                    <a:gs pos="68000">
                      <a:srgbClr val="FFFFFF"/>
                    </a:gs>
                  </a:gsLst>
                  <a:lin ang="5400000" scaled="0"/>
                </a:gradFill>
              </a:defRPr>
            </a:lvl4pPr>
            <a:lvl5pPr>
              <a:defRPr sz="1599">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482244993"/>
      </p:ext>
    </p:extLst>
  </p:cSld>
  <p:clrMapOvr>
    <a:overrideClrMapping bg1="dk1" tx1="lt1" bg2="dk2" tx2="lt2" accent1="accent1" accent2="accent2" accent3="accent3" accent4="accent4" accent5="accent5" accent6="accent6" hlink="hlink" folHlink="folHlink"/>
  </p:clrMapOvr>
  <p:transition spd="slow">
    <p:push dir="u"/>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8" cy="1828766"/>
          </a:xfrm>
        </p:spPr>
        <p:txBody>
          <a:bodyPr/>
          <a:lstStyle>
            <a:lvl1pPr>
              <a:defRPr sz="5799">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141508617"/>
      </p:ext>
    </p:extLst>
  </p:cSld>
  <p:clrMapOvr>
    <a:masterClrMapping/>
  </p:clrMapOvr>
  <p:transition spd="slow">
    <p:push dir="u"/>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8" cy="1828766"/>
          </a:xfrm>
        </p:spPr>
        <p:txBody>
          <a:bodyPr/>
          <a:lstStyle>
            <a:lvl1pPr>
              <a:defRPr sz="5799">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9" y="2597163"/>
            <a:ext cx="7315200" cy="517064"/>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798853135"/>
      </p:ext>
    </p:extLst>
  </p:cSld>
  <p:clrMapOvr>
    <a:overrideClrMapping bg1="dk1" tx1="lt1" bg2="dk2" tx2="lt2" accent1="accent1" accent2="accent2" accent3="accent3" accent4="accent4" accent5="accent5" accent6="accent6" hlink="hlink" folHlink="folHlink"/>
  </p:clrMapOvr>
  <p:transition spd="slow">
    <p:push dir="u"/>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8" cy="1828766"/>
          </a:xfrm>
        </p:spPr>
        <p:txBody>
          <a:bodyPr/>
          <a:lstStyle>
            <a:lvl1pPr>
              <a:defRPr sz="5799">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9" y="2597163"/>
            <a:ext cx="7315200" cy="517064"/>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657718154"/>
      </p:ext>
    </p:extLst>
  </p:cSld>
  <p:clrMapOvr>
    <a:overrideClrMapping bg1="dk1" tx1="lt1" bg2="dk2" tx2="lt2" accent1="accent1" accent2="accent2" accent3="accent3" accent4="accent4" accent5="accent5" accent6="accent6" hlink="hlink" folHlink="folHlink"/>
  </p:clrMapOvr>
  <p:transition spd="slow">
    <p:push dir="u"/>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1902453"/>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09924302"/>
      </p:ext>
    </p:extLst>
  </p:cSld>
  <p:clrMapOvr>
    <a:masterClrMapping/>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ANIMATED">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7" y="4395791"/>
            <a:ext cx="12433299" cy="2601913"/>
          </a:xfrm>
          <a:prstGeom prst="rect">
            <a:avLst/>
          </a:prstGeom>
          <a:solidFill>
            <a:srgbClr val="4D9ED7"/>
          </a:solidFill>
          <a:ln>
            <a:noFill/>
          </a:ln>
        </p:spPr>
        <p:txBody>
          <a:bodyPr vert="horz" wrap="square" lIns="91427" tIns="45714" rIns="91427" bIns="45714" numCol="1" anchor="t" anchorCtr="0" compatLnSpc="1">
            <a:prstTxWarp prst="textNoShape">
              <a:avLst/>
            </a:prstTxWarp>
          </a:bodyPr>
          <a:lstStyle/>
          <a:p>
            <a:pPr defTabSz="932585"/>
            <a:endParaRPr lang="en-US" sz="1801">
              <a:solidFill>
                <a:srgbClr val="FFFFFF"/>
              </a:solidFill>
            </a:endParaRPr>
          </a:p>
        </p:txBody>
      </p:sp>
      <p:sp>
        <p:nvSpPr>
          <p:cNvPr id="10" name="Rectangle 7"/>
          <p:cNvSpPr>
            <a:spLocks noChangeArrowheads="1"/>
          </p:cNvSpPr>
          <p:nvPr userDrawn="1"/>
        </p:nvSpPr>
        <p:spPr bwMode="auto">
          <a:xfrm>
            <a:off x="1" y="5843588"/>
            <a:ext cx="12433301" cy="1154114"/>
          </a:xfrm>
          <a:prstGeom prst="rect">
            <a:avLst/>
          </a:prstGeom>
          <a:solidFill>
            <a:srgbClr val="00188F"/>
          </a:solidFill>
          <a:ln>
            <a:noFill/>
          </a:ln>
          <a:extLst/>
        </p:spPr>
        <p:txBody>
          <a:bodyPr vert="horz" wrap="square" lIns="91427" tIns="45714" rIns="91427" bIns="45714" numCol="1" anchor="t" anchorCtr="0" compatLnSpc="1">
            <a:prstTxWarp prst="textNoShape">
              <a:avLst/>
            </a:prstTxWarp>
          </a:bodyPr>
          <a:lstStyle/>
          <a:p>
            <a:pPr defTabSz="932585"/>
            <a:endParaRPr lang="en-US" sz="1801">
              <a:solidFill>
                <a:srgbClr val="FFFFFF"/>
              </a:solidFill>
            </a:endParaRPr>
          </a:p>
        </p:txBody>
      </p:sp>
      <p:sp>
        <p:nvSpPr>
          <p:cNvPr id="11" name="Rectangle 8"/>
          <p:cNvSpPr>
            <a:spLocks noChangeArrowheads="1"/>
          </p:cNvSpPr>
          <p:nvPr userDrawn="1"/>
        </p:nvSpPr>
        <p:spPr bwMode="auto">
          <a:xfrm>
            <a:off x="3176" y="3409952"/>
            <a:ext cx="12430128" cy="282574"/>
          </a:xfrm>
          <a:prstGeom prst="rect">
            <a:avLst/>
          </a:prstGeom>
          <a:solidFill>
            <a:srgbClr val="25B9EC"/>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4" rIns="91427" bIns="45714" numCol="1" anchor="t" anchorCtr="0" compatLnSpc="1">
            <a:prstTxWarp prst="textNoShape">
              <a:avLst/>
            </a:prstTxWarp>
          </a:bodyPr>
          <a:lstStyle/>
          <a:p>
            <a:pPr defTabSz="932585"/>
            <a:endParaRPr lang="en-US" sz="1801">
              <a:solidFill>
                <a:srgbClr val="FFFFFF"/>
              </a:solidFill>
            </a:endParaRPr>
          </a:p>
        </p:txBody>
      </p:sp>
      <p:sp>
        <p:nvSpPr>
          <p:cNvPr id="13" name="Rectangle 12"/>
          <p:cNvSpPr/>
          <p:nvPr userDrawn="1"/>
        </p:nvSpPr>
        <p:spPr bwMode="white">
          <a:xfrm>
            <a:off x="637"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9"/>
            <a:ext cx="6399214"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1"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black">
          <a:xfrm>
            <a:off x="458333" y="6182441"/>
            <a:ext cx="1552931" cy="332660"/>
          </a:xfrm>
          <a:prstGeom prst="rect">
            <a:avLst/>
          </a:prstGeom>
        </p:spPr>
      </p:pic>
      <p:sp>
        <p:nvSpPr>
          <p:cNvPr id="8" name="Rectangle 6"/>
          <p:cNvSpPr>
            <a:spLocks noChangeArrowheads="1"/>
          </p:cNvSpPr>
          <p:nvPr userDrawn="1"/>
        </p:nvSpPr>
        <p:spPr bwMode="auto">
          <a:xfrm>
            <a:off x="3177" y="4395791"/>
            <a:ext cx="12433299" cy="26019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4" rIns="91427" bIns="45714" numCol="1" anchor="t" anchorCtr="0" compatLnSpc="1">
            <a:prstTxWarp prst="textNoShape">
              <a:avLst/>
            </a:prstTxWarp>
          </a:bodyPr>
          <a:lstStyle/>
          <a:p>
            <a:pPr defTabSz="932585"/>
            <a:endParaRPr lang="en-US" sz="1801">
              <a:solidFill>
                <a:srgbClr val="FFFFFF"/>
              </a:solidFill>
            </a:endParaRPr>
          </a:p>
        </p:txBody>
      </p:sp>
      <p:sp>
        <p:nvSpPr>
          <p:cNvPr id="14" name="TextBox 7"/>
          <p:cNvSpPr txBox="1"/>
          <p:nvPr userDrawn="1"/>
        </p:nvSpPr>
        <p:spPr bwMode="white">
          <a:xfrm>
            <a:off x="4327496" y="6697629"/>
            <a:ext cx="3781484"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
        <p:nvSpPr>
          <p:cNvPr id="17" name="Text Placeholder 16"/>
          <p:cNvSpPr>
            <a:spLocks noGrp="1"/>
          </p:cNvSpPr>
          <p:nvPr>
            <p:ph type="body" sz="quarter" idx="13" hasCustomPrompt="1"/>
          </p:nvPr>
        </p:nvSpPr>
        <p:spPr>
          <a:xfrm>
            <a:off x="274639" y="296864"/>
            <a:ext cx="3657599" cy="461665"/>
          </a:xfrm>
        </p:spPr>
        <p:txBody>
          <a:bodyPr/>
          <a:lstStyle>
            <a:lvl1pPr marL="0" indent="0">
              <a:buNone/>
              <a:defRPr sz="2000">
                <a:latin typeface="+mn-lt"/>
              </a:defRPr>
            </a:lvl1pPr>
            <a:lvl2pPr marL="342843" indent="0">
              <a:buNone/>
              <a:defRPr sz="2000"/>
            </a:lvl2pPr>
            <a:lvl3pPr marL="571404" indent="0">
              <a:buNone/>
              <a:defRPr sz="2000"/>
            </a:lvl3pPr>
            <a:lvl4pPr marL="799967" indent="0">
              <a:buNone/>
              <a:defRPr sz="2000"/>
            </a:lvl4pPr>
            <a:lvl5pPr marL="1028528" indent="0">
              <a:buNone/>
              <a:defRPr sz="2000"/>
            </a:lvl5pPr>
          </a:lstStyle>
          <a:p>
            <a:pPr lvl="0"/>
            <a:r>
              <a:rPr lang="en-US" dirty="0"/>
              <a:t>Session Code</a:t>
            </a:r>
          </a:p>
        </p:txBody>
      </p:sp>
    </p:spTree>
    <p:extLst>
      <p:ext uri="{BB962C8B-B14F-4D97-AF65-F5344CB8AC3E}">
        <p14:creationId xmlns:p14="http://schemas.microsoft.com/office/powerpoint/2010/main" val="214948134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Lst>
  </p:timing>
  <p:extLst mod="1">
    <p:ext uri="{DCECCB84-F9BA-43D5-87BE-67443E8EF086}">
      <p15:sldGuideLst xmlns:p15="http://schemas.microsoft.com/office/powerpoint/2012/main">
        <p15:guide id="1" orient="horz" pos="5992" userDrawn="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4"/>
            <a:ext cx="8219814"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327496" y="6697629"/>
            <a:ext cx="3781484"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221436627"/>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1" y="0"/>
            <a:ext cx="6002338" cy="742187"/>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761038" y="1211264"/>
            <a:ext cx="6400800" cy="600163"/>
          </a:xfrm>
        </p:spPr>
        <p:txBody>
          <a:bodyPr/>
          <a:lstStyle>
            <a:lvl1pPr marL="0" indent="0">
              <a:buNone/>
              <a:defRPr sz="3000"/>
            </a:lvl1pPr>
          </a:lstStyle>
          <a:p>
            <a:pPr lvl="0"/>
            <a:r>
              <a:rPr lang="en-US"/>
              <a:t>Click to edit Master text styles</a:t>
            </a:r>
          </a:p>
        </p:txBody>
      </p:sp>
    </p:spTree>
    <p:extLst>
      <p:ext uri="{BB962C8B-B14F-4D97-AF65-F5344CB8AC3E}">
        <p14:creationId xmlns:p14="http://schemas.microsoft.com/office/powerpoint/2010/main" val="883097125"/>
      </p:ext>
    </p:extLst>
  </p:cSld>
  <p:clrMapOvr>
    <a:masterClrMapping/>
  </p:clrMapOvr>
  <p:transition spd="slow">
    <p:push dir="u"/>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08597716"/>
      </p:ext>
    </p:extLst>
  </p:cSld>
  <p:clrMapOvr>
    <a:masterClrMapping/>
  </p:clrMapOvr>
  <p:transition spd="slow">
    <p:push dir="u"/>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
        <p:nvSpPr>
          <p:cNvPr id="4" name="Content Placeholder 3"/>
          <p:cNvSpPr>
            <a:spLocks noGrp="1"/>
          </p:cNvSpPr>
          <p:nvPr>
            <p:ph sz="quarter" idx="10"/>
          </p:nvPr>
        </p:nvSpPr>
        <p:spPr>
          <a:xfrm>
            <a:off x="274638" y="1697038"/>
            <a:ext cx="9144000" cy="683264"/>
          </a:xfrm>
        </p:spPr>
        <p:txBody>
          <a:bodyPr/>
          <a:lstStyle>
            <a:lvl1pPr marL="0" indent="0">
              <a:buNone/>
              <a:defRPr sz="3599"/>
            </a:lvl1pPr>
            <a:lvl2pPr>
              <a:defRPr sz="3599"/>
            </a:lvl2pPr>
            <a:lvl3pPr>
              <a:defRPr sz="3599"/>
            </a:lvl3pPr>
            <a:lvl4pPr>
              <a:defRPr sz="3599"/>
            </a:lvl4pPr>
            <a:lvl5pPr>
              <a:defRPr sz="3599"/>
            </a:lvl5pPr>
          </a:lstStyle>
          <a:p>
            <a:pPr lvl="0"/>
            <a:r>
              <a:rPr lang="en-US"/>
              <a:t>Click to edit Master text styles</a:t>
            </a:r>
          </a:p>
        </p:txBody>
      </p:sp>
    </p:spTree>
    <p:extLst>
      <p:ext uri="{BB962C8B-B14F-4D97-AF65-F5344CB8AC3E}">
        <p14:creationId xmlns:p14="http://schemas.microsoft.com/office/powerpoint/2010/main" val="3791404968"/>
      </p:ext>
    </p:extLst>
  </p:cSld>
  <p:clrMapOvr>
    <a:masterClrMapping/>
  </p:clrMapOvr>
  <p:transition spd="slow">
    <p:push dir="u"/>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99"/>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3657600" cy="433966"/>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2865801185"/>
      </p:ext>
    </p:extLst>
  </p:cSld>
  <p:clrMapOvr>
    <a:masterClrMapping/>
  </p:clrMapOvr>
  <p:transition spd="slow">
    <p:push dir="u"/>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742187"/>
          </a:xfrm>
        </p:spPr>
        <p:txBody>
          <a:bodyPr/>
          <a:lstStyle/>
          <a:p>
            <a:r>
              <a:rPr lang="en-US"/>
              <a:t>Click icon to add picture</a:t>
            </a:r>
            <a:endParaRPr lang="en-US" dirty="0"/>
          </a:p>
        </p:txBody>
      </p:sp>
      <p:sp>
        <p:nvSpPr>
          <p:cNvPr id="2" name="Title 1"/>
          <p:cNvSpPr>
            <a:spLocks noGrp="1"/>
          </p:cNvSpPr>
          <p:nvPr>
            <p:ph type="title"/>
          </p:nvPr>
        </p:nvSpPr>
        <p:spPr/>
        <p:txBody>
          <a:bodyPr/>
          <a:lstStyle>
            <a:lvl1pPr>
              <a:defRPr sz="4799">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308384872"/>
      </p:ext>
    </p:extLst>
  </p:cSld>
  <p:clrMapOvr>
    <a:masterClrMapping/>
  </p:clrMapOvr>
  <p:transition spd="slow">
    <p:push dir="u"/>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98"/>
            <a:ext cx="11889564" cy="752093"/>
          </a:xfrm>
        </p:spPr>
        <p:txBody>
          <a:bodyPr/>
          <a:lstStyle>
            <a:lvl1pPr>
              <a:defRPr sz="3599"/>
            </a:lvl1pPr>
          </a:lstStyle>
          <a:p>
            <a:r>
              <a:rPr lang="en-US"/>
              <a:t>Click to edit Master title style</a:t>
            </a:r>
            <a:endParaRPr lang="en-US" dirty="0"/>
          </a:p>
        </p:txBody>
      </p:sp>
      <p:sp>
        <p:nvSpPr>
          <p:cNvPr id="4" name="Content Placeholder 3"/>
          <p:cNvSpPr>
            <a:spLocks noGrp="1"/>
          </p:cNvSpPr>
          <p:nvPr>
            <p:ph sz="quarter" idx="10"/>
          </p:nvPr>
        </p:nvSpPr>
        <p:spPr>
          <a:xfrm>
            <a:off x="274639" y="3040064"/>
            <a:ext cx="11887200" cy="517064"/>
          </a:xfrm>
        </p:spPr>
        <p:txBody>
          <a:bodyPr/>
          <a:lstStyle>
            <a:lvl1pPr marL="0" indent="0">
              <a:buNone/>
              <a:defRPr sz="2400"/>
            </a:lvl1pPr>
          </a:lstStyle>
          <a:p>
            <a:pPr lvl="0"/>
            <a:r>
              <a:rPr lang="en-US"/>
              <a:t>Click to edit Master text styles</a:t>
            </a:r>
          </a:p>
        </p:txBody>
      </p:sp>
      <p:sp>
        <p:nvSpPr>
          <p:cNvPr id="6" name="Content Placeholder 5"/>
          <p:cNvSpPr>
            <a:spLocks noGrp="1"/>
          </p:cNvSpPr>
          <p:nvPr>
            <p:ph sz="quarter" idx="11"/>
          </p:nvPr>
        </p:nvSpPr>
        <p:spPr>
          <a:xfrm>
            <a:off x="274638"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7" name="Content Placeholder 5"/>
          <p:cNvSpPr>
            <a:spLocks noGrp="1"/>
          </p:cNvSpPr>
          <p:nvPr>
            <p:ph sz="quarter" idx="12"/>
          </p:nvPr>
        </p:nvSpPr>
        <p:spPr>
          <a:xfrm>
            <a:off x="3321740"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8" name="Content Placeholder 5"/>
          <p:cNvSpPr>
            <a:spLocks noGrp="1"/>
          </p:cNvSpPr>
          <p:nvPr>
            <p:ph sz="quarter" idx="13"/>
          </p:nvPr>
        </p:nvSpPr>
        <p:spPr>
          <a:xfrm>
            <a:off x="6368842"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9" name="Content Placeholder 5"/>
          <p:cNvSpPr>
            <a:spLocks noGrp="1"/>
          </p:cNvSpPr>
          <p:nvPr>
            <p:ph sz="quarter" idx="14"/>
          </p:nvPr>
        </p:nvSpPr>
        <p:spPr>
          <a:xfrm>
            <a:off x="9415946"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421798788"/>
      </p:ext>
    </p:extLst>
  </p:cSld>
  <p:clrMapOvr>
    <a:masterClrMapping/>
  </p:clrMapOvr>
  <p:transition spd="slow">
    <p:push dir="u"/>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99"/>
            </a:lvl1pPr>
          </a:lstStyle>
          <a:p>
            <a:r>
              <a:rPr lang="en-US"/>
              <a:t>Click to edit Master title style</a:t>
            </a:r>
            <a:endParaRPr lang="en-US" dirty="0"/>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1120834898"/>
      </p:ext>
    </p:extLst>
  </p:cSld>
  <p:clrMapOvr>
    <a:masterClrMapping/>
  </p:clrMapOvr>
  <p:transition spd="slow">
    <p:push dir="u"/>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Tree>
    <p:extLst>
      <p:ext uri="{BB962C8B-B14F-4D97-AF65-F5344CB8AC3E}">
        <p14:creationId xmlns:p14="http://schemas.microsoft.com/office/powerpoint/2010/main" val="3200546557"/>
      </p:ext>
    </p:extLst>
  </p:cSld>
  <p:clrMapOvr>
    <a:masterClrMapping/>
  </p:clrMapOvr>
  <p:transition spd="slow">
    <p:push dir="u"/>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2588064"/>
      </p:ext>
    </p:extLst>
  </p:cSld>
  <p:clrMapOvr>
    <a:masterClrMapping/>
  </p:clrMapOvr>
  <p:transition spd="slow">
    <p:push dir="u"/>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8609" y="296864"/>
            <a:ext cx="11887200"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74321" y="2122489"/>
            <a:ext cx="11889564" cy="2746375"/>
          </a:xfrm>
        </p:spPr>
        <p:txBody>
          <a:bodyPr/>
          <a:lstStyle>
            <a:lvl1pPr>
              <a:defRPr sz="8799">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708464729"/>
      </p:ext>
    </p:extLst>
  </p:cSld>
  <p:clrMapOvr>
    <a:overrideClrMapping bg1="dk1" tx1="lt1" bg2="dk2" tx2="lt2" accent1="accent1" accent2="accent2" accent3="accent3" accent4="accent4" accent5="accent5" accent6="accent6" hlink="hlink" folHlink="folHlink"/>
  </p:clrMapOvr>
  <p:transition spd="slow">
    <p:push dir="u"/>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act Layout_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4"/>
            <a:ext cx="8219814"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327496" y="6697629"/>
            <a:ext cx="3781484"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944145900"/>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122489"/>
            <a:ext cx="11889564" cy="2746375"/>
          </a:xfrm>
        </p:spPr>
        <p:txBody>
          <a:bodyPr/>
          <a:lstStyle>
            <a:lvl1pPr>
              <a:defRPr sz="8799">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03716365"/>
      </p:ext>
    </p:extLst>
  </p:cSld>
  <p:clrMapOvr>
    <a:overrideClrMapping bg1="dk1" tx1="lt1" bg2="dk2" tx2="lt2" accent1="accent1" accent2="accent2" accent3="accent3" accent4="accent4" accent5="accent5" accent6="accent6" hlink="hlink" folHlink="folHlink"/>
  </p:clrMapOvr>
  <p:transition spd="slow">
    <p:push dir="u"/>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64"/>
            <a:ext cx="11889564" cy="1828800"/>
          </a:xfrm>
        </p:spPr>
        <p:txBody>
          <a:bodyPr/>
          <a:lstStyle>
            <a:lvl1pPr>
              <a:defRPr sz="5399">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14309961"/>
      </p:ext>
    </p:extLst>
  </p:cSld>
  <p:clrMapOvr>
    <a:overrideClrMapping bg1="dk1" tx1="lt1" bg2="dk2" tx2="lt2" accent1="accent1" accent2="accent2" accent3="accent3" accent4="accent4" accent5="accent5" accent6="accent6" hlink="hlink" folHlink="folHlink"/>
  </p:clrMapOvr>
  <p:transition spd="slow">
    <p:push dir="u"/>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1" y="2129450"/>
            <a:ext cx="11889564" cy="917575"/>
          </a:xfrm>
        </p:spPr>
        <p:txBody>
          <a:bodyPr/>
          <a:lstStyle>
            <a:lvl1pPr>
              <a:defRPr sz="5999"/>
            </a:lvl1pPr>
          </a:lstStyle>
          <a:p>
            <a:r>
              <a:rPr lang="en-US" dirty="0"/>
              <a:t>Thank you</a:t>
            </a:r>
          </a:p>
        </p:txBody>
      </p:sp>
    </p:spTree>
    <p:extLst>
      <p:ext uri="{BB962C8B-B14F-4D97-AF65-F5344CB8AC3E}">
        <p14:creationId xmlns:p14="http://schemas.microsoft.com/office/powerpoint/2010/main" val="2122446717"/>
      </p:ext>
    </p:extLst>
  </p:cSld>
  <p:clrMapOvr>
    <a:masterClrMapping/>
  </p:clrMapOvr>
  <p:transition spd="slow">
    <p:push dir="u"/>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16059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13839805"/>
      </p:ext>
    </p:extLst>
  </p:cSld>
  <p:clrMapOvr>
    <a:masterClrMapping/>
  </p:clrMapOvr>
  <p:transition spd="slow">
    <p:push dir="u"/>
  </p:transition>
  <p:hf sldNum="0" hdr="0" dt="0"/>
</p:sldLayout>
</file>

<file path=ppt/slideLayouts/slideLayout2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D084A3BA-9E8D-4B2F-B2B0-4E170D3C4FBB}" type="datetimeFigureOut">
              <a:rPr lang="en-US" smtClean="0"/>
              <a:t>6/10/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3350D5A-C1CC-4DD8-A522-066598D94E07}" type="slidenum">
              <a:rPr lang="en-US" smtClean="0"/>
              <a:t>‹#›</a:t>
            </a:fld>
            <a:endParaRPr lang="en-US" dirty="0"/>
          </a:p>
        </p:txBody>
      </p:sp>
    </p:spTree>
    <p:extLst>
      <p:ext uri="{BB962C8B-B14F-4D97-AF65-F5344CB8AC3E}">
        <p14:creationId xmlns:p14="http://schemas.microsoft.com/office/powerpoint/2010/main" val="2810018375"/>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84A3BA-9E8D-4B2F-B2B0-4E170D3C4FBB}" type="datetimeFigureOut">
              <a:rPr lang="en-US" smtClean="0"/>
              <a:t>6/10/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3350D5A-C1CC-4DD8-A522-066598D94E07}" type="slidenum">
              <a:rPr lang="en-US" smtClean="0"/>
              <a:t>‹#›</a:t>
            </a:fld>
            <a:endParaRPr lang="en-US" dirty="0"/>
          </a:p>
        </p:txBody>
      </p:sp>
    </p:spTree>
    <p:extLst>
      <p:ext uri="{BB962C8B-B14F-4D97-AF65-F5344CB8AC3E}">
        <p14:creationId xmlns:p14="http://schemas.microsoft.com/office/powerpoint/2010/main" val="828407282"/>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084A3BA-9E8D-4B2F-B2B0-4E170D3C4FBB}" type="datetimeFigureOut">
              <a:rPr lang="en-US" smtClean="0"/>
              <a:t>6/10/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3350D5A-C1CC-4DD8-A522-066598D94E07}" type="slidenum">
              <a:rPr lang="en-US" smtClean="0"/>
              <a:t>‹#›</a:t>
            </a:fld>
            <a:endParaRPr lang="en-US" dirty="0"/>
          </a:p>
        </p:txBody>
      </p:sp>
    </p:spTree>
    <p:extLst>
      <p:ext uri="{BB962C8B-B14F-4D97-AF65-F5344CB8AC3E}">
        <p14:creationId xmlns:p14="http://schemas.microsoft.com/office/powerpoint/2010/main" val="3530616206"/>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084A3BA-9E8D-4B2F-B2B0-4E170D3C4FBB}" type="datetimeFigureOut">
              <a:rPr lang="en-US" smtClean="0"/>
              <a:t>6/10/201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A3350D5A-C1CC-4DD8-A522-066598D94E07}" type="slidenum">
              <a:rPr lang="en-US" smtClean="0"/>
              <a:t>‹#›</a:t>
            </a:fld>
            <a:endParaRPr lang="en-US" dirty="0"/>
          </a:p>
        </p:txBody>
      </p:sp>
    </p:spTree>
    <p:extLst>
      <p:ext uri="{BB962C8B-B14F-4D97-AF65-F5344CB8AC3E}">
        <p14:creationId xmlns:p14="http://schemas.microsoft.com/office/powerpoint/2010/main" val="404227645"/>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084A3BA-9E8D-4B2F-B2B0-4E170D3C4FBB}" type="datetimeFigureOut">
              <a:rPr lang="en-US" smtClean="0"/>
              <a:t>6/10/2016</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A3350D5A-C1CC-4DD8-A522-066598D94E07}" type="slidenum">
              <a:rPr lang="en-US" smtClean="0"/>
              <a:t>‹#›</a:t>
            </a:fld>
            <a:endParaRPr lang="en-US" dirty="0"/>
          </a:p>
        </p:txBody>
      </p:sp>
    </p:spTree>
    <p:extLst>
      <p:ext uri="{BB962C8B-B14F-4D97-AF65-F5344CB8AC3E}">
        <p14:creationId xmlns:p14="http://schemas.microsoft.com/office/powerpoint/2010/main" val="1925664063"/>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084A3BA-9E8D-4B2F-B2B0-4E170D3C4FBB}" type="datetimeFigureOut">
              <a:rPr lang="en-US" smtClean="0"/>
              <a:t>6/10/2016</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A3350D5A-C1CC-4DD8-A522-066598D94E07}" type="slidenum">
              <a:rPr lang="en-US" smtClean="0"/>
              <a:t>‹#›</a:t>
            </a:fld>
            <a:endParaRPr lang="en-US" dirty="0"/>
          </a:p>
        </p:txBody>
      </p:sp>
    </p:spTree>
    <p:extLst>
      <p:ext uri="{BB962C8B-B14F-4D97-AF65-F5344CB8AC3E}">
        <p14:creationId xmlns:p14="http://schemas.microsoft.com/office/powerpoint/2010/main" val="345837081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8"/>
            <a:ext cx="10058399" cy="917575"/>
          </a:xfrm>
        </p:spPr>
        <p:txBody>
          <a:bodyPr/>
          <a:lstStyle>
            <a:lvl1pPr marL="233325" indent="-233325">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9"/>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327496" y="6697629"/>
            <a:ext cx="3781484"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519249934"/>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084A3BA-9E8D-4B2F-B2B0-4E170D3C4FBB}" type="datetimeFigureOut">
              <a:rPr lang="en-US" smtClean="0"/>
              <a:t>6/10/2016</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A3350D5A-C1CC-4DD8-A522-066598D94E07}" type="slidenum">
              <a:rPr lang="en-US" smtClean="0"/>
              <a:t>‹#›</a:t>
            </a:fld>
            <a:endParaRPr lang="en-US" dirty="0"/>
          </a:p>
        </p:txBody>
      </p:sp>
    </p:spTree>
    <p:extLst>
      <p:ext uri="{BB962C8B-B14F-4D97-AF65-F5344CB8AC3E}">
        <p14:creationId xmlns:p14="http://schemas.microsoft.com/office/powerpoint/2010/main" val="3024499291"/>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D084A3BA-9E8D-4B2F-B2B0-4E170D3C4FBB}" type="datetimeFigureOut">
              <a:rPr lang="en-US" smtClean="0"/>
              <a:t>6/10/201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A3350D5A-C1CC-4DD8-A522-066598D94E07}" type="slidenum">
              <a:rPr lang="en-US" smtClean="0"/>
              <a:t>‹#›</a:t>
            </a:fld>
            <a:endParaRPr lang="en-US" dirty="0"/>
          </a:p>
        </p:txBody>
      </p:sp>
    </p:spTree>
    <p:extLst>
      <p:ext uri="{BB962C8B-B14F-4D97-AF65-F5344CB8AC3E}">
        <p14:creationId xmlns:p14="http://schemas.microsoft.com/office/powerpoint/2010/main" val="277360228"/>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dirty="0"/>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D084A3BA-9E8D-4B2F-B2B0-4E170D3C4FBB}" type="datetimeFigureOut">
              <a:rPr lang="en-US" smtClean="0"/>
              <a:t>6/10/201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A3350D5A-C1CC-4DD8-A522-066598D94E07}" type="slidenum">
              <a:rPr lang="en-US" smtClean="0"/>
              <a:t>‹#›</a:t>
            </a:fld>
            <a:endParaRPr lang="en-US" dirty="0"/>
          </a:p>
        </p:txBody>
      </p:sp>
    </p:spTree>
    <p:extLst>
      <p:ext uri="{BB962C8B-B14F-4D97-AF65-F5344CB8AC3E}">
        <p14:creationId xmlns:p14="http://schemas.microsoft.com/office/powerpoint/2010/main" val="1161866922"/>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84A3BA-9E8D-4B2F-B2B0-4E170D3C4FBB}" type="datetimeFigureOut">
              <a:rPr lang="en-US" smtClean="0"/>
              <a:t>6/10/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3350D5A-C1CC-4DD8-A522-066598D94E07}" type="slidenum">
              <a:rPr lang="en-US" smtClean="0"/>
              <a:t>‹#›</a:t>
            </a:fld>
            <a:endParaRPr lang="en-US" dirty="0"/>
          </a:p>
        </p:txBody>
      </p:sp>
    </p:spTree>
    <p:extLst>
      <p:ext uri="{BB962C8B-B14F-4D97-AF65-F5344CB8AC3E}">
        <p14:creationId xmlns:p14="http://schemas.microsoft.com/office/powerpoint/2010/main" val="3173338474"/>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84A3BA-9E8D-4B2F-B2B0-4E170D3C4FBB}" type="datetimeFigureOut">
              <a:rPr lang="en-US" smtClean="0"/>
              <a:t>6/10/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3350D5A-C1CC-4DD8-A522-066598D94E07}" type="slidenum">
              <a:rPr lang="en-US" smtClean="0"/>
              <a:t>‹#›</a:t>
            </a:fld>
            <a:endParaRPr lang="en-US" dirty="0"/>
          </a:p>
        </p:txBody>
      </p:sp>
    </p:spTree>
    <p:extLst>
      <p:ext uri="{BB962C8B-B14F-4D97-AF65-F5344CB8AC3E}">
        <p14:creationId xmlns:p14="http://schemas.microsoft.com/office/powerpoint/2010/main" val="796818318"/>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52pt Title">
    <p:bg>
      <p:bgPr>
        <a:solidFill>
          <a:schemeClr val="bg1"/>
        </a:solidFill>
        <a:effectLst/>
      </p:bgPr>
    </p:bg>
    <p:spTree>
      <p:nvGrpSpPr>
        <p:cNvPr id="1" name=""/>
        <p:cNvGrpSpPr/>
        <p:nvPr/>
      </p:nvGrpSpPr>
      <p:grpSpPr>
        <a:xfrm>
          <a:off x="0" y="0"/>
          <a:ext cx="0" cy="0"/>
          <a:chOff x="0" y="0"/>
          <a:chExt cx="0" cy="0"/>
        </a:xfrm>
      </p:grpSpPr>
      <p:sp>
        <p:nvSpPr>
          <p:cNvPr id="5" name="Title 2"/>
          <p:cNvSpPr>
            <a:spLocks noGrp="1"/>
          </p:cNvSpPr>
          <p:nvPr>
            <p:ph type="title"/>
          </p:nvPr>
        </p:nvSpPr>
        <p:spPr>
          <a:xfrm>
            <a:off x="274320" y="292082"/>
            <a:ext cx="11887200" cy="946413"/>
          </a:xfrm>
          <a:prstGeom prst="rect">
            <a:avLst/>
          </a:prstGeom>
        </p:spPr>
        <p:txBody>
          <a:bodyPr/>
          <a:lstStyle>
            <a:lvl1pPr algn="l">
              <a:defRPr sz="5199">
                <a:solidFill>
                  <a:schemeClr val="tx2"/>
                </a:solidFill>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fontAlgn="base">
              <a:spcBef>
                <a:spcPct val="0"/>
              </a:spcBef>
              <a:spcAft>
                <a:spcPct val="0"/>
              </a:spcAft>
              <a:defRPr>
                <a:solidFill>
                  <a:srgbClr val="002050"/>
                </a:solidFill>
              </a:defRPr>
            </a:lvl1pPr>
          </a:lstStyle>
          <a:p>
            <a:pPr>
              <a:defRPr/>
            </a:pPr>
            <a:r>
              <a:t>Microsoft Confidential</a:t>
            </a:r>
          </a:p>
        </p:txBody>
      </p:sp>
      <p:sp>
        <p:nvSpPr>
          <p:cNvPr id="4" name="Slide Number Placeholder 3"/>
          <p:cNvSpPr>
            <a:spLocks noGrp="1"/>
          </p:cNvSpPr>
          <p:nvPr>
            <p:ph type="sldNum" sz="quarter" idx="11"/>
          </p:nvPr>
        </p:nvSpPr>
        <p:spPr/>
        <p:txBody>
          <a:bodyPr/>
          <a:lstStyle>
            <a:lvl1pPr defTabSz="931684" fontAlgn="base">
              <a:spcBef>
                <a:spcPct val="0"/>
              </a:spcBef>
              <a:spcAft>
                <a:spcPct val="0"/>
              </a:spcAft>
              <a:defRPr>
                <a:solidFill>
                  <a:srgbClr val="002050"/>
                </a:solidFill>
              </a:defRPr>
            </a:lvl1pPr>
          </a:lstStyle>
          <a:p>
            <a:pPr>
              <a:defRPr/>
            </a:pPr>
            <a:fld id="{EC136591-509A-F246-B30E-5ECE4A4A5F5E}" type="slidenum">
              <a:rPr/>
              <a:pPr>
                <a:defRPr/>
              </a:pPr>
              <a:t>‹#›</a:t>
            </a:fld>
            <a:endParaRPr/>
          </a:p>
        </p:txBody>
      </p:sp>
    </p:spTree>
    <p:extLst>
      <p:ext uri="{BB962C8B-B14F-4D97-AF65-F5344CB8AC3E}">
        <p14:creationId xmlns:p14="http://schemas.microsoft.com/office/powerpoint/2010/main" val="1253693197"/>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4688224"/>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5424113"/>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p>
        </p:txBody>
      </p:sp>
    </p:spTree>
    <p:extLst>
      <p:ext uri="{BB962C8B-B14F-4D97-AF65-F5344CB8AC3E}">
        <p14:creationId xmlns:p14="http://schemas.microsoft.com/office/powerpoint/2010/main" val="943137541"/>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p>
        </p:txBody>
      </p:sp>
    </p:spTree>
    <p:extLst>
      <p:ext uri="{BB962C8B-B14F-4D97-AF65-F5344CB8AC3E}">
        <p14:creationId xmlns:p14="http://schemas.microsoft.com/office/powerpoint/2010/main" val="263612072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Layout_Accent Color 2">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5"/>
            <a:ext cx="10058399" cy="917575"/>
          </a:xfrm>
        </p:spPr>
        <p:txBody>
          <a:bodyPr/>
          <a:lstStyle>
            <a:lvl1pPr marL="282527" indent="-282527">
              <a:tabLst>
                <a:tab pos="282527"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8"/>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327496" y="6697629"/>
            <a:ext cx="3781484"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411144253"/>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7946186"/>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21632653"/>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9877950"/>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28486715"/>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732850310"/>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4639" y="1235350"/>
            <a:ext cx="11889564" cy="917575"/>
          </a:xfrm>
        </p:spPr>
        <p:txBody>
          <a:bodyPr/>
          <a:lstStyle>
            <a:lvl1pPr>
              <a:defRPr sz="7196">
                <a:gradFill>
                  <a:gsLst>
                    <a:gs pos="1250">
                      <a:schemeClr val="accent2"/>
                    </a:gs>
                    <a:gs pos="100000">
                      <a:schemeClr val="accent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909834614"/>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accent6"/>
                    </a:gs>
                    <a:gs pos="0">
                      <a:schemeClr val="accent6"/>
                    </a:gs>
                  </a:gsLst>
                  <a:lin ang="5400000" scaled="0"/>
                </a:gradFill>
              </a:defRPr>
            </a:lvl1pPr>
          </a:lstStyle>
          <a:p>
            <a:r>
              <a:rPr lang="en-US" dirty="0"/>
              <a:t>Section title</a:t>
            </a:r>
          </a:p>
        </p:txBody>
      </p:sp>
    </p:spTree>
    <p:extLst>
      <p:ext uri="{BB962C8B-B14F-4D97-AF65-F5344CB8AC3E}">
        <p14:creationId xmlns:p14="http://schemas.microsoft.com/office/powerpoint/2010/main" val="1223180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438224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620924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Fact Layout ">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03440" y="2125663"/>
            <a:ext cx="8229600" cy="1828801"/>
          </a:xfrm>
          <a:noFill/>
        </p:spPr>
        <p:txBody>
          <a:bodyPr wrap="square" tIns="91440" bIns="91440" anchor="t" anchorCtr="0">
            <a:noAutofit/>
          </a:bodyPr>
          <a:lstStyle>
            <a:lvl1pPr>
              <a:defRPr sz="5998" spc="-100" baseline="0">
                <a:gradFill>
                  <a:gsLst>
                    <a:gs pos="100000">
                      <a:schemeClr val="bg1"/>
                    </a:gs>
                    <a:gs pos="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2784078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3"/>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562" indent="0">
              <a:buNone/>
              <a:defRPr/>
            </a:lvl3pPr>
            <a:lvl4pPr marL="457124" indent="0">
              <a:buNone/>
              <a:defRPr/>
            </a:lvl4pPr>
            <a:lvl5pPr marL="685686" indent="0">
              <a:buNone/>
              <a:defRPr/>
            </a:lvl5pPr>
          </a:lstStyle>
          <a:p>
            <a:pPr lvl="0"/>
            <a:r>
              <a:rPr lang="en-US"/>
              <a:t>Click to edit Master text styles</a:t>
            </a:r>
          </a:p>
        </p:txBody>
      </p:sp>
      <p:sp>
        <p:nvSpPr>
          <p:cNvPr id="4" name="Title 1"/>
          <p:cNvSpPr>
            <a:spLocks noGrp="1"/>
          </p:cNvSpPr>
          <p:nvPr>
            <p:ph type="title"/>
          </p:nvPr>
        </p:nvSpPr>
        <p:spPr>
          <a:xfrm>
            <a:off x="282576" y="1211265"/>
            <a:ext cx="11889564" cy="917575"/>
          </a:xfrm>
        </p:spPr>
        <p:txBody>
          <a:bodyPr/>
          <a:lstStyle>
            <a:lvl1pPr>
              <a:defRPr sz="71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userDrawn="1"/>
        </p:nvSpPr>
        <p:spPr bwMode="white">
          <a:xfrm>
            <a:off x="4327496" y="6697629"/>
            <a:ext cx="3781484"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117695665"/>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Fact Layout-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03440" y="2125663"/>
            <a:ext cx="8229600" cy="1828801"/>
          </a:xfrm>
          <a:noFill/>
        </p:spPr>
        <p:txBody>
          <a:bodyPr wrap="square" tIns="91440" bIns="91440" anchor="t" anchorCtr="0">
            <a:noAutofit/>
          </a:bodyPr>
          <a:lstStyle>
            <a:lvl1pPr>
              <a:defRPr sz="5998" spc="-100"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661100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Quote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89037" y="1227031"/>
            <a:ext cx="10058401" cy="914401"/>
          </a:xfrm>
        </p:spPr>
        <p:txBody>
          <a:bodyPr/>
          <a:lstStyle>
            <a:lvl1pPr marL="284053" indent="-284053">
              <a:defRPr sz="5998" baseline="0">
                <a:gradFill>
                  <a:gsLst>
                    <a:gs pos="1250">
                      <a:schemeClr val="accent2"/>
                    </a:gs>
                    <a:gs pos="100000">
                      <a:schemeClr val="accent2"/>
                    </a:gs>
                  </a:gsLst>
                  <a:lin ang="5400000" scaled="0"/>
                </a:gradFill>
              </a:defRPr>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4884629"/>
            <a:ext cx="5486400" cy="1071062"/>
          </a:xfrm>
        </p:spPr>
        <p:txBody>
          <a:bodyPr/>
          <a:lstStyle>
            <a:lvl1pPr marL="0" indent="0">
              <a:buNone/>
              <a:defRPr sz="3198">
                <a:gradFill>
                  <a:gsLst>
                    <a:gs pos="1250">
                      <a:schemeClr val="accent2"/>
                    </a:gs>
                    <a:gs pos="100000">
                      <a:schemeClr val="accent2"/>
                    </a:gs>
                  </a:gsLst>
                  <a:lin ang="5400000" scaled="0"/>
                </a:gradFill>
              </a:defRPr>
            </a:lvl1pPr>
            <a:lvl2pPr marL="342768" indent="0">
              <a:buNone/>
              <a:defRPr/>
            </a:lvl2pPr>
            <a:lvl3pPr marL="571281" indent="0">
              <a:buNone/>
              <a:defRPr/>
            </a:lvl3pPr>
            <a:lvl4pPr marL="799792" indent="0">
              <a:buNone/>
              <a:defRPr/>
            </a:lvl4pPr>
            <a:lvl5pPr marL="1028305" indent="0">
              <a:buNone/>
              <a:defRPr/>
            </a:lvl5pPr>
          </a:lstStyle>
          <a:p>
            <a:pPr lvl="0"/>
            <a:r>
              <a:rPr lang="en-US" dirty="0"/>
              <a:t>Author’s Name</a:t>
            </a:r>
            <a:br>
              <a:rPr lang="en-US" dirty="0"/>
            </a:br>
            <a:r>
              <a:rPr lang="en-US" dirty="0"/>
              <a:t>Title</a:t>
            </a:r>
          </a:p>
        </p:txBody>
      </p:sp>
    </p:spTree>
    <p:extLst>
      <p:ext uri="{BB962C8B-B14F-4D97-AF65-F5344CB8AC3E}">
        <p14:creationId xmlns:p14="http://schemas.microsoft.com/office/powerpoint/2010/main" val="815848924"/>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Quote Layout-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89037" y="2125665"/>
            <a:ext cx="10058401" cy="914401"/>
          </a:xfrm>
        </p:spPr>
        <p:txBody>
          <a:bodyPr/>
          <a:lstStyle>
            <a:lvl1pPr marL="172972" indent="-172972">
              <a:defRPr sz="5998" baseline="0">
                <a:gradFill>
                  <a:gsLst>
                    <a:gs pos="1250">
                      <a:schemeClr val="bg1"/>
                    </a:gs>
                    <a:gs pos="100000">
                      <a:schemeClr val="bg1"/>
                    </a:gs>
                  </a:gsLst>
                  <a:lin ang="5400000" scaled="0"/>
                </a:gradFill>
              </a:defRPr>
            </a:lvl1pPr>
          </a:lstStyle>
          <a:p>
            <a:r>
              <a:rPr lang="en-US" dirty="0"/>
              <a:t>“Add a quote here. Design is easier than it looks, and more important than it seems.”</a:t>
            </a:r>
          </a:p>
        </p:txBody>
      </p:sp>
      <p:sp>
        <p:nvSpPr>
          <p:cNvPr id="4" name="Text Placeholder 3"/>
          <p:cNvSpPr>
            <a:spLocks noGrp="1"/>
          </p:cNvSpPr>
          <p:nvPr>
            <p:ph type="body" sz="quarter" idx="10" hasCustomPrompt="1"/>
          </p:nvPr>
        </p:nvSpPr>
        <p:spPr>
          <a:xfrm>
            <a:off x="5761038" y="4884629"/>
            <a:ext cx="5486400" cy="1071062"/>
          </a:xfrm>
        </p:spPr>
        <p:txBody>
          <a:bodyPr/>
          <a:lstStyle>
            <a:lvl1pPr marL="0" indent="0">
              <a:buNone/>
              <a:defRPr sz="3198">
                <a:gradFill>
                  <a:gsLst>
                    <a:gs pos="1250">
                      <a:schemeClr val="bg1"/>
                    </a:gs>
                    <a:gs pos="100000">
                      <a:schemeClr val="bg1"/>
                    </a:gs>
                  </a:gsLst>
                  <a:lin ang="5400000" scaled="0"/>
                </a:gradFill>
              </a:defRPr>
            </a:lvl1pPr>
            <a:lvl2pPr marL="342768" indent="0">
              <a:buNone/>
              <a:defRPr/>
            </a:lvl2pPr>
            <a:lvl3pPr marL="571281" indent="0">
              <a:buNone/>
              <a:defRPr/>
            </a:lvl3pPr>
            <a:lvl4pPr marL="799792" indent="0">
              <a:buNone/>
              <a:defRPr/>
            </a:lvl4pPr>
            <a:lvl5pPr marL="1028305" indent="0">
              <a:buNone/>
              <a:defRPr/>
            </a:lvl5pPr>
          </a:lstStyle>
          <a:p>
            <a:pPr lvl="0"/>
            <a:r>
              <a:rPr lang="en-US" dirty="0"/>
              <a:t>Author’s Name</a:t>
            </a:r>
            <a:br>
              <a:rPr lang="en-US" dirty="0"/>
            </a:br>
            <a:r>
              <a:rPr lang="en-US" dirty="0"/>
              <a:t>Title</a:t>
            </a:r>
          </a:p>
        </p:txBody>
      </p:sp>
    </p:spTree>
    <p:extLst>
      <p:ext uri="{BB962C8B-B14F-4D97-AF65-F5344CB8AC3E}">
        <p14:creationId xmlns:p14="http://schemas.microsoft.com/office/powerpoint/2010/main" val="2229488129"/>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Big Idea &amp; 3 Points Layout">
    <p:spTree>
      <p:nvGrpSpPr>
        <p:cNvPr id="1" name=""/>
        <p:cNvGrpSpPr/>
        <p:nvPr/>
      </p:nvGrpSpPr>
      <p:grpSpPr>
        <a:xfrm>
          <a:off x="0" y="0"/>
          <a:ext cx="0" cy="0"/>
          <a:chOff x="0" y="0"/>
          <a:chExt cx="0" cy="0"/>
        </a:xfrm>
      </p:grpSpPr>
      <p:sp>
        <p:nvSpPr>
          <p:cNvPr id="2" name="Title 1"/>
          <p:cNvSpPr>
            <a:spLocks noGrp="1"/>
          </p:cNvSpPr>
          <p:nvPr>
            <p:ph type="title"/>
          </p:nvPr>
        </p:nvSpPr>
        <p:spPr>
          <a:xfrm>
            <a:off x="274639" y="1235350"/>
            <a:ext cx="11889564" cy="917575"/>
          </a:xfrm>
        </p:spPr>
        <p:txBody>
          <a:bodyPr/>
          <a:lstStyle>
            <a:lvl1pPr>
              <a:defRPr sz="7196">
                <a:gradFill>
                  <a:gsLst>
                    <a:gs pos="1250">
                      <a:schemeClr val="accent2"/>
                    </a:gs>
                    <a:gs pos="100000">
                      <a:schemeClr val="accent2"/>
                    </a:gs>
                  </a:gsLst>
                  <a:lin ang="5400000" scaled="0"/>
                </a:gradFill>
              </a:defRPr>
            </a:lvl1pPr>
          </a:lstStyle>
          <a:p>
            <a:r>
              <a:rPr lang="en-US"/>
              <a:t>Click to edit Master title style</a:t>
            </a:r>
          </a:p>
        </p:txBody>
      </p:sp>
      <p:sp>
        <p:nvSpPr>
          <p:cNvPr id="4" name="Text Placeholder 3"/>
          <p:cNvSpPr>
            <a:spLocks noGrp="1"/>
          </p:cNvSpPr>
          <p:nvPr>
            <p:ph type="body" sz="quarter" idx="10"/>
          </p:nvPr>
        </p:nvSpPr>
        <p:spPr>
          <a:xfrm>
            <a:off x="274640" y="2459644"/>
            <a:ext cx="11887200" cy="932563"/>
          </a:xfrm>
        </p:spPr>
        <p:txBody>
          <a:bodyPr/>
          <a:lstStyle>
            <a:lvl1pPr marL="0" indent="0">
              <a:buNone/>
              <a:defRPr sz="5398"/>
            </a:lvl1pPr>
          </a:lstStyle>
          <a:p>
            <a:pPr lvl="0"/>
            <a:r>
              <a:rPr lang="en-US"/>
              <a:t>Click to edit Master text styles</a:t>
            </a:r>
          </a:p>
        </p:txBody>
      </p:sp>
    </p:spTree>
    <p:extLst>
      <p:ext uri="{BB962C8B-B14F-4D97-AF65-F5344CB8AC3E}">
        <p14:creationId xmlns:p14="http://schemas.microsoft.com/office/powerpoint/2010/main" val="3667528143"/>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399401"/>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748817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11260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97138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algn="ctr" defTabSz="932114"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7159154"/>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defTabSz="931932" eaLnBrk="0" hangingPunct="0"/>
            <a:r>
              <a:rPr lang="en-US" sz="700" dirty="0">
                <a:gradFill>
                  <a:gsLst>
                    <a:gs pos="0">
                      <a:srgbClr val="505050"/>
                    </a:gs>
                    <a:gs pos="100000">
                      <a:srgbClr val="505050"/>
                    </a:gs>
                  </a:gsLst>
                  <a:lin ang="5400000" scaled="0"/>
                </a:gradFill>
                <a:cs typeface="Segoe UI" pitchFamily="34" charset="0"/>
              </a:rPr>
              <a:t>© 2015 Microsoft Corporation. All rights reserved. </a:t>
            </a:r>
          </a:p>
        </p:txBody>
      </p:sp>
      <p:pic>
        <p:nvPicPr>
          <p:cNvPr id="4" name="Picture 3"/>
          <p:cNvPicPr>
            <a:picLocks noChangeAspect="1"/>
          </p:cNvPicPr>
          <p:nvPr/>
        </p:nvPicPr>
        <p:blipFill>
          <a:blip r:embed="rId2"/>
          <a:stretch>
            <a:fillRect/>
          </a:stretch>
        </p:blipFill>
        <p:spPr>
          <a:xfrm>
            <a:off x="459232" y="3145040"/>
            <a:ext cx="3291840" cy="705834"/>
          </a:xfrm>
          <a:prstGeom prst="rect">
            <a:avLst/>
          </a:prstGeom>
        </p:spPr>
      </p:pic>
    </p:spTree>
    <p:extLst>
      <p:ext uri="{BB962C8B-B14F-4D97-AF65-F5344CB8AC3E}">
        <p14:creationId xmlns:p14="http://schemas.microsoft.com/office/powerpoint/2010/main" val="210615788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
        <p:nvSpPr>
          <p:cNvPr id="2" name="TextBox 7"/>
          <p:cNvSpPr txBox="1"/>
          <p:nvPr userDrawn="1"/>
        </p:nvSpPr>
        <p:spPr bwMode="white">
          <a:xfrm>
            <a:off x="4327496" y="6697629"/>
            <a:ext cx="3781484"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161764148"/>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defTabSz="931932" eaLnBrk="0" hangingPunct="0"/>
            <a:r>
              <a:rPr lang="en-US" sz="700" dirty="0">
                <a:gradFill>
                  <a:gsLst>
                    <a:gs pos="0">
                      <a:srgbClr val="FFFFFF"/>
                    </a:gs>
                    <a:gs pos="100000">
                      <a:srgbClr val="FFFFFF"/>
                    </a:gs>
                  </a:gsLst>
                  <a:lin ang="5400000" scaled="0"/>
                </a:gradFill>
                <a:cs typeface="Segoe UI" pitchFamily="34" charset="0"/>
              </a:rPr>
              <a:t>© 2015 Microsoft Corporation. All rights reserved. </a:t>
            </a:r>
          </a:p>
        </p:txBody>
      </p:sp>
      <p:pic>
        <p:nvPicPr>
          <p:cNvPr id="4" name="Picture 3"/>
          <p:cNvPicPr>
            <a:picLocks noChangeAspect="1"/>
          </p:cNvPicPr>
          <p:nvPr/>
        </p:nvPicPr>
        <p:blipFill>
          <a:blip r:embed="rId2"/>
          <a:stretch>
            <a:fillRect/>
          </a:stretch>
        </p:blipFill>
        <p:spPr bwMode="invGray">
          <a:xfrm>
            <a:off x="459234" y="3145040"/>
            <a:ext cx="3291840" cy="705836"/>
          </a:xfrm>
          <a:prstGeom prst="rect">
            <a:avLst/>
          </a:prstGeom>
        </p:spPr>
      </p:pic>
    </p:spTree>
    <p:extLst>
      <p:ext uri="{BB962C8B-B14F-4D97-AF65-F5344CB8AC3E}">
        <p14:creationId xmlns:p14="http://schemas.microsoft.com/office/powerpoint/2010/main" val="24392810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994000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7"/>
            </a:lvl1pPr>
          </a:lstStyle>
          <a:p>
            <a:r>
              <a:rPr lang="en-US"/>
              <a:t>Click to edit Master title style</a:t>
            </a:r>
          </a:p>
        </p:txBody>
      </p:sp>
      <p:sp>
        <p:nvSpPr>
          <p:cNvPr id="3" name="Subtitle 2"/>
          <p:cNvSpPr>
            <a:spLocks noGrp="1"/>
          </p:cNvSpPr>
          <p:nvPr>
            <p:ph type="subTitle" idx="1"/>
          </p:nvPr>
        </p:nvSpPr>
        <p:spPr>
          <a:xfrm>
            <a:off x="1554560" y="3673745"/>
            <a:ext cx="9327356" cy="523733"/>
          </a:xfrm>
        </p:spPr>
        <p:txBody>
          <a:bodyPr/>
          <a:lstStyle>
            <a:lvl1pPr marL="0" indent="0" algn="ctr">
              <a:buNone/>
              <a:defRPr sz="2448"/>
            </a:lvl1pPr>
            <a:lvl2pPr marL="466209" indent="0" algn="ctr">
              <a:buNone/>
              <a:defRPr sz="2040"/>
            </a:lvl2pPr>
            <a:lvl3pPr marL="932418" indent="0" algn="ctr">
              <a:buNone/>
              <a:defRPr sz="1836"/>
            </a:lvl3pPr>
            <a:lvl4pPr marL="1398627" indent="0" algn="ctr">
              <a:buNone/>
              <a:defRPr sz="1632"/>
            </a:lvl4pPr>
            <a:lvl5pPr marL="1864835" indent="0" algn="ctr">
              <a:buNone/>
              <a:defRPr sz="1632"/>
            </a:lvl5pPr>
            <a:lvl6pPr marL="2331044" indent="0" algn="ctr">
              <a:buNone/>
              <a:defRPr sz="1632"/>
            </a:lvl6pPr>
            <a:lvl7pPr marL="2797253" indent="0" algn="ctr">
              <a:buNone/>
              <a:defRPr sz="1632"/>
            </a:lvl7pPr>
            <a:lvl8pPr marL="3263461" indent="0" algn="ctr">
              <a:buNone/>
              <a:defRPr sz="1632"/>
            </a:lvl8pPr>
            <a:lvl9pPr marL="3729669" indent="0" algn="ctr">
              <a:buNone/>
              <a:defRPr sz="1632"/>
            </a:lvl9pPr>
          </a:lstStyle>
          <a:p>
            <a:r>
              <a:rPr lang="en-US"/>
              <a:t>Click to edit Master subtitle style</a:t>
            </a:r>
          </a:p>
        </p:txBody>
      </p:sp>
      <p:sp>
        <p:nvSpPr>
          <p:cNvPr id="4" name="Date Placeholder 3"/>
          <p:cNvSpPr>
            <a:spLocks noGrp="1"/>
          </p:cNvSpPr>
          <p:nvPr>
            <p:ph type="dt" sz="half" idx="10"/>
          </p:nvPr>
        </p:nvSpPr>
        <p:spPr>
          <a:xfrm>
            <a:off x="855009" y="6482890"/>
            <a:ext cx="2798207" cy="372394"/>
          </a:xfrm>
          <a:prstGeom prst="rect">
            <a:avLst/>
          </a:prstGeom>
        </p:spPr>
        <p:txBody>
          <a:bodyPr/>
          <a:lstStyle/>
          <a:p>
            <a:pPr defTabSz="932418"/>
            <a:fld id="{813AC50E-816A-4CA1-821C-2E4D688C7F59}" type="datetimeFigureOut">
              <a:rPr lang="en-US" smtClean="0">
                <a:solidFill>
                  <a:srgbClr val="505050"/>
                </a:solidFill>
              </a:rPr>
              <a:pPr defTabSz="932418"/>
              <a:t>6/10/2016</a:t>
            </a:fld>
            <a:endParaRPr lang="en-US" dirty="0">
              <a:solidFill>
                <a:srgbClr val="505050"/>
              </a:solidFill>
            </a:endParaRPr>
          </a:p>
        </p:txBody>
      </p:sp>
      <p:sp>
        <p:nvSpPr>
          <p:cNvPr id="5" name="Footer Placeholder 4"/>
          <p:cNvSpPr>
            <a:spLocks noGrp="1"/>
          </p:cNvSpPr>
          <p:nvPr>
            <p:ph type="ftr" sz="quarter" idx="11"/>
          </p:nvPr>
        </p:nvSpPr>
        <p:spPr>
          <a:xfrm>
            <a:off x="4119583" y="6482890"/>
            <a:ext cx="4197310" cy="372394"/>
          </a:xfrm>
          <a:prstGeom prst="rect">
            <a:avLst/>
          </a:prstGeom>
        </p:spPr>
        <p:txBody>
          <a:bodyPr/>
          <a:lstStyle/>
          <a:p>
            <a:pPr defTabSz="932418"/>
            <a:endParaRPr lang="en-US" dirty="0">
              <a:solidFill>
                <a:srgbClr val="505050"/>
              </a:solidFill>
            </a:endParaRPr>
          </a:p>
        </p:txBody>
      </p:sp>
      <p:sp>
        <p:nvSpPr>
          <p:cNvPr id="6" name="Slide Number Placeholder 5"/>
          <p:cNvSpPr>
            <a:spLocks noGrp="1"/>
          </p:cNvSpPr>
          <p:nvPr>
            <p:ph type="sldNum" sz="quarter" idx="12"/>
          </p:nvPr>
        </p:nvSpPr>
        <p:spPr>
          <a:xfrm>
            <a:off x="8783260" y="6482890"/>
            <a:ext cx="2798207" cy="372394"/>
          </a:xfrm>
          <a:prstGeom prst="rect">
            <a:avLst/>
          </a:prstGeom>
        </p:spPr>
        <p:txBody>
          <a:bodyPr/>
          <a:lstStyle/>
          <a:p>
            <a:pPr defTabSz="932418"/>
            <a:fld id="{3B69CDB3-56EB-4981-A8AB-F03E9F9641C6}" type="slidenum">
              <a:rPr lang="en-US" smtClean="0">
                <a:solidFill>
                  <a:srgbClr val="505050"/>
                </a:solidFill>
              </a:rPr>
              <a:pPr defTabSz="932418"/>
              <a:t>‹#›</a:t>
            </a:fld>
            <a:endParaRPr lang="en-US" dirty="0">
              <a:solidFill>
                <a:srgbClr val="505050"/>
              </a:solidFill>
            </a:endParaRPr>
          </a:p>
        </p:txBody>
      </p:sp>
    </p:spTree>
    <p:extLst>
      <p:ext uri="{BB962C8B-B14F-4D97-AF65-F5344CB8AC3E}">
        <p14:creationId xmlns:p14="http://schemas.microsoft.com/office/powerpoint/2010/main" val="3293846395"/>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29664" y="233154"/>
            <a:ext cx="11375536" cy="762786"/>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29664" y="1476622"/>
            <a:ext cx="11375536" cy="2107275"/>
          </a:xfrm>
          <a:prstGeom prst="rect">
            <a:avLst/>
          </a:prstGeom>
        </p:spPr>
        <p:txBody>
          <a:bodyPr/>
          <a:lstStyle>
            <a:lvl1pPr marL="289619" indent="-289619">
              <a:buFont typeface="Wingdings" pitchFamily="2" charset="2"/>
              <a:buChar char=""/>
              <a:defRPr sz="4079"/>
            </a:lvl1pPr>
            <a:lvl2pPr marL="527464" indent="-237846">
              <a:buFont typeface="Wingdings" pitchFamily="2" charset="2"/>
              <a:buChar char=""/>
              <a:defRPr>
                <a:latin typeface="+mn-lt"/>
              </a:defRPr>
            </a:lvl2pPr>
            <a:lvl3pPr marL="755600" indent="-228136">
              <a:buFont typeface="Wingdings" pitchFamily="2" charset="2"/>
              <a:buChar char=""/>
              <a:tabLst/>
              <a:defRPr>
                <a:latin typeface="+mn-lt"/>
              </a:defRPr>
            </a:lvl3pPr>
            <a:lvl4pPr marL="931959" indent="-176360">
              <a:buFont typeface="Wingdings" pitchFamily="2" charset="2"/>
              <a:buChar char=""/>
              <a:defRPr>
                <a:latin typeface="+mn-lt"/>
              </a:defRPr>
            </a:lvl4pPr>
            <a:lvl5pPr marL="1108320" indent="-176360">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201"/>
            <a:fld id="{727B4C2D-45E2-4621-8491-2995EB46A674}" type="slidenum">
              <a:rPr lang="en-US" smtClean="0">
                <a:gradFill>
                  <a:gsLst>
                    <a:gs pos="100000">
                      <a:srgbClr val="797A7D"/>
                    </a:gs>
                    <a:gs pos="0">
                      <a:srgbClr val="797A7D"/>
                    </a:gs>
                  </a:gsLst>
                  <a:lin ang="5400000" scaled="0"/>
                </a:gradFill>
              </a:rPr>
              <a:pPr defTabSz="932201"/>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768711471"/>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2_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8668769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3035050" y="295276"/>
            <a:ext cx="9290691" cy="1533526"/>
          </a:xfrm>
        </p:spPr>
        <p:txBody>
          <a:bodyPr/>
          <a:lstStyle>
            <a:lvl1pPr>
              <a:defRPr baseline="0"/>
            </a:lvl1pPr>
          </a:lstStyle>
          <a:p>
            <a:r>
              <a:rPr lang="en-US" dirty="0"/>
              <a:t>Click to edit Master title style: second line</a:t>
            </a:r>
          </a:p>
        </p:txBody>
      </p:sp>
      <p:sp>
        <p:nvSpPr>
          <p:cNvPr id="7" name="Text Placeholder 5"/>
          <p:cNvSpPr>
            <a:spLocks noGrp="1"/>
          </p:cNvSpPr>
          <p:nvPr>
            <p:ph type="body" sz="quarter" idx="10"/>
          </p:nvPr>
        </p:nvSpPr>
        <p:spPr>
          <a:xfrm>
            <a:off x="3034501" y="1935482"/>
            <a:ext cx="9288843" cy="4724626"/>
          </a:xfrm>
        </p:spPr>
        <p:txBody>
          <a:bodyPr/>
          <a:lstStyle>
            <a:lvl1pPr marL="186448" indent="-186448">
              <a:buFont typeface="Arial" panose="020B0604020202020204" pitchFamily="34" charset="0"/>
              <a:buChar char="•"/>
              <a:defRPr>
                <a:gradFill>
                  <a:gsLst>
                    <a:gs pos="1250">
                      <a:schemeClr val="tx2"/>
                    </a:gs>
                    <a:gs pos="99000">
                      <a:schemeClr val="tx2"/>
                    </a:gs>
                  </a:gsLst>
                  <a:lin ang="5400000" scaled="0"/>
                </a:gradFill>
                <a:latin typeface="+mj-lt"/>
              </a:defRPr>
            </a:lvl1pPr>
            <a:lvl2pPr marL="372896" indent="-186448">
              <a:buFont typeface="Arial" panose="020B0604020202020204" pitchFamily="34" charset="0"/>
              <a:buChar char="•"/>
              <a:defRPr sz="2448">
                <a:latin typeface="+mj-lt"/>
              </a:defRPr>
            </a:lvl2pPr>
            <a:lvl3pPr marL="559344" indent="-186448">
              <a:buFont typeface="Arial" panose="020B0604020202020204" pitchFamily="34" charset="0"/>
              <a:buChar char="•"/>
              <a:defRPr sz="2040">
                <a:latin typeface="+mj-lt"/>
              </a:defRPr>
            </a:lvl3pPr>
            <a:lvl4pPr marL="748261" indent="-291324">
              <a:buFont typeface="Arial" panose="020B0604020202020204" pitchFamily="34" charset="0"/>
              <a:buChar char="•"/>
              <a:defRPr/>
            </a:lvl4pPr>
            <a:lvl5pPr marL="976730" indent="-291324">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
        <p:nvSpPr>
          <p:cNvPr id="4" name="TextBox 3"/>
          <p:cNvSpPr txBox="1"/>
          <p:nvPr userDrawn="1"/>
        </p:nvSpPr>
        <p:spPr>
          <a:xfrm>
            <a:off x="2195461" y="601572"/>
            <a:ext cx="1345776" cy="634440"/>
          </a:xfrm>
          <a:prstGeom prst="rect">
            <a:avLst/>
          </a:prstGeom>
          <a:noFill/>
        </p:spPr>
        <p:txBody>
          <a:bodyPr wrap="none" lIns="182828" tIns="146262" rIns="182828" bIns="146262" rtlCol="0">
            <a:spAutoFit/>
          </a:bodyPr>
          <a:lstStyle/>
          <a:p>
            <a:pPr algn="r" defTabSz="932384">
              <a:lnSpc>
                <a:spcPct val="90000"/>
              </a:lnSpc>
              <a:spcAft>
                <a:spcPts val="600"/>
              </a:spcAft>
            </a:pPr>
            <a:r>
              <a:rPr lang="en-US" sz="2400" dirty="0">
                <a:solidFill>
                  <a:srgbClr val="FFFFFF"/>
                </a:solidFill>
                <a:latin typeface="Segoe UI Light"/>
              </a:rPr>
              <a:t>Feature</a:t>
            </a:r>
          </a:p>
        </p:txBody>
      </p:sp>
    </p:spTree>
    <p:extLst>
      <p:ext uri="{BB962C8B-B14F-4D97-AF65-F5344CB8AC3E}">
        <p14:creationId xmlns:p14="http://schemas.microsoft.com/office/powerpoint/2010/main" val="868209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userDrawn="1">
  <p:cSld name="Title 1">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11277174" y="6465577"/>
            <a:ext cx="754803" cy="364224"/>
          </a:xfrm>
          <a:prstGeom prst="rect">
            <a:avLst/>
          </a:prstGeom>
        </p:spPr>
        <p:txBody>
          <a:bodyPr vert="horz" lIns="0" tIns="0" rIns="0" bIns="0" rtlCol="0" anchor="ctr"/>
          <a:lstStyle>
            <a:lvl1pPr algn="r">
              <a:defRPr sz="1176">
                <a:solidFill>
                  <a:schemeClr val="tx2"/>
                </a:solidFill>
              </a:defRPr>
            </a:lvl1pPr>
          </a:lstStyle>
          <a:p>
            <a:pPr defTabSz="914191"/>
            <a:fld id="{840D8047-B893-4862-9D76-6DA481ED40D0}" type="slidenum">
              <a:rPr lang="en-IN" smtClean="0">
                <a:solidFill>
                  <a:srgbClr val="505050"/>
                </a:solidFill>
              </a:rPr>
              <a:pPr defTabSz="914191"/>
              <a:t>‹#›</a:t>
            </a:fld>
            <a:endParaRPr lang="en-IN" dirty="0">
              <a:solidFill>
                <a:srgbClr val="505050"/>
              </a:solidFill>
            </a:endParaRPr>
          </a:p>
        </p:txBody>
      </p:sp>
      <p:sp>
        <p:nvSpPr>
          <p:cNvPr id="4" name="Title 1"/>
          <p:cNvSpPr txBox="1">
            <a:spLocks/>
          </p:cNvSpPr>
          <p:nvPr userDrawn="1"/>
        </p:nvSpPr>
        <p:spPr>
          <a:xfrm>
            <a:off x="457199" y="468923"/>
            <a:ext cx="11707004" cy="705068"/>
          </a:xfrm>
          <a:prstGeom prst="rect">
            <a:avLst/>
          </a:prstGeom>
        </p:spPr>
        <p:txBody>
          <a:bodyPr/>
          <a:lstStyle>
            <a:lvl1pPr algn="l" defTabSz="932563" rtl="0" eaLnBrk="1" latinLnBrk="0" hangingPunct="1">
              <a:lnSpc>
                <a:spcPct val="90000"/>
              </a:lnSpc>
              <a:spcBef>
                <a:spcPct val="0"/>
              </a:spcBef>
              <a:buNone/>
              <a:defRPr lang="en-US" sz="4400" b="0" kern="1200" cap="none" spc="-102" baseline="0">
                <a:ln w="3175">
                  <a:noFill/>
                </a:ln>
                <a:gradFill>
                  <a:gsLst>
                    <a:gs pos="1250">
                      <a:schemeClr val="tx2"/>
                    </a:gs>
                    <a:gs pos="100000">
                      <a:schemeClr val="tx2"/>
                    </a:gs>
                  </a:gsLst>
                  <a:lin ang="5400000" scaled="0"/>
                </a:gradFill>
                <a:effectLst/>
                <a:latin typeface="+mj-lt"/>
                <a:ea typeface="+mn-ea"/>
                <a:cs typeface="Segoe UI" pitchFamily="34" charset="0"/>
              </a:defRPr>
            </a:lvl1pPr>
          </a:lstStyle>
          <a:p>
            <a:r>
              <a:rPr sz="4399" dirty="0">
                <a:gradFill>
                  <a:gsLst>
                    <a:gs pos="1250">
                      <a:srgbClr val="505050"/>
                    </a:gs>
                    <a:gs pos="100000">
                      <a:srgbClr val="505050"/>
                    </a:gs>
                  </a:gsLst>
                  <a:lin ang="5400000" scaled="0"/>
                </a:gradFill>
              </a:rPr>
              <a:t>Click to edit Master title style</a:t>
            </a:r>
          </a:p>
        </p:txBody>
      </p:sp>
    </p:spTree>
    <p:extLst>
      <p:ext uri="{BB962C8B-B14F-4D97-AF65-F5344CB8AC3E}">
        <p14:creationId xmlns:p14="http://schemas.microsoft.com/office/powerpoint/2010/main" val="2388061258"/>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Main layout">
    <p:spTree>
      <p:nvGrpSpPr>
        <p:cNvPr id="1" name=""/>
        <p:cNvGrpSpPr/>
        <p:nvPr/>
      </p:nvGrpSpPr>
      <p:grpSpPr>
        <a:xfrm>
          <a:off x="0" y="0"/>
          <a:ext cx="0" cy="0"/>
          <a:chOff x="0" y="0"/>
          <a:chExt cx="0" cy="0"/>
        </a:xfrm>
      </p:grpSpPr>
      <p:sp>
        <p:nvSpPr>
          <p:cNvPr id="4" name="Slide Number Placeholder 2"/>
          <p:cNvSpPr>
            <a:spLocks noGrp="1"/>
          </p:cNvSpPr>
          <p:nvPr>
            <p:ph type="sldNum" sz="quarter" idx="4"/>
          </p:nvPr>
        </p:nvSpPr>
        <p:spPr>
          <a:xfrm>
            <a:off x="11277174" y="6465577"/>
            <a:ext cx="754803" cy="364224"/>
          </a:xfrm>
          <a:prstGeom prst="rect">
            <a:avLst/>
          </a:prstGeom>
        </p:spPr>
        <p:txBody>
          <a:bodyPr vert="horz" lIns="0" tIns="0" rIns="0" bIns="0" rtlCol="0" anchor="ctr"/>
          <a:lstStyle>
            <a:lvl1pPr algn="r">
              <a:defRPr sz="1176">
                <a:solidFill>
                  <a:schemeClr val="tx2"/>
                </a:solidFill>
              </a:defRPr>
            </a:lvl1pPr>
          </a:lstStyle>
          <a:p>
            <a:pPr defTabSz="914191"/>
            <a:fld id="{840D8047-B893-4862-9D76-6DA481ED40D0}" type="slidenum">
              <a:rPr lang="en-IN" smtClean="0">
                <a:solidFill>
                  <a:srgbClr val="505050"/>
                </a:solidFill>
              </a:rPr>
              <a:pPr defTabSz="914191"/>
              <a:t>‹#›</a:t>
            </a:fld>
            <a:endParaRPr lang="en-IN" dirty="0">
              <a:solidFill>
                <a:srgbClr val="505050"/>
              </a:solidFill>
            </a:endParaRPr>
          </a:p>
        </p:txBody>
      </p:sp>
      <p:sp>
        <p:nvSpPr>
          <p:cNvPr id="5" name="Text Placeholder 3"/>
          <p:cNvSpPr>
            <a:spLocks noGrp="1"/>
          </p:cNvSpPr>
          <p:nvPr>
            <p:ph idx="1"/>
          </p:nvPr>
        </p:nvSpPr>
        <p:spPr>
          <a:xfrm>
            <a:off x="457200" y="1220803"/>
            <a:ext cx="11704640" cy="2009012"/>
          </a:xfrm>
          <a:prstGeom prst="rect">
            <a:avLst/>
          </a:prstGeom>
        </p:spPr>
        <p:txBody>
          <a:bodyPr vert="horz" wrap="square" lIns="146304" tIns="91440" rIns="146304" bIns="91440" rtlCol="0">
            <a:spAutoFit/>
          </a:bodyPr>
          <a:lstStyle>
            <a:lvl1pPr>
              <a:defRPr sz="31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txBox="1">
            <a:spLocks/>
          </p:cNvSpPr>
          <p:nvPr userDrawn="1"/>
        </p:nvSpPr>
        <p:spPr>
          <a:xfrm>
            <a:off x="457199" y="525921"/>
            <a:ext cx="11979276" cy="917575"/>
          </a:xfrm>
          <a:prstGeom prst="rect">
            <a:avLst/>
          </a:prstGeom>
        </p:spPr>
        <p:txBody>
          <a:bodyPr/>
          <a:lstStyle>
            <a:lvl1pPr algn="l" defTabSz="932563" rtl="0" eaLnBrk="1" latinLnBrk="0" hangingPunct="1">
              <a:lnSpc>
                <a:spcPct val="90000"/>
              </a:lnSpc>
              <a:spcBef>
                <a:spcPct val="0"/>
              </a:spcBef>
              <a:buNone/>
              <a:defRPr lang="en-US" sz="4400" b="0" kern="1200" cap="none" spc="-102" baseline="0" dirty="0" smtClean="0">
                <a:ln w="3175">
                  <a:noFill/>
                </a:ln>
                <a:solidFill>
                  <a:srgbClr val="002050"/>
                </a:solidFill>
                <a:effectLst/>
                <a:latin typeface="+mj-lt"/>
                <a:ea typeface="+mn-ea"/>
                <a:cs typeface="Segoe UI" pitchFamily="34" charset="0"/>
              </a:defRPr>
            </a:lvl1pPr>
          </a:lstStyle>
          <a:p>
            <a:endParaRPr sz="4399" dirty="0">
              <a:solidFill>
                <a:srgbClr val="D2D2D2">
                  <a:lumMod val="25000"/>
                </a:srgbClr>
              </a:solidFill>
            </a:endParaRPr>
          </a:p>
        </p:txBody>
      </p:sp>
    </p:spTree>
    <p:extLst>
      <p:ext uri="{BB962C8B-B14F-4D97-AF65-F5344CB8AC3E}">
        <p14:creationId xmlns:p14="http://schemas.microsoft.com/office/powerpoint/2010/main" val="4094804701"/>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9"/>
            <a:ext cx="6399213" cy="1830388"/>
          </a:xfrm>
          <a:noFill/>
        </p:spPr>
        <p:txBody>
          <a:bodyPr lIns="146304" tIns="109728" rIns="146304" bIns="109728">
            <a:noAutofit/>
          </a:bodyPr>
          <a:lstStyle>
            <a:lvl1pPr marL="0" indent="0">
              <a:spcBef>
                <a:spcPts val="0"/>
              </a:spcBef>
              <a:buNone/>
              <a:defRPr sz="3672" spc="0" baseline="0">
                <a:solidFill>
                  <a:schemeClr val="bg1">
                    <a:lumMod val="50000"/>
                  </a:schemeClr>
                </a:soli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prstGeom prst="rect">
            <a:avLst/>
          </a:prstGeom>
          <a:noFill/>
        </p:spPr>
        <p:txBody>
          <a:bodyPr lIns="146304" tIns="91440" rIns="146304" bIns="91440" anchor="t" anchorCtr="0"/>
          <a:lstStyle>
            <a:lvl1pPr>
              <a:defRPr sz="6117" spc="-100" baseline="0">
                <a:solidFill>
                  <a:schemeClr val="bg2">
                    <a:lumMod val="25000"/>
                  </a:schemeClr>
                </a:solidFill>
              </a:defRPr>
            </a:lvl1pPr>
          </a:lstStyle>
          <a:p>
            <a:r>
              <a:rPr lang="en-US" dirty="0"/>
              <a:t>Presentation titl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8836" y="480502"/>
            <a:ext cx="2557752" cy="547906"/>
          </a:xfrm>
          <a:prstGeom prst="rect">
            <a:avLst/>
          </a:prstGeom>
        </p:spPr>
      </p:pic>
    </p:spTree>
    <p:extLst>
      <p:ext uri="{BB962C8B-B14F-4D97-AF65-F5344CB8AC3E}">
        <p14:creationId xmlns:p14="http://schemas.microsoft.com/office/powerpoint/2010/main" val="9883414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74638" y="2125663"/>
            <a:ext cx="91440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prstGeom prst="rect">
            <a:avLst/>
          </a:prstGeom>
          <a:noFill/>
        </p:spPr>
        <p:txBody>
          <a:bodyPr lIns="146304" tIns="91440" rIns="146304" bIns="91440" anchor="t" anchorCtr="0"/>
          <a:lstStyle>
            <a:lvl1pPr>
              <a:defRPr sz="6117" spc="-100" baseline="0">
                <a:gradFill>
                  <a:gsLst>
                    <a:gs pos="5833">
                      <a:srgbClr val="FFFFFF"/>
                    </a:gs>
                    <a:gs pos="18000">
                      <a:srgbClr val="FFFFFF"/>
                    </a:gs>
                  </a:gsLst>
                  <a:lin ang="5400000" scaled="0"/>
                </a:gradFill>
              </a:defRPr>
            </a:lvl1pPr>
          </a:lstStyle>
          <a:p>
            <a:r>
              <a:rPr lang="en-US" dirty="0"/>
              <a:t>Presentation title</a:t>
            </a: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8836" y="480502"/>
            <a:ext cx="2557752" cy="547906"/>
          </a:xfrm>
          <a:prstGeom prst="rect">
            <a:avLst/>
          </a:prstGeom>
        </p:spPr>
      </p:pic>
      <p:sp>
        <p:nvSpPr>
          <p:cNvPr id="5" name="Text Placeholder 4"/>
          <p:cNvSpPr>
            <a:spLocks noGrp="1"/>
          </p:cNvSpPr>
          <p:nvPr>
            <p:ph type="body" sz="quarter" idx="12" hasCustomPrompt="1"/>
          </p:nvPr>
        </p:nvSpPr>
        <p:spPr>
          <a:xfrm>
            <a:off x="274703" y="3955786"/>
            <a:ext cx="9143937" cy="1828007"/>
          </a:xfrm>
          <a:noFill/>
        </p:spPr>
        <p:txBody>
          <a:bodyPr lIns="146304" tIns="109728" rIns="146304" bIns="109728">
            <a:noAutofit/>
          </a:bodyPr>
          <a:lstStyle>
            <a:lvl1pPr marL="0" indent="0">
              <a:spcBef>
                <a:spcPts val="0"/>
              </a:spcBef>
              <a:buNone/>
              <a:defRPr sz="3672" spc="0" baseline="0">
                <a:gradFill>
                  <a:gsLst>
                    <a:gs pos="2917">
                      <a:srgbClr val="FFFFFF"/>
                    </a:gs>
                    <a:gs pos="30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632985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327496" y="6697629"/>
            <a:ext cx="3781484"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693819516"/>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16" name="Rectangle 15"/>
          <p:cNvSpPr/>
          <p:nvPr userDrawn="1"/>
        </p:nvSpPr>
        <p:spPr bwMode="auto">
          <a:xfrm>
            <a:off x="274638" y="2125663"/>
            <a:ext cx="9144000" cy="36576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2123086"/>
            <a:ext cx="9143936" cy="1831379"/>
          </a:xfrm>
          <a:prstGeom prst="rect">
            <a:avLst/>
          </a:prstGeom>
          <a:noFill/>
        </p:spPr>
        <p:txBody>
          <a:bodyPr lIns="146304" tIns="91440" rIns="146304" bIns="91440" anchor="t" anchorCtr="0"/>
          <a:lstStyle>
            <a:lvl1pPr>
              <a:defRPr sz="6117"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4464"/>
            <a:ext cx="9143936" cy="1828801"/>
          </a:xfrm>
          <a:noFill/>
        </p:spPr>
        <p:txBody>
          <a:bodyPr lIns="146304" tIns="109728" rIns="146304" bIns="109728">
            <a:noAutofit/>
          </a:bodyPr>
          <a:lstStyle>
            <a:lvl1pPr marL="0" indent="0">
              <a:spcBef>
                <a:spcPts val="0"/>
              </a:spcBef>
              <a:buNone/>
              <a:defRPr sz="3672" spc="0" baseline="0">
                <a:gradFill>
                  <a:gsLst>
                    <a:gs pos="0">
                      <a:srgbClr val="FFFFFF"/>
                    </a:gs>
                    <a:gs pos="100000">
                      <a:srgbClr val="FFFFFF"/>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8835" y="480503"/>
            <a:ext cx="2557752" cy="547906"/>
          </a:xfrm>
          <a:prstGeom prst="rect">
            <a:avLst/>
          </a:prstGeom>
        </p:spPr>
      </p:pic>
    </p:spTree>
    <p:extLst>
      <p:ext uri="{BB962C8B-B14F-4D97-AF65-F5344CB8AC3E}">
        <p14:creationId xmlns:p14="http://schemas.microsoft.com/office/powerpoint/2010/main" val="26757081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prstGeom prst="rect">
            <a:avLst/>
          </a:prstGeom>
          <a:noFill/>
        </p:spPr>
        <p:txBody>
          <a:bodyPr tIns="91440" bIns="91440" anchor="t" anchorCtr="0"/>
          <a:lstStyle>
            <a:lvl1pPr>
              <a:defRPr sz="7196"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5"/>
            <a:ext cx="10058401" cy="1829593"/>
          </a:xfrm>
          <a:noFill/>
        </p:spPr>
        <p:txBody>
          <a:bodyPr lIns="182880" tIns="146304" rIns="182880" bIns="146304">
            <a:noAutofit/>
          </a:bodyPr>
          <a:lstStyle>
            <a:lvl1pPr marL="0" indent="0">
              <a:spcBef>
                <a:spcPts val="0"/>
              </a:spcBef>
              <a:buNone/>
              <a:defRPr sz="3598"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
        <p:nvSpPr>
          <p:cNvPr id="6" name="Slide Number Placeholder 2"/>
          <p:cNvSpPr>
            <a:spLocks noGrp="1"/>
          </p:cNvSpPr>
          <p:nvPr>
            <p:ph type="sldNum" sz="quarter" idx="4"/>
          </p:nvPr>
        </p:nvSpPr>
        <p:spPr>
          <a:xfrm>
            <a:off x="11277174" y="6465577"/>
            <a:ext cx="754803" cy="364224"/>
          </a:xfrm>
          <a:prstGeom prst="rect">
            <a:avLst/>
          </a:prstGeom>
        </p:spPr>
        <p:txBody>
          <a:bodyPr vert="horz" lIns="0" tIns="0" rIns="0" bIns="0" rtlCol="0" anchor="ctr"/>
          <a:lstStyle>
            <a:lvl1pPr algn="r">
              <a:defRPr sz="1176">
                <a:solidFill>
                  <a:schemeClr val="tx2"/>
                </a:solidFill>
              </a:defRPr>
            </a:lvl1pPr>
          </a:lstStyle>
          <a:p>
            <a:pPr defTabSz="914191"/>
            <a:fld id="{840D8047-B893-4862-9D76-6DA481ED40D0}" type="slidenum">
              <a:rPr lang="en-IN" smtClean="0">
                <a:solidFill>
                  <a:srgbClr val="505050"/>
                </a:solidFill>
              </a:rPr>
              <a:pPr defTabSz="914191"/>
              <a:t>‹#›</a:t>
            </a:fld>
            <a:endParaRPr lang="en-IN" dirty="0">
              <a:solidFill>
                <a:srgbClr val="505050"/>
              </a:solidFill>
            </a:endParaRPr>
          </a:p>
        </p:txBody>
      </p:sp>
    </p:spTree>
    <p:extLst>
      <p:ext uri="{BB962C8B-B14F-4D97-AF65-F5344CB8AC3E}">
        <p14:creationId xmlns:p14="http://schemas.microsoft.com/office/powerpoint/2010/main" val="6344465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prstGeom prst="rect">
            <a:avLst/>
          </a:prstGeom>
          <a:noFill/>
        </p:spPr>
        <p:txBody>
          <a:bodyPr tIns="91440" bIns="91440" anchor="t" anchorCtr="0"/>
          <a:lstStyle>
            <a:lvl1pPr>
              <a:defRPr sz="7196" spc="-100" baseline="0">
                <a:gradFill>
                  <a:gsLst>
                    <a:gs pos="5833">
                      <a:srgbClr val="FFFFFF"/>
                    </a:gs>
                    <a:gs pos="18000">
                      <a:srgbClr val="FFFFFF"/>
                    </a:gs>
                  </a:gsLst>
                  <a:lin ang="5400000" scaled="0"/>
                </a:gradFill>
              </a:defRPr>
            </a:lvl1pPr>
          </a:lstStyle>
          <a:p>
            <a:r>
              <a:rPr lang="en-US" dirty="0"/>
              <a:t>Video title</a:t>
            </a:r>
          </a:p>
        </p:txBody>
      </p:sp>
      <p:sp>
        <p:nvSpPr>
          <p:cNvPr id="5" name="Slide Number Placeholder 2"/>
          <p:cNvSpPr>
            <a:spLocks noGrp="1"/>
          </p:cNvSpPr>
          <p:nvPr>
            <p:ph type="sldNum" sz="quarter" idx="4"/>
          </p:nvPr>
        </p:nvSpPr>
        <p:spPr>
          <a:xfrm>
            <a:off x="11277174" y="6465577"/>
            <a:ext cx="754803" cy="364224"/>
          </a:xfrm>
          <a:prstGeom prst="rect">
            <a:avLst/>
          </a:prstGeom>
        </p:spPr>
        <p:txBody>
          <a:bodyPr vert="horz" lIns="0" tIns="0" rIns="0" bIns="0" rtlCol="0" anchor="ctr"/>
          <a:lstStyle>
            <a:lvl1pPr algn="r">
              <a:defRPr sz="1176">
                <a:solidFill>
                  <a:schemeClr val="tx2"/>
                </a:solidFill>
              </a:defRPr>
            </a:lvl1pPr>
          </a:lstStyle>
          <a:p>
            <a:pPr defTabSz="914191"/>
            <a:fld id="{840D8047-B893-4862-9D76-6DA481ED40D0}" type="slidenum">
              <a:rPr lang="en-IN" smtClean="0">
                <a:solidFill>
                  <a:srgbClr val="505050"/>
                </a:solidFill>
              </a:rPr>
              <a:pPr defTabSz="914191"/>
              <a:t>‹#›</a:t>
            </a:fld>
            <a:endParaRPr lang="en-IN" dirty="0">
              <a:solidFill>
                <a:srgbClr val="505050"/>
              </a:solidFill>
            </a:endParaRPr>
          </a:p>
        </p:txBody>
      </p:sp>
    </p:spTree>
    <p:extLst>
      <p:ext uri="{BB962C8B-B14F-4D97-AF65-F5344CB8AC3E}">
        <p14:creationId xmlns:p14="http://schemas.microsoft.com/office/powerpoint/2010/main" val="8463587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2C6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prstGeom prst="rect">
            <a:avLst/>
          </a:prstGeo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23475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prstGeom prst="rect">
            <a:avLst/>
          </a:prstGeo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108968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prstGeom prst="rect">
            <a:avLst/>
          </a:prstGeo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286666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prstGeom prst="rect">
            <a:avLst/>
          </a:prstGeo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376838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Slide Number Placeholder 2"/>
          <p:cNvSpPr>
            <a:spLocks noGrp="1"/>
          </p:cNvSpPr>
          <p:nvPr>
            <p:ph type="sldNum" sz="quarter" idx="4"/>
          </p:nvPr>
        </p:nvSpPr>
        <p:spPr>
          <a:xfrm>
            <a:off x="11277174" y="6465577"/>
            <a:ext cx="754803" cy="364224"/>
          </a:xfrm>
          <a:prstGeom prst="rect">
            <a:avLst/>
          </a:prstGeom>
        </p:spPr>
        <p:txBody>
          <a:bodyPr vert="horz" lIns="0" tIns="0" rIns="0" bIns="0" rtlCol="0" anchor="ctr"/>
          <a:lstStyle>
            <a:lvl1pPr algn="r">
              <a:defRPr sz="1176">
                <a:solidFill>
                  <a:schemeClr val="tx2"/>
                </a:solidFill>
              </a:defRPr>
            </a:lvl1pPr>
          </a:lstStyle>
          <a:p>
            <a:pPr defTabSz="914191"/>
            <a:fld id="{840D8047-B893-4862-9D76-6DA481ED40D0}" type="slidenum">
              <a:rPr lang="en-IN" smtClean="0">
                <a:solidFill>
                  <a:srgbClr val="505050"/>
                </a:solidFill>
              </a:rPr>
              <a:pPr defTabSz="914191"/>
              <a:t>‹#›</a:t>
            </a:fld>
            <a:endParaRPr lang="en-IN" dirty="0">
              <a:solidFill>
                <a:srgbClr val="505050"/>
              </a:solidFill>
            </a:endParaRPr>
          </a:p>
        </p:txBody>
      </p:sp>
      <p:sp>
        <p:nvSpPr>
          <p:cNvPr id="5" name="Text Placeholder 3"/>
          <p:cNvSpPr>
            <a:spLocks noGrp="1"/>
          </p:cNvSpPr>
          <p:nvPr>
            <p:ph idx="1"/>
          </p:nvPr>
        </p:nvSpPr>
        <p:spPr>
          <a:xfrm>
            <a:off x="457200" y="1220803"/>
            <a:ext cx="11704640" cy="2068037"/>
          </a:xfrm>
          <a:prstGeom prst="rect">
            <a:avLst/>
          </a:prstGeom>
        </p:spPr>
        <p:txBody>
          <a:bodyPr vert="horz" wrap="square" lIns="146304" tIns="91440" rIns="146304" bIns="91440" rtlCol="0">
            <a:spAutoFit/>
          </a:bodyPr>
          <a:lstStyle>
            <a:lvl1pPr>
              <a:defRPr>
                <a:solidFill>
                  <a:schemeClr val="bg1">
                    <a:lumMod val="50000"/>
                  </a:schemeClr>
                </a:solidFill>
              </a:defRPr>
            </a:lvl1pPr>
            <a:lvl2pPr>
              <a:defRPr>
                <a:solidFill>
                  <a:schemeClr val="bg1">
                    <a:lumMod val="50000"/>
                  </a:schemeClr>
                </a:solidFill>
              </a:defRPr>
            </a:lvl2pPr>
            <a:lvl3pPr>
              <a:defRPr>
                <a:solidFill>
                  <a:schemeClr val="bg1">
                    <a:lumMod val="50000"/>
                  </a:schemeClr>
                </a:solidFill>
              </a:defRPr>
            </a:lvl3pPr>
            <a:lvl4pPr>
              <a:defRPr>
                <a:solidFill>
                  <a:schemeClr val="bg1">
                    <a:lumMod val="50000"/>
                  </a:schemeClr>
                </a:solidFill>
              </a:defRPr>
            </a:lvl4pPr>
            <a:lvl5pPr>
              <a:defRPr>
                <a:solidFill>
                  <a:schemeClr val="bg1">
                    <a:lumMod val="50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txBox="1">
            <a:spLocks/>
          </p:cNvSpPr>
          <p:nvPr userDrawn="1"/>
        </p:nvSpPr>
        <p:spPr>
          <a:xfrm>
            <a:off x="457199" y="525921"/>
            <a:ext cx="11979276" cy="917575"/>
          </a:xfrm>
          <a:prstGeom prst="rect">
            <a:avLst/>
          </a:prstGeom>
        </p:spPr>
        <p:txBody>
          <a:bodyPr/>
          <a:lstStyle>
            <a:lvl1pPr algn="l" defTabSz="932563" rtl="0" eaLnBrk="1" latinLnBrk="0" hangingPunct="1">
              <a:lnSpc>
                <a:spcPct val="90000"/>
              </a:lnSpc>
              <a:spcBef>
                <a:spcPct val="0"/>
              </a:spcBef>
              <a:buNone/>
              <a:defRPr lang="en-US" sz="4400" b="0" kern="1200" cap="none" spc="-102" baseline="0" dirty="0" smtClean="0">
                <a:ln w="3175">
                  <a:noFill/>
                </a:ln>
                <a:solidFill>
                  <a:srgbClr val="002050"/>
                </a:solidFill>
                <a:effectLst/>
                <a:latin typeface="+mj-lt"/>
                <a:ea typeface="+mn-ea"/>
                <a:cs typeface="Segoe UI" pitchFamily="34" charset="0"/>
              </a:defRPr>
            </a:lvl1pPr>
          </a:lstStyle>
          <a:p>
            <a:endParaRPr sz="4399" dirty="0">
              <a:solidFill>
                <a:srgbClr val="D2D2D2">
                  <a:lumMod val="25000"/>
                </a:srgbClr>
              </a:solidFill>
            </a:endParaRPr>
          </a:p>
        </p:txBody>
      </p:sp>
    </p:spTree>
    <p:extLst>
      <p:ext uri="{BB962C8B-B14F-4D97-AF65-F5344CB8AC3E}">
        <p14:creationId xmlns:p14="http://schemas.microsoft.com/office/powerpoint/2010/main" val="849771912"/>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5" name="Slide Number Placeholder 2"/>
          <p:cNvSpPr>
            <a:spLocks noGrp="1"/>
          </p:cNvSpPr>
          <p:nvPr>
            <p:ph type="sldNum" sz="quarter" idx="4"/>
          </p:nvPr>
        </p:nvSpPr>
        <p:spPr>
          <a:xfrm>
            <a:off x="11277174" y="6465577"/>
            <a:ext cx="754803" cy="364224"/>
          </a:xfrm>
          <a:prstGeom prst="rect">
            <a:avLst/>
          </a:prstGeom>
        </p:spPr>
        <p:txBody>
          <a:bodyPr vert="horz" lIns="0" tIns="0" rIns="0" bIns="0" rtlCol="0" anchor="ctr"/>
          <a:lstStyle>
            <a:lvl1pPr algn="r">
              <a:defRPr sz="1176">
                <a:solidFill>
                  <a:schemeClr val="tx2"/>
                </a:solidFill>
              </a:defRPr>
            </a:lvl1pPr>
          </a:lstStyle>
          <a:p>
            <a:pPr defTabSz="914191"/>
            <a:fld id="{840D8047-B893-4862-9D76-6DA481ED40D0}" type="slidenum">
              <a:rPr lang="en-IN" smtClean="0">
                <a:solidFill>
                  <a:srgbClr val="505050"/>
                </a:solidFill>
              </a:rPr>
              <a:pPr defTabSz="914191"/>
              <a:t>‹#›</a:t>
            </a:fld>
            <a:endParaRPr lang="en-IN" dirty="0">
              <a:solidFill>
                <a:srgbClr val="505050"/>
              </a:solidFill>
            </a:endParaRPr>
          </a:p>
        </p:txBody>
      </p:sp>
      <p:sp>
        <p:nvSpPr>
          <p:cNvPr id="7" name="Text Placeholder 3"/>
          <p:cNvSpPr>
            <a:spLocks noGrp="1"/>
          </p:cNvSpPr>
          <p:nvPr>
            <p:ph idx="1"/>
          </p:nvPr>
        </p:nvSpPr>
        <p:spPr>
          <a:xfrm>
            <a:off x="457200" y="1220803"/>
            <a:ext cx="11704640" cy="211558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txBox="1">
            <a:spLocks/>
          </p:cNvSpPr>
          <p:nvPr userDrawn="1"/>
        </p:nvSpPr>
        <p:spPr>
          <a:xfrm>
            <a:off x="457199" y="525921"/>
            <a:ext cx="11979276" cy="917575"/>
          </a:xfrm>
          <a:prstGeom prst="rect">
            <a:avLst/>
          </a:prstGeom>
        </p:spPr>
        <p:txBody>
          <a:bodyPr/>
          <a:lstStyle>
            <a:lvl1pPr algn="l" defTabSz="932563" rtl="0" eaLnBrk="1" latinLnBrk="0" hangingPunct="1">
              <a:lnSpc>
                <a:spcPct val="90000"/>
              </a:lnSpc>
              <a:spcBef>
                <a:spcPct val="0"/>
              </a:spcBef>
              <a:buNone/>
              <a:defRPr lang="en-US" sz="4400" b="0" kern="1200" cap="none" spc="-102" baseline="0" dirty="0" smtClean="0">
                <a:ln w="3175">
                  <a:noFill/>
                </a:ln>
                <a:solidFill>
                  <a:srgbClr val="002050"/>
                </a:solidFill>
                <a:effectLst/>
                <a:latin typeface="+mj-lt"/>
                <a:ea typeface="+mn-ea"/>
                <a:cs typeface="Segoe UI" pitchFamily="34" charset="0"/>
              </a:defRPr>
            </a:lvl1pPr>
          </a:lstStyle>
          <a:p>
            <a:r>
              <a:rPr sz="4399" dirty="0">
                <a:solidFill>
                  <a:srgbClr val="D2D2D2">
                    <a:lumMod val="25000"/>
                  </a:srgbClr>
                </a:solidFill>
              </a:rPr>
              <a:t>Click to edit Master title style</a:t>
            </a:r>
          </a:p>
        </p:txBody>
      </p:sp>
    </p:spTree>
    <p:extLst>
      <p:ext uri="{BB962C8B-B14F-4D97-AF65-F5344CB8AC3E}">
        <p14:creationId xmlns:p14="http://schemas.microsoft.com/office/powerpoint/2010/main" val="1427109895"/>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11239501" y="6405216"/>
            <a:ext cx="769938" cy="371475"/>
          </a:xfrm>
          <a:prstGeom prst="rect">
            <a:avLst/>
          </a:prstGeom>
        </p:spPr>
        <p:txBody>
          <a:bodyPr/>
          <a:lstStyle>
            <a:lvl1pPr>
              <a:defRPr/>
            </a:lvl1pPr>
          </a:lstStyle>
          <a:p>
            <a:fld id="{0397BB65-F95B-479B-9B88-B10026BD2FCE}" type="slidenum">
              <a:rPr lang="en-IN" smtClean="0">
                <a:solidFill>
                  <a:srgbClr val="505050"/>
                </a:solidFill>
              </a:rPr>
              <a:pPr/>
              <a:t>‹#›</a:t>
            </a:fld>
            <a:endParaRPr lang="en-IN" dirty="0">
              <a:solidFill>
                <a:srgbClr val="505050"/>
              </a:solidFill>
            </a:endParaRPr>
          </a:p>
        </p:txBody>
      </p:sp>
    </p:spTree>
    <p:extLst>
      <p:ext uri="{BB962C8B-B14F-4D97-AF65-F5344CB8AC3E}">
        <p14:creationId xmlns:p14="http://schemas.microsoft.com/office/powerpoint/2010/main" val="235783052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
        <p:nvSpPr>
          <p:cNvPr id="2" name="TextBox 7"/>
          <p:cNvSpPr txBox="1"/>
          <p:nvPr userDrawn="1"/>
        </p:nvSpPr>
        <p:spPr bwMode="white">
          <a:xfrm>
            <a:off x="4327496" y="6697629"/>
            <a:ext cx="3781484"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793315384"/>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1239501" y="6405216"/>
            <a:ext cx="769938" cy="371475"/>
          </a:xfrm>
          <a:prstGeom prst="rect">
            <a:avLst/>
          </a:prstGeom>
        </p:spPr>
        <p:txBody>
          <a:bodyPr/>
          <a:lstStyle/>
          <a:p>
            <a:fld id="{840D8047-B893-4862-9D76-6DA481ED40D0}" type="slidenum">
              <a:rPr lang="en-IN" smtClean="0">
                <a:solidFill>
                  <a:srgbClr val="505050"/>
                </a:solidFill>
              </a:rPr>
              <a:pPr/>
              <a:t>‹#›</a:t>
            </a:fld>
            <a:endParaRPr lang="en-IN" dirty="0">
              <a:solidFill>
                <a:srgbClr val="505050"/>
              </a:solidFill>
            </a:endParaRPr>
          </a:p>
        </p:txBody>
      </p:sp>
    </p:spTree>
    <p:extLst>
      <p:ext uri="{BB962C8B-B14F-4D97-AF65-F5344CB8AC3E}">
        <p14:creationId xmlns:p14="http://schemas.microsoft.com/office/powerpoint/2010/main" val="2381724922"/>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43268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Blank Accent Color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40994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43078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56417"/>
            <a:ext cx="11889564" cy="917575"/>
          </a:xfrm>
          <a:prstGeom prst="rect">
            <a:avLst/>
          </a:prstGeom>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algn="ctr" defTabSz="932114"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2022733"/>
          </a:xfrm>
        </p:spPr>
        <p:txBody>
          <a:bodyPr/>
          <a:lstStyle>
            <a:lvl1pPr marL="0" indent="0">
              <a:buNone/>
              <a:defRPr sz="3298">
                <a:gradFill>
                  <a:gsLst>
                    <a:gs pos="1250">
                      <a:srgbClr val="000000"/>
                    </a:gs>
                    <a:gs pos="100000">
                      <a:srgbClr val="000000"/>
                    </a:gs>
                  </a:gsLst>
                  <a:lin ang="5400000" scaled="0"/>
                </a:gradFill>
                <a:latin typeface="Segoe UI" pitchFamily="34" charset="0"/>
                <a:cs typeface="Segoe UI" pitchFamily="34" charset="0"/>
              </a:defRPr>
            </a:lvl1pPr>
            <a:lvl2pPr marL="346420" indent="0">
              <a:buNone/>
              <a:defRPr>
                <a:gradFill>
                  <a:gsLst>
                    <a:gs pos="1250">
                      <a:srgbClr val="000000"/>
                    </a:gs>
                    <a:gs pos="100000">
                      <a:srgbClr val="000000"/>
                    </a:gs>
                  </a:gsLst>
                  <a:lin ang="5400000" scaled="0"/>
                </a:gradFill>
                <a:latin typeface="Segoe UI" pitchFamily="34" charset="0"/>
                <a:cs typeface="Segoe UI" pitchFamily="34" charset="0"/>
              </a:defRPr>
            </a:lvl2pPr>
            <a:lvl3pPr marL="584381" indent="0">
              <a:buNone/>
              <a:defRPr>
                <a:gradFill>
                  <a:gsLst>
                    <a:gs pos="1250">
                      <a:srgbClr val="000000"/>
                    </a:gs>
                    <a:gs pos="100000">
                      <a:srgbClr val="000000"/>
                    </a:gs>
                  </a:gsLst>
                  <a:lin ang="5400000" scaled="0"/>
                </a:gradFill>
                <a:latin typeface="Segoe UI" pitchFamily="34" charset="0"/>
                <a:cs typeface="Segoe UI" pitchFamily="34" charset="0"/>
              </a:defRPr>
            </a:lvl3pPr>
            <a:lvl4pPr marL="814249"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593"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95358017"/>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a:xfrm>
            <a:off x="274639" y="256417"/>
            <a:ext cx="11889564" cy="917575"/>
          </a:xfrm>
          <a:prstGeom prst="rect">
            <a:avLst/>
          </a:prstGeom>
        </p:spPr>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0579723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11_Title Only">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8325600"/>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7"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4" y="3955786"/>
            <a:ext cx="7315137" cy="1828007"/>
          </a:xfrm>
          <a:noFill/>
        </p:spPr>
        <p:txBody>
          <a:bodyPr lIns="146304" tIns="109728" rIns="146304" bIns="109728">
            <a:noAutofit/>
          </a:bodyPr>
          <a:lstStyle>
            <a:lvl1pPr marL="0" indent="0">
              <a:spcBef>
                <a:spcPts val="0"/>
              </a:spcBef>
              <a:buNone/>
              <a:defRPr sz="319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57583" y="6243237"/>
            <a:ext cx="1280160" cy="274492"/>
          </a:xfrm>
          <a:prstGeom prst="rect">
            <a:avLst/>
          </a:prstGeom>
        </p:spPr>
      </p:pic>
    </p:spTree>
    <p:extLst>
      <p:ext uri="{BB962C8B-B14F-4D97-AF65-F5344CB8AC3E}">
        <p14:creationId xmlns:p14="http://schemas.microsoft.com/office/powerpoint/2010/main" val="32772060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1" y="1212853"/>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469" indent="0">
              <a:buNone/>
              <a:defRPr/>
            </a:lvl3pPr>
            <a:lvl4pPr marL="456937" indent="0">
              <a:buNone/>
              <a:defRPr/>
            </a:lvl4pPr>
            <a:lvl5pPr marL="68540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8728757"/>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1" y="1212853"/>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69" indent="0">
              <a:buNone/>
              <a:defRPr/>
            </a:lvl3pPr>
            <a:lvl4pPr marL="456937" indent="0">
              <a:buNone/>
              <a:defRPr/>
            </a:lvl4pPr>
            <a:lvl5pPr marL="68540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2772615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510095"/>
          </a:xfrm>
          <a:prstGeom prst="rect">
            <a:avLst/>
          </a:prstGeom>
        </p:spPr>
        <p:txBody>
          <a:bodyPr/>
          <a:lstStyle>
            <a:lvl1pPr marL="290465" indent="-290465">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04" indent="-280942">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68" indent="-290465">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30" indent="-228562">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93" indent="-228562">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1"/>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98226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0"/>
            <a:ext cx="11887200" cy="2092881"/>
          </a:xfrm>
        </p:spPr>
        <p:txBody>
          <a:bodyPr>
            <a:spAutoFit/>
          </a:bodyPr>
          <a:lstStyle>
            <a:lvl1pPr>
              <a:defRPr sz="3997">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5878695"/>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0"/>
            <a:ext cx="11887200" cy="2092881"/>
          </a:xfrm>
        </p:spPr>
        <p:txBody>
          <a:bodyPr>
            <a:spAutoFit/>
          </a:bodyPr>
          <a:lstStyle>
            <a:lvl1pPr>
              <a:defRPr sz="399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09674117"/>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1914370"/>
          </a:xfrm>
        </p:spPr>
        <p:txBody>
          <a:bodyPr wrap="square">
            <a:spAutoFit/>
          </a:bodyPr>
          <a:lstStyle>
            <a:lvl1pPr marL="0" indent="0">
              <a:spcBef>
                <a:spcPts val="1224"/>
              </a:spcBef>
              <a:buClr>
                <a:schemeClr val="tx1"/>
              </a:buClr>
              <a:buFont typeface="Wingdings" pitchFamily="2" charset="2"/>
              <a:buNone/>
              <a:defRPr sz="3197">
                <a:gradFill>
                  <a:gsLst>
                    <a:gs pos="1250">
                      <a:schemeClr val="tx2"/>
                    </a:gs>
                    <a:gs pos="99000">
                      <a:schemeClr val="tx2"/>
                    </a:gs>
                  </a:gsLst>
                  <a:lin ang="5400000" scaled="0"/>
                </a:gradFill>
              </a:defRPr>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7">
                <a:gradFill>
                  <a:gsLst>
                    <a:gs pos="1250">
                      <a:schemeClr val="tx2"/>
                    </a:gs>
                    <a:gs pos="99000">
                      <a:schemeClr val="tx2"/>
                    </a:gs>
                  </a:gsLst>
                  <a:lin ang="5400000" scaled="0"/>
                </a:gradFill>
              </a:defRPr>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2452005"/>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1914370"/>
          </a:xfrm>
        </p:spPr>
        <p:txBody>
          <a:bodyPr wrap="square">
            <a:spAutoFit/>
          </a:bodyPr>
          <a:lstStyle>
            <a:lvl1pPr marL="0" indent="0">
              <a:spcBef>
                <a:spcPts val="1224"/>
              </a:spcBef>
              <a:buClr>
                <a:schemeClr val="tx1"/>
              </a:buClr>
              <a:buFont typeface="Wingdings" pitchFamily="2" charset="2"/>
              <a:buNone/>
              <a:defRPr sz="3197"/>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7"/>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2273645"/>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2425279"/>
          </a:xfrm>
        </p:spPr>
        <p:txBody>
          <a:bodyPr wrap="square">
            <a:spAutoFit/>
          </a:bodyPr>
          <a:lstStyle>
            <a:lvl1pPr marL="287172" indent="-287172">
              <a:spcBef>
                <a:spcPts val="1224"/>
              </a:spcBef>
              <a:buClr>
                <a:schemeClr val="tx2"/>
              </a:buClr>
              <a:buFont typeface="Arial" pitchFamily="34" charset="0"/>
              <a:buChar char="•"/>
              <a:defRPr sz="3197">
                <a:gradFill>
                  <a:gsLst>
                    <a:gs pos="1250">
                      <a:schemeClr val="tx2"/>
                    </a:gs>
                    <a:gs pos="99000">
                      <a:schemeClr val="tx2"/>
                    </a:gs>
                  </a:gsLst>
                  <a:lin ang="5400000" scaled="0"/>
                </a:gradFill>
              </a:defRPr>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172" indent="-287172">
              <a:spcBef>
                <a:spcPts val="1224"/>
              </a:spcBef>
              <a:buClr>
                <a:schemeClr val="tx2"/>
              </a:buClr>
              <a:buFont typeface="Arial" pitchFamily="34" charset="0"/>
              <a:buChar char="•"/>
              <a:defRPr sz="3197">
                <a:gradFill>
                  <a:gsLst>
                    <a:gs pos="1250">
                      <a:schemeClr val="tx2"/>
                    </a:gs>
                    <a:gs pos="99000">
                      <a:schemeClr val="tx2"/>
                    </a:gs>
                  </a:gsLst>
                  <a:lin ang="5400000" scaled="0"/>
                </a:gradFill>
              </a:defRPr>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70581533"/>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2425279"/>
          </a:xfrm>
        </p:spPr>
        <p:txBody>
          <a:bodyPr wrap="square">
            <a:spAutoFit/>
          </a:bodyPr>
          <a:lstStyle>
            <a:lvl1pPr marL="287172" indent="-287172">
              <a:spcBef>
                <a:spcPts val="1224"/>
              </a:spcBef>
              <a:buClr>
                <a:schemeClr val="tx1"/>
              </a:buClr>
              <a:buFont typeface="Arial" pitchFamily="34" charset="0"/>
              <a:buChar char="•"/>
              <a:defRPr sz="3197"/>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172" indent="-287172">
              <a:spcBef>
                <a:spcPts val="1224"/>
              </a:spcBef>
              <a:buClr>
                <a:schemeClr val="tx1"/>
              </a:buClr>
              <a:buFont typeface="Arial" pitchFamily="34" charset="0"/>
              <a:buChar char="•"/>
              <a:defRPr sz="3197"/>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3248247"/>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29894139"/>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6"/>
            <a:ext cx="10056812" cy="1181862"/>
          </a:xfrm>
          <a:noFill/>
        </p:spPr>
        <p:txBody>
          <a:bodyPr tIns="91440" bIns="91440" anchor="t" anchorCtr="0">
            <a:spAutoFit/>
          </a:bodyPr>
          <a:lstStyle>
            <a:lvl1pPr>
              <a:defRPr sz="7194"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1" y="3954463"/>
            <a:ext cx="10058401" cy="738664"/>
          </a:xfrm>
          <a:noFill/>
        </p:spPr>
        <p:txBody>
          <a:bodyPr lIns="182880" tIns="146304" rIns="182880" bIns="146304">
            <a:spAutoFit/>
          </a:bodyPr>
          <a:lstStyle>
            <a:lvl1pPr marL="0" indent="0">
              <a:spcBef>
                <a:spcPts val="0"/>
              </a:spcBef>
              <a:buNone/>
              <a:defRPr sz="319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604721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6"/>
            <a:ext cx="10056812" cy="1181862"/>
          </a:xfrm>
          <a:noFill/>
        </p:spPr>
        <p:txBody>
          <a:bodyPr tIns="91440" bIns="91440" anchor="t" anchorCtr="0">
            <a:spAutoFit/>
          </a:bodyPr>
          <a:lstStyle>
            <a:lvl1pPr>
              <a:defRPr lang="en-US" sz="7194"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9490597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125665"/>
            <a:ext cx="11887200" cy="1181862"/>
          </a:xfrm>
          <a:noFill/>
        </p:spPr>
        <p:txBody>
          <a:bodyPr tIns="91440" bIns="91440" anchor="t" anchorCtr="0">
            <a:spAutoFit/>
          </a:bodyPr>
          <a:lstStyle>
            <a:lvl1pPr>
              <a:defRPr sz="7194"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3855805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5_Blank Color 1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84183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125665"/>
            <a:ext cx="11887200" cy="1181862"/>
          </a:xfrm>
          <a:noFill/>
        </p:spPr>
        <p:txBody>
          <a:bodyPr tIns="91440" bIns="91440" anchor="t" anchorCtr="0">
            <a:spAutoFit/>
          </a:bodyPr>
          <a:lstStyle>
            <a:lvl1pPr>
              <a:defRPr sz="7194"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82256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125665"/>
            <a:ext cx="11887200" cy="1181862"/>
          </a:xfrm>
          <a:noFill/>
        </p:spPr>
        <p:txBody>
          <a:bodyPr tIns="91440" bIns="91440" anchor="t" anchorCtr="0">
            <a:spAutoFit/>
          </a:bodyPr>
          <a:lstStyle>
            <a:lvl1pPr>
              <a:defRPr sz="7194"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005378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125665"/>
            <a:ext cx="11887200" cy="1181862"/>
          </a:xfrm>
          <a:noFill/>
        </p:spPr>
        <p:txBody>
          <a:bodyPr tIns="91440" bIns="91440" anchor="t" anchorCtr="0">
            <a:spAutoFit/>
          </a:bodyPr>
          <a:lstStyle>
            <a:lvl1pPr>
              <a:defRPr sz="7194"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414406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99807446"/>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26615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57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51326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algn="ctr" defTabSz="931935"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60"/>
            <a:ext cx="11887199" cy="1995931"/>
          </a:xfrm>
        </p:spPr>
        <p:txBody>
          <a:bodyPr/>
          <a:lstStyle>
            <a:lvl1pPr marL="0" indent="0">
              <a:buNone/>
              <a:defRPr sz="3297">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35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2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0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39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26927362"/>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9"/>
            <a:ext cx="11887199" cy="403187"/>
          </a:xfrm>
          <a:prstGeom prst="rect">
            <a:avLst/>
          </a:prstGeom>
          <a:noFill/>
          <a:ln w="12700">
            <a:noFill/>
            <a:miter lim="800000"/>
            <a:headEnd type="none" w="sm" len="sm"/>
            <a:tailEnd type="none" w="sm" len="sm"/>
          </a:ln>
          <a:effectLst/>
        </p:spPr>
        <p:txBody>
          <a:bodyPr vert="horz" wrap="square" lIns="182802" tIns="146241" rIns="182802" bIns="146241" numCol="1" anchor="t" anchorCtr="0" compatLnSpc="1">
            <a:prstTxWarp prst="textNoShape">
              <a:avLst/>
            </a:prstTxWarp>
            <a:spAutoFit/>
          </a:bodyPr>
          <a:lstStyle/>
          <a:p>
            <a:pPr defTabSz="931753" eaLnBrk="0" hangingPunct="0"/>
            <a:r>
              <a:rPr lang="en-US" sz="700" dirty="0">
                <a:gradFill>
                  <a:gsLst>
                    <a:gs pos="0">
                      <a:srgbClr val="505050"/>
                    </a:gs>
                    <a:gs pos="100000">
                      <a:srgbClr val="50505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a:xfrm>
            <a:off x="459233" y="3145040"/>
            <a:ext cx="3291840" cy="705834"/>
          </a:xfrm>
          <a:prstGeom prst="rect">
            <a:avLst/>
          </a:prstGeom>
        </p:spPr>
      </p:pic>
    </p:spTree>
    <p:extLst>
      <p:ext uri="{BB962C8B-B14F-4D97-AF65-F5344CB8AC3E}">
        <p14:creationId xmlns:p14="http://schemas.microsoft.com/office/powerpoint/2010/main" val="1542779266"/>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9"/>
            <a:ext cx="11887199" cy="403187"/>
          </a:xfrm>
          <a:prstGeom prst="rect">
            <a:avLst/>
          </a:prstGeom>
          <a:noFill/>
          <a:ln w="12700">
            <a:noFill/>
            <a:miter lim="800000"/>
            <a:headEnd type="none" w="sm" len="sm"/>
            <a:tailEnd type="none" w="sm" len="sm"/>
          </a:ln>
          <a:effectLst/>
        </p:spPr>
        <p:txBody>
          <a:bodyPr vert="horz" wrap="square" lIns="182802" tIns="146241" rIns="182802" bIns="146241" numCol="1" anchor="t" anchorCtr="0" compatLnSpc="1">
            <a:prstTxWarp prst="textNoShape">
              <a:avLst/>
            </a:prstTxWarp>
            <a:spAutoFit/>
          </a:bodyPr>
          <a:lstStyle/>
          <a:p>
            <a:pPr defTabSz="931753" eaLnBrk="0" hangingPunct="0"/>
            <a:r>
              <a:rPr lang="en-US" sz="700"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9235" y="3145040"/>
            <a:ext cx="3291840" cy="705836"/>
          </a:xfrm>
          <a:prstGeom prst="rect">
            <a:avLst/>
          </a:prstGeom>
        </p:spPr>
      </p:pic>
    </p:spTree>
    <p:extLst>
      <p:ext uri="{BB962C8B-B14F-4D97-AF65-F5344CB8AC3E}">
        <p14:creationId xmlns:p14="http://schemas.microsoft.com/office/powerpoint/2010/main" val="12631986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 STATIC">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9"/>
            <a:ext cx="6399214"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1"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black">
          <a:xfrm>
            <a:off x="458333" y="6182441"/>
            <a:ext cx="1552931" cy="332660"/>
          </a:xfrm>
          <a:prstGeom prst="rect">
            <a:avLst/>
          </a:prstGeom>
        </p:spPr>
      </p:pic>
      <p:sp>
        <p:nvSpPr>
          <p:cNvPr id="8" name="Rectangle 6"/>
          <p:cNvSpPr>
            <a:spLocks noChangeArrowheads="1"/>
          </p:cNvSpPr>
          <p:nvPr userDrawn="1"/>
        </p:nvSpPr>
        <p:spPr bwMode="auto">
          <a:xfrm>
            <a:off x="3177" y="4395791"/>
            <a:ext cx="12433299" cy="26019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4" rIns="91427" bIns="45714" numCol="1" anchor="t" anchorCtr="0" compatLnSpc="1">
            <a:prstTxWarp prst="textNoShape">
              <a:avLst/>
            </a:prstTxWarp>
          </a:bodyPr>
          <a:lstStyle/>
          <a:p>
            <a:pPr defTabSz="932585"/>
            <a:endParaRPr lang="en-US" sz="1801">
              <a:solidFill>
                <a:srgbClr val="FFFFFF"/>
              </a:solidFill>
            </a:endParaRPr>
          </a:p>
        </p:txBody>
      </p:sp>
      <p:sp>
        <p:nvSpPr>
          <p:cNvPr id="14" name="TextBox 7"/>
          <p:cNvSpPr txBox="1"/>
          <p:nvPr userDrawn="1"/>
        </p:nvSpPr>
        <p:spPr bwMode="white">
          <a:xfrm>
            <a:off x="4327496" y="6697629"/>
            <a:ext cx="3781484"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
        <p:nvSpPr>
          <p:cNvPr id="15" name="Text Placeholder 16"/>
          <p:cNvSpPr>
            <a:spLocks noGrp="1"/>
          </p:cNvSpPr>
          <p:nvPr>
            <p:ph type="body" sz="quarter" idx="13" hasCustomPrompt="1"/>
          </p:nvPr>
        </p:nvSpPr>
        <p:spPr>
          <a:xfrm>
            <a:off x="274639" y="296864"/>
            <a:ext cx="3657599" cy="461665"/>
          </a:xfrm>
        </p:spPr>
        <p:txBody>
          <a:bodyPr/>
          <a:lstStyle>
            <a:lvl1pPr marL="0" indent="0">
              <a:buNone/>
              <a:defRPr sz="2000">
                <a:latin typeface="+mn-lt"/>
              </a:defRPr>
            </a:lvl1pPr>
            <a:lvl2pPr marL="342843" indent="0">
              <a:buNone/>
              <a:defRPr sz="2000"/>
            </a:lvl2pPr>
            <a:lvl3pPr marL="571404" indent="0">
              <a:buNone/>
              <a:defRPr sz="2000"/>
            </a:lvl3pPr>
            <a:lvl4pPr marL="799967" indent="0">
              <a:buNone/>
              <a:defRPr sz="2000"/>
            </a:lvl4pPr>
            <a:lvl5pPr marL="1028528" indent="0">
              <a:buNone/>
              <a:defRPr sz="2000"/>
            </a:lvl5pPr>
          </a:lstStyle>
          <a:p>
            <a:pPr lvl="0"/>
            <a:r>
              <a:rPr lang="en-US" dirty="0"/>
              <a:t>Session Code</a:t>
            </a:r>
          </a:p>
        </p:txBody>
      </p:sp>
    </p:spTree>
    <p:extLst>
      <p:ext uri="{BB962C8B-B14F-4D97-AF65-F5344CB8AC3E}">
        <p14:creationId xmlns:p14="http://schemas.microsoft.com/office/powerpoint/2010/main" val="3371829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5992"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2" y="1212853"/>
            <a:ext cx="11887200" cy="2294635"/>
          </a:xfrm>
        </p:spPr>
        <p:txBody>
          <a:bodyPr>
            <a:spAutoFit/>
          </a:bodyPr>
          <a:lstStyle>
            <a:lvl1pPr>
              <a:defRPr>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5453005"/>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1" y="1212852"/>
            <a:ext cx="11887200" cy="2443746"/>
          </a:xfrm>
          <a:prstGeom prst="rect">
            <a:avLst/>
          </a:prstGeom>
        </p:spPr>
        <p:txBody>
          <a:bodyPr/>
          <a:lstStyle>
            <a:lvl1pPr marL="290345" indent="-290345">
              <a:buClr>
                <a:schemeClr val="tx1"/>
              </a:buClr>
              <a:buSzPct val="90000"/>
              <a:buFont typeface="Arial" pitchFamily="34" charset="0"/>
              <a:buChar char="•"/>
              <a:defRPr sz="359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172" indent="-280827">
              <a:buClr>
                <a:schemeClr val="tx1"/>
              </a:buClr>
              <a:buSzPct val="90000"/>
              <a:buFont typeface="Arial" pitchFamily="34" charset="0"/>
              <a:buChar char="•"/>
              <a:defRPr sz="319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517" indent="-290345">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985" indent="-228469">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452" indent="-228469">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4"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8092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userDrawn="1">
  <p:cSld name="52pt Title">
    <p:bg>
      <p:bgPr>
        <a:solidFill>
          <a:schemeClr val="bg1"/>
        </a:solidFill>
        <a:effectLst/>
      </p:bgPr>
    </p:bg>
    <p:spTree>
      <p:nvGrpSpPr>
        <p:cNvPr id="1" name=""/>
        <p:cNvGrpSpPr/>
        <p:nvPr/>
      </p:nvGrpSpPr>
      <p:grpSpPr>
        <a:xfrm>
          <a:off x="0" y="0"/>
          <a:ext cx="0" cy="0"/>
          <a:chOff x="0" y="0"/>
          <a:chExt cx="0" cy="0"/>
        </a:xfrm>
      </p:grpSpPr>
      <p:sp>
        <p:nvSpPr>
          <p:cNvPr id="5" name="Title 2"/>
          <p:cNvSpPr>
            <a:spLocks noGrp="1"/>
          </p:cNvSpPr>
          <p:nvPr>
            <p:ph type="title"/>
          </p:nvPr>
        </p:nvSpPr>
        <p:spPr>
          <a:xfrm>
            <a:off x="274320" y="292082"/>
            <a:ext cx="11887200" cy="946413"/>
          </a:xfrm>
          <a:prstGeom prst="rect">
            <a:avLst/>
          </a:prstGeom>
        </p:spPr>
        <p:txBody>
          <a:bodyPr/>
          <a:lstStyle>
            <a:lvl1pPr algn="l">
              <a:defRPr sz="5200">
                <a:solidFill>
                  <a:schemeClr val="tx2"/>
                </a:solidFill>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fontAlgn="base">
              <a:spcBef>
                <a:spcPct val="0"/>
              </a:spcBef>
              <a:spcAft>
                <a:spcPct val="0"/>
              </a:spcAft>
              <a:defRPr>
                <a:solidFill>
                  <a:srgbClr val="002050"/>
                </a:solidFill>
              </a:defRPr>
            </a:lvl1pPr>
          </a:lstStyle>
          <a:p>
            <a:pPr>
              <a:defRPr/>
            </a:pPr>
            <a:r>
              <a:t>Microsoft Confidential</a:t>
            </a:r>
          </a:p>
        </p:txBody>
      </p:sp>
      <p:sp>
        <p:nvSpPr>
          <p:cNvPr id="4" name="Slide Number Placeholder 3"/>
          <p:cNvSpPr>
            <a:spLocks noGrp="1"/>
          </p:cNvSpPr>
          <p:nvPr>
            <p:ph type="sldNum" sz="quarter" idx="11"/>
          </p:nvPr>
        </p:nvSpPr>
        <p:spPr/>
        <p:txBody>
          <a:bodyPr/>
          <a:lstStyle>
            <a:lvl1pPr defTabSz="931863" fontAlgn="base">
              <a:spcBef>
                <a:spcPct val="0"/>
              </a:spcBef>
              <a:spcAft>
                <a:spcPct val="0"/>
              </a:spcAft>
              <a:defRPr>
                <a:solidFill>
                  <a:srgbClr val="002050"/>
                </a:solidFill>
              </a:defRPr>
            </a:lvl1pPr>
          </a:lstStyle>
          <a:p>
            <a:pPr>
              <a:defRPr/>
            </a:pPr>
            <a:fld id="{EC136591-509A-F246-B30E-5ECE4A4A5F5E}" type="slidenum">
              <a:rPr/>
              <a:pPr>
                <a:defRPr/>
              </a:pPr>
              <a:t>‹#›</a:t>
            </a:fld>
            <a:endParaRPr/>
          </a:p>
        </p:txBody>
      </p:sp>
    </p:spTree>
    <p:extLst>
      <p:ext uri="{BB962C8B-B14F-4D97-AF65-F5344CB8AC3E}">
        <p14:creationId xmlns:p14="http://schemas.microsoft.com/office/powerpoint/2010/main" val="4028269751"/>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38" y="1139825"/>
            <a:ext cx="11033125" cy="574675"/>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5200">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r>
              <a:rPr/>
              <a:t>Microsoft Confidential</a:t>
            </a:r>
          </a:p>
        </p:txBody>
      </p:sp>
      <p:sp>
        <p:nvSpPr>
          <p:cNvPr id="5" name="Slide Number Placeholder 3"/>
          <p:cNvSpPr>
            <a:spLocks noGrp="1"/>
          </p:cNvSpPr>
          <p:nvPr>
            <p:ph type="sldNum" sz="quarter" idx="15"/>
          </p:nvPr>
        </p:nvSpPr>
        <p:spPr/>
        <p:txBody>
          <a:bodyPr/>
          <a:lstStyle>
            <a:lvl1pPr defTabSz="931863"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360777116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r>
              <a:rPr/>
              <a:t>Microsoft Confidential</a:t>
            </a:r>
          </a:p>
        </p:txBody>
      </p:sp>
      <p:sp>
        <p:nvSpPr>
          <p:cNvPr id="3" name="Slide Number Placeholder 2"/>
          <p:cNvSpPr>
            <a:spLocks noGrp="1"/>
          </p:cNvSpPr>
          <p:nvPr>
            <p:ph type="sldNum" sz="quarter" idx="11"/>
          </p:nvPr>
        </p:nvSpPr>
        <p:spPr/>
        <p:txBody>
          <a:bodyPr/>
          <a:lstStyle>
            <a:lvl1pPr defTabSz="931863"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333777715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20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604066724"/>
      </p:ext>
    </p:extLst>
  </p:cSld>
  <p:clrMapOvr>
    <a:masterClrMapping/>
  </p:clrMapOvr>
  <p:transition spd="med">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0323687"/>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1879766"/>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567786" y="6272351"/>
            <a:ext cx="1411107" cy="302280"/>
          </a:xfrm>
          <a:prstGeom prst="rect">
            <a:avLst/>
          </a:prstGeom>
        </p:spPr>
      </p:pic>
      <p:sp>
        <p:nvSpPr>
          <p:cNvPr id="5" name="Text Placeholder 4"/>
          <p:cNvSpPr>
            <a:spLocks noGrp="1"/>
          </p:cNvSpPr>
          <p:nvPr>
            <p:ph type="body" sz="quarter" idx="12" hasCustomPrompt="1"/>
          </p:nvPr>
        </p:nvSpPr>
        <p:spPr>
          <a:xfrm>
            <a:off x="276541" y="3954459"/>
            <a:ext cx="6399212" cy="1830388"/>
          </a:xfrm>
          <a:noFill/>
        </p:spPr>
        <p:txBody>
          <a:bodyPr lIns="146237" tIns="109676" rIns="146237" bIns="109676">
            <a:noAutofit/>
          </a:bodyPr>
          <a:lstStyle>
            <a:lvl1pPr marL="0" indent="0">
              <a:spcBef>
                <a:spcPts val="0"/>
              </a:spcBef>
              <a:buNone/>
              <a:defRPr sz="35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237" tIns="91399" rIns="146237" bIns="91399" anchor="t" anchorCtr="0"/>
          <a:lstStyle>
            <a:lvl1pPr>
              <a:defRPr sz="5900" spc="-101" baseline="0">
                <a:gradFill>
                  <a:gsLst>
                    <a:gs pos="3333">
                      <a:schemeClr val="tx2"/>
                    </a:gs>
                    <a:gs pos="39000">
                      <a:schemeClr val="tx2"/>
                    </a:gs>
                  </a:gsLst>
                  <a:lin ang="5400000" scaled="0"/>
                </a:gradFill>
              </a:defRPr>
            </a:lvl1pPr>
          </a:lstStyle>
          <a:p>
            <a:r>
              <a:rPr lang="en-US" dirty="0"/>
              <a:t>Presentation title</a:t>
            </a:r>
          </a:p>
        </p:txBody>
      </p:sp>
    </p:spTree>
    <p:extLst>
      <p:ext uri="{BB962C8B-B14F-4D97-AF65-F5344CB8AC3E}">
        <p14:creationId xmlns:p14="http://schemas.microsoft.com/office/powerpoint/2010/main" val="21312970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1" y="3954459"/>
            <a:ext cx="6399212" cy="1830388"/>
          </a:xfrm>
          <a:noFill/>
        </p:spPr>
        <p:txBody>
          <a:bodyPr lIns="146237" tIns="109676" rIns="146237" bIns="109676">
            <a:noAutofit/>
          </a:bodyPr>
          <a:lstStyle>
            <a:lvl1pPr marL="0" indent="0">
              <a:spcBef>
                <a:spcPts val="0"/>
              </a:spcBef>
              <a:buNone/>
              <a:defRPr sz="35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237" tIns="91399" rIns="146237" bIns="91399" anchor="t" anchorCtr="0"/>
          <a:lstStyle>
            <a:lvl1pPr>
              <a:defRPr sz="5900" spc="-101" baseline="0">
                <a:gradFill>
                  <a:gsLst>
                    <a:gs pos="3333">
                      <a:schemeClr val="tx1"/>
                    </a:gs>
                    <a:gs pos="39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2405886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1" y="3954459"/>
            <a:ext cx="6399212" cy="1830388"/>
          </a:xfrm>
          <a:noFill/>
        </p:spPr>
        <p:txBody>
          <a:bodyPr lIns="146237" tIns="109676" rIns="146237" bIns="109676">
            <a:noAutofit/>
          </a:bodyPr>
          <a:lstStyle>
            <a:lvl1pPr marL="0" indent="0">
              <a:spcBef>
                <a:spcPts val="0"/>
              </a:spcBef>
              <a:buNone/>
              <a:defRPr sz="3500"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237" tIns="91399" rIns="146237" bIns="91399" anchor="t" anchorCtr="0"/>
          <a:lstStyle>
            <a:lvl1pPr>
              <a:defRPr sz="5900" spc="-101" baseline="0">
                <a:gradFill>
                  <a:gsLst>
                    <a:gs pos="1250">
                      <a:schemeClr val="bg1">
                        <a:lumMod val="50000"/>
                      </a:schemeClr>
                    </a:gs>
                    <a:gs pos="100000">
                      <a:schemeClr val="bg1">
                        <a:lumMod val="50000"/>
                      </a:schemeClr>
                    </a:gs>
                  </a:gsLst>
                  <a:lin ang="5400000" scaled="0"/>
                </a:gradFill>
              </a:defRPr>
            </a:lvl1pPr>
          </a:lstStyle>
          <a:p>
            <a:r>
              <a:rPr lang="en-US" dirty="0"/>
              <a:t>Presentation title</a:t>
            </a:r>
          </a:p>
        </p:txBody>
      </p:sp>
    </p:spTree>
    <p:extLst>
      <p:ext uri="{BB962C8B-B14F-4D97-AF65-F5344CB8AC3E}">
        <p14:creationId xmlns:p14="http://schemas.microsoft.com/office/powerpoint/2010/main" val="18673047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4_Blue Tile Title">
    <p:spTree>
      <p:nvGrpSpPr>
        <p:cNvPr id="1" name=""/>
        <p:cNvGrpSpPr/>
        <p:nvPr/>
      </p:nvGrpSpPr>
      <p:grpSpPr>
        <a:xfrm>
          <a:off x="0" y="0"/>
          <a:ext cx="0" cy="0"/>
          <a:chOff x="0" y="0"/>
          <a:chExt cx="0" cy="0"/>
        </a:xfrm>
      </p:grpSpPr>
      <p:sp>
        <p:nvSpPr>
          <p:cNvPr id="2" name="TextBox 1"/>
          <p:cNvSpPr txBox="1"/>
          <p:nvPr userDrawn="1"/>
        </p:nvSpPr>
        <p:spPr>
          <a:xfrm>
            <a:off x="-1819275" y="-457200"/>
            <a:ext cx="914401" cy="914400"/>
          </a:xfrm>
          <a:prstGeom prst="rect">
            <a:avLst/>
          </a:prstGeom>
          <a:noFill/>
        </p:spPr>
        <p:txBody>
          <a:bodyPr wrap="none" lIns="182854" tIns="146283" rIns="182854" bIns="146283"/>
          <a:lstStyle/>
          <a:p>
            <a:pPr defTabSz="932160">
              <a:lnSpc>
                <a:spcPct val="90000"/>
              </a:lnSpc>
              <a:spcAft>
                <a:spcPts val="600"/>
              </a:spcAft>
              <a:defRPr/>
            </a:pPr>
            <a:endParaRPr lang="en-US" sz="2400" dirty="0">
              <a:gradFill>
                <a:gsLst>
                  <a:gs pos="2917">
                    <a:srgbClr val="FFFFFF"/>
                  </a:gs>
                  <a:gs pos="30000">
                    <a:srgbClr val="FFFFFF"/>
                  </a:gs>
                </a:gsLst>
                <a:lin ang="5400000" scaled="0"/>
              </a:gradFill>
            </a:endParaRPr>
          </a:p>
        </p:txBody>
      </p:sp>
      <p:sp>
        <p:nvSpPr>
          <p:cNvPr id="3" name="TextBox 2"/>
          <p:cNvSpPr txBox="1"/>
          <p:nvPr userDrawn="1"/>
        </p:nvSpPr>
        <p:spPr>
          <a:xfrm>
            <a:off x="15919451" y="-3259137"/>
            <a:ext cx="914401" cy="914400"/>
          </a:xfrm>
          <a:prstGeom prst="rect">
            <a:avLst/>
          </a:prstGeom>
          <a:noFill/>
        </p:spPr>
        <p:txBody>
          <a:bodyPr wrap="none" lIns="182854" tIns="146283" rIns="182854" bIns="146283"/>
          <a:lstStyle/>
          <a:p>
            <a:pPr defTabSz="932160">
              <a:lnSpc>
                <a:spcPct val="90000"/>
              </a:lnSpc>
              <a:spcAft>
                <a:spcPts val="600"/>
              </a:spcAft>
              <a:defRPr/>
            </a:pPr>
            <a:endParaRPr lang="en-US" sz="2400" dirty="0">
              <a:gradFill>
                <a:gsLst>
                  <a:gs pos="2917">
                    <a:srgbClr val="FFFFFF"/>
                  </a:gs>
                  <a:gs pos="30000">
                    <a:srgbClr val="FFFFFF"/>
                  </a:gs>
                </a:gsLst>
                <a:lin ang="5400000" scaled="0"/>
              </a:gradFill>
            </a:endParaRPr>
          </a:p>
        </p:txBody>
      </p:sp>
    </p:spTree>
    <p:extLst>
      <p:ext uri="{BB962C8B-B14F-4D97-AF65-F5344CB8AC3E}">
        <p14:creationId xmlns:p14="http://schemas.microsoft.com/office/powerpoint/2010/main" val="4211438970"/>
      </p:ext>
    </p:extLst>
  </p:cSld>
  <p:clrMapOvr>
    <a:masterClrMapping/>
  </p:clrMapOvr>
  <p:transition spd="slow">
    <p:wipe dir="r"/>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accent4"/>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1" y="3954459"/>
            <a:ext cx="6399212" cy="1830388"/>
          </a:xfrm>
          <a:noFill/>
        </p:spPr>
        <p:txBody>
          <a:bodyPr lIns="146237" tIns="109676" rIns="146237" bIns="109676">
            <a:noAutofit/>
          </a:bodyPr>
          <a:lstStyle>
            <a:lvl1pPr marL="0" indent="0">
              <a:spcBef>
                <a:spcPts val="0"/>
              </a:spcBef>
              <a:buNone/>
              <a:defRPr sz="3500"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237" tIns="91399" rIns="146237" bIns="91399" anchor="t" anchorCtr="0"/>
          <a:lstStyle>
            <a:lvl1pPr>
              <a:defRPr sz="5900" spc="-101" baseline="0">
                <a:gradFill>
                  <a:gsLst>
                    <a:gs pos="1250">
                      <a:schemeClr val="bg1">
                        <a:lumMod val="50000"/>
                      </a:schemeClr>
                    </a:gs>
                    <a:gs pos="100000">
                      <a:schemeClr val="bg1">
                        <a:lumMod val="50000"/>
                      </a:schemeClr>
                    </a:gs>
                  </a:gsLst>
                  <a:lin ang="5400000" scaled="0"/>
                </a:gradFill>
              </a:defRPr>
            </a:lvl1pPr>
          </a:lstStyle>
          <a:p>
            <a:r>
              <a:rPr lang="en-US" dirty="0"/>
              <a:t>Presentation title</a:t>
            </a:r>
          </a:p>
        </p:txBody>
      </p:sp>
    </p:spTree>
    <p:extLst>
      <p:ext uri="{BB962C8B-B14F-4D97-AF65-F5344CB8AC3E}">
        <p14:creationId xmlns:p14="http://schemas.microsoft.com/office/powerpoint/2010/main" val="42142043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1" y="3954459"/>
            <a:ext cx="6399212" cy="1830388"/>
          </a:xfrm>
          <a:noFill/>
        </p:spPr>
        <p:txBody>
          <a:bodyPr lIns="146237" tIns="109676" rIns="146237" bIns="109676">
            <a:noAutofit/>
          </a:bodyPr>
          <a:lstStyle>
            <a:lvl1pPr marL="0" indent="0">
              <a:spcBef>
                <a:spcPts val="0"/>
              </a:spcBef>
              <a:buNone/>
              <a:defRPr sz="3500"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237" tIns="91399" rIns="146237" bIns="91399" anchor="t" anchorCtr="0"/>
          <a:lstStyle>
            <a:lvl1pPr>
              <a:defRPr sz="5900" spc="-101" baseline="0">
                <a:gradFill>
                  <a:gsLst>
                    <a:gs pos="1250">
                      <a:schemeClr val="bg1">
                        <a:lumMod val="50000"/>
                      </a:schemeClr>
                    </a:gs>
                    <a:gs pos="100000">
                      <a:schemeClr val="bg1">
                        <a:lumMod val="50000"/>
                      </a:schemeClr>
                    </a:gs>
                  </a:gsLst>
                  <a:lin ang="5400000" scaled="0"/>
                </a:gradFill>
              </a:defRPr>
            </a:lvl1pPr>
          </a:lstStyle>
          <a:p>
            <a:r>
              <a:rPr lang="en-US" dirty="0"/>
              <a:t>Presentation title</a:t>
            </a:r>
          </a:p>
        </p:txBody>
      </p:sp>
    </p:spTree>
    <p:extLst>
      <p:ext uri="{BB962C8B-B14F-4D97-AF65-F5344CB8AC3E}">
        <p14:creationId xmlns:p14="http://schemas.microsoft.com/office/powerpoint/2010/main" val="26087785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4" tIns="146237" rIns="182794" bIns="146237" numCol="1" spcCol="0" rtlCol="0" fromWordArt="0" anchor="t" anchorCtr="0" forceAA="0" compatLnSpc="1">
            <a:prstTxWarp prst="textNoShape">
              <a:avLst/>
            </a:prstTxWarp>
            <a:noAutofit/>
          </a:bodyPr>
          <a:lstStyle/>
          <a:p>
            <a:pPr algn="ctr" defTabSz="932034">
              <a:lnSpc>
                <a:spcPct val="90000"/>
              </a:lnSpc>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74639" y="1209975"/>
            <a:ext cx="10056812" cy="2751698"/>
          </a:xfrm>
          <a:noFill/>
        </p:spPr>
        <p:txBody>
          <a:bodyPr tIns="91399" bIns="91399" anchor="t" anchorCtr="0"/>
          <a:lstStyle>
            <a:lvl1pPr>
              <a:defRPr sz="7200" spc="-101"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1" y="3954468"/>
            <a:ext cx="10058400" cy="1829593"/>
          </a:xfrm>
          <a:noFill/>
        </p:spPr>
        <p:txBody>
          <a:bodyPr lIns="182794" tIns="146237" rIns="182794" bIns="146237">
            <a:noAutofit/>
          </a:bodyPr>
          <a:lstStyle>
            <a:lvl1pPr marL="0" indent="0">
              <a:spcBef>
                <a:spcPts val="0"/>
              </a:spcBef>
              <a:buNone/>
              <a:defRPr sz="35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712782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4" tIns="146237" rIns="182794" bIns="146237" numCol="1" spcCol="0" rtlCol="0" fromWordArt="0" anchor="t" anchorCtr="0" forceAA="0" compatLnSpc="1">
            <a:prstTxWarp prst="textNoShape">
              <a:avLst/>
            </a:prstTxWarp>
            <a:noAutofit/>
          </a:bodyPr>
          <a:lstStyle/>
          <a:p>
            <a:pPr algn="ctr" defTabSz="932034">
              <a:lnSpc>
                <a:spcPct val="90000"/>
              </a:lnSpc>
            </a:pPr>
            <a:endParaRPr lang="en-US" dirty="0" err="1">
              <a:gradFill>
                <a:gsLst>
                  <a:gs pos="0">
                    <a:srgbClr val="505050">
                      <a:lumMod val="50000"/>
                    </a:srgbClr>
                  </a:gs>
                  <a:gs pos="100000">
                    <a:srgbClr val="505050">
                      <a:lumMod val="50000"/>
                    </a:srgb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399" bIns="91399" anchor="t" anchorCtr="0"/>
          <a:lstStyle>
            <a:lvl1pPr>
              <a:defRPr sz="7200" spc="-101" baseline="0">
                <a:gradFill>
                  <a:gsLst>
                    <a:gs pos="5833">
                      <a:schemeClr val="bg1">
                        <a:lumMod val="50000"/>
                      </a:schemeClr>
                    </a:gs>
                    <a:gs pos="100000">
                      <a:schemeClr val="bg1">
                        <a:lumMod val="50000"/>
                      </a:schemeClr>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1" y="3954468"/>
            <a:ext cx="10058400" cy="1829593"/>
          </a:xfrm>
          <a:noFill/>
        </p:spPr>
        <p:txBody>
          <a:bodyPr lIns="182794" tIns="146237" rIns="182794" bIns="146237">
            <a:noAutofit/>
          </a:bodyPr>
          <a:lstStyle>
            <a:lvl1pPr marL="0" indent="0">
              <a:spcBef>
                <a:spcPts val="0"/>
              </a:spcBef>
              <a:buNone/>
              <a:defRPr sz="35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280435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4" tIns="146237" rIns="182794" bIns="146237" numCol="1" spcCol="0" rtlCol="0" fromWordArt="0" anchor="t" anchorCtr="0" forceAA="0" compatLnSpc="1">
            <a:prstTxWarp prst="textNoShape">
              <a:avLst/>
            </a:prstTxWarp>
            <a:noAutofit/>
          </a:bodyPr>
          <a:lstStyle/>
          <a:p>
            <a:pPr algn="ctr" defTabSz="932034">
              <a:lnSpc>
                <a:spcPct val="90000"/>
              </a:lnSpc>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399" bIns="91399" anchor="t" anchorCtr="0"/>
          <a:lstStyle>
            <a:lvl1pPr>
              <a:defRPr sz="7200" spc="-101" baseline="0">
                <a:gradFill>
                  <a:gsLst>
                    <a:gs pos="5833">
                      <a:schemeClr val="tx1">
                        <a:lumMod val="50000"/>
                      </a:schemeClr>
                    </a:gs>
                    <a:gs pos="100000">
                      <a:schemeClr val="tx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37240725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4" tIns="146237" rIns="182794" bIns="146237" numCol="1" spcCol="0" rtlCol="0" fromWordArt="0" anchor="t" anchorCtr="0" forceAA="0" compatLnSpc="1">
            <a:prstTxWarp prst="textNoShape">
              <a:avLst/>
            </a:prstTxWarp>
            <a:noAutofit/>
          </a:bodyPr>
          <a:lstStyle/>
          <a:p>
            <a:pPr algn="ctr" defTabSz="932034">
              <a:lnSpc>
                <a:spcPct val="90000"/>
              </a:lnSpc>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399" bIns="91399" anchor="t" anchorCtr="0"/>
          <a:lstStyle>
            <a:lvl1pPr>
              <a:defRPr sz="7200" spc="-101" baseline="0">
                <a:gradFill>
                  <a:gsLst>
                    <a:gs pos="5833">
                      <a:schemeClr val="tx1">
                        <a:lumMod val="50000"/>
                      </a:schemeClr>
                    </a:gs>
                    <a:gs pos="100000">
                      <a:schemeClr val="tx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4454658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2_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4" tIns="146237" rIns="182794" bIns="146237" numCol="1" spcCol="0" rtlCol="0" fromWordArt="0" anchor="t" anchorCtr="0" forceAA="0" compatLnSpc="1">
            <a:prstTxWarp prst="textNoShape">
              <a:avLst/>
            </a:prstTxWarp>
            <a:noAutofit/>
          </a:bodyPr>
          <a:lstStyle/>
          <a:p>
            <a:pPr algn="ctr" defTabSz="932034">
              <a:lnSpc>
                <a:spcPct val="90000"/>
              </a:lnSpc>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399" bIns="91399" anchor="t" anchorCtr="0"/>
          <a:lstStyle>
            <a:lvl1pPr>
              <a:defRPr sz="7200" spc="-101" baseline="0">
                <a:gradFill>
                  <a:gsLst>
                    <a:gs pos="5833">
                      <a:schemeClr val="tx1">
                        <a:lumMod val="50000"/>
                      </a:schemeClr>
                    </a:gs>
                    <a:gs pos="100000">
                      <a:schemeClr val="tx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7216688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3_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4" tIns="146237" rIns="182794" bIns="146237" numCol="1" spcCol="0" rtlCol="0" fromWordArt="0" anchor="t" anchorCtr="0" forceAA="0" compatLnSpc="1">
            <a:prstTxWarp prst="textNoShape">
              <a:avLst/>
            </a:prstTxWarp>
            <a:noAutofit/>
          </a:bodyPr>
          <a:lstStyle/>
          <a:p>
            <a:pPr algn="ctr" defTabSz="932034">
              <a:lnSpc>
                <a:spcPct val="90000"/>
              </a:lnSpc>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399" bIns="91399" anchor="t" anchorCtr="0"/>
          <a:lstStyle>
            <a:lvl1pPr>
              <a:defRPr sz="7200" spc="-101" baseline="0">
                <a:gradFill>
                  <a:gsLst>
                    <a:gs pos="5833">
                      <a:schemeClr val="bg1"/>
                    </a:gs>
                    <a:gs pos="100000">
                      <a:schemeClr val="bg1"/>
                    </a:gs>
                  </a:gsLst>
                  <a:lin ang="5400000" scaled="0"/>
                </a:gradFill>
              </a:defRPr>
            </a:lvl1pPr>
          </a:lstStyle>
          <a:p>
            <a:r>
              <a:rPr lang="en-US" dirty="0"/>
              <a:t>Video title</a:t>
            </a:r>
          </a:p>
        </p:txBody>
      </p:sp>
    </p:spTree>
    <p:extLst>
      <p:ext uri="{BB962C8B-B14F-4D97-AF65-F5344CB8AC3E}">
        <p14:creationId xmlns:p14="http://schemas.microsoft.com/office/powerpoint/2010/main" val="18947703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4" tIns="146237" rIns="182794" bIns="146237" numCol="1" spcCol="0" rtlCol="0" fromWordArt="0" anchor="t" anchorCtr="0" forceAA="0" compatLnSpc="1">
            <a:prstTxWarp prst="textNoShape">
              <a:avLst/>
            </a:prstTxWarp>
            <a:noAutofit/>
          </a:bodyPr>
          <a:lstStyle/>
          <a:p>
            <a:pPr algn="ctr" defTabSz="932034">
              <a:lnSpc>
                <a:spcPct val="90000"/>
              </a:lnSpc>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399" bIns="91399" anchor="t" anchorCtr="0"/>
          <a:lstStyle>
            <a:lvl1pPr>
              <a:defRPr sz="7200" spc="-101" baseline="0">
                <a:gradFill>
                  <a:gsLst>
                    <a:gs pos="5833">
                      <a:schemeClr val="bg1">
                        <a:lumMod val="50000"/>
                      </a:schemeClr>
                    </a:gs>
                    <a:gs pos="100000">
                      <a:schemeClr val="bg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13075124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1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4" tIns="146237" rIns="182794" bIns="146237" numCol="1" spcCol="0" rtlCol="0" fromWordArt="0" anchor="t" anchorCtr="0" forceAA="0" compatLnSpc="1">
            <a:prstTxWarp prst="textNoShape">
              <a:avLst/>
            </a:prstTxWarp>
            <a:noAutofit/>
          </a:bodyPr>
          <a:lstStyle/>
          <a:p>
            <a:pPr algn="ctr" defTabSz="932034">
              <a:lnSpc>
                <a:spcPct val="90000"/>
              </a:lnSpc>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399" bIns="91399" anchor="t" anchorCtr="0"/>
          <a:lstStyle>
            <a:lvl1pPr>
              <a:defRPr sz="7200" spc="-101" baseline="0">
                <a:gradFill>
                  <a:gsLst>
                    <a:gs pos="5833">
                      <a:schemeClr val="bg1">
                        <a:lumMod val="50000"/>
                      </a:schemeClr>
                    </a:gs>
                    <a:gs pos="100000">
                      <a:schemeClr val="bg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29365897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36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64964"/>
            <a:ext cx="9143998" cy="1097302"/>
          </a:xfrm>
        </p:spPr>
        <p:txBody>
          <a:bodyPr vert="horz" wrap="square" lIns="146304" tIns="91440" rIns="146304" bIns="91440" rtlCol="0" anchor="t">
            <a:noAutofit/>
          </a:bodyPr>
          <a:lstStyle>
            <a:lvl1pPr>
              <a:defRPr lang="en-US" sz="4799">
                <a:solidFill>
                  <a:srgbClr val="505050"/>
                </a:solidFill>
              </a:defRPr>
            </a:lvl1pPr>
          </a:lstStyle>
          <a:p>
            <a:pPr marL="0" lvl="0">
              <a:lnSpc>
                <a:spcPts val="3600"/>
              </a:lnSpc>
              <a:spcBef>
                <a:spcPts val="864"/>
              </a:spcBef>
            </a:pPr>
            <a:r>
              <a:rPr lang="en-US" dirty="0" err="1"/>
              <a:t>Lorem</a:t>
            </a:r>
            <a:r>
              <a:rPr lang="en-US" dirty="0"/>
              <a:t> </a:t>
            </a:r>
            <a:r>
              <a:rPr lang="en-US" dirty="0" err="1"/>
              <a:t>Ipsum</a:t>
            </a:r>
            <a:r>
              <a:rPr lang="en-US" dirty="0"/>
              <a:t> Dolor Sit.</a:t>
            </a:r>
          </a:p>
        </p:txBody>
      </p:sp>
      <p:sp>
        <p:nvSpPr>
          <p:cNvPr id="8" name="Text Placeholder 7"/>
          <p:cNvSpPr>
            <a:spLocks noGrp="1"/>
          </p:cNvSpPr>
          <p:nvPr>
            <p:ph type="body" sz="quarter" idx="13" hasCustomPrompt="1"/>
          </p:nvPr>
        </p:nvSpPr>
        <p:spPr>
          <a:xfrm>
            <a:off x="274637" y="2125664"/>
            <a:ext cx="9144000" cy="2817982"/>
          </a:xfrm>
        </p:spPr>
        <p:txBody>
          <a:bodyPr/>
          <a:lstStyle>
            <a:lvl1pPr marL="233325" indent="-233325">
              <a:spcBef>
                <a:spcPts val="1199"/>
              </a:spcBef>
              <a:defRPr sz="2600">
                <a:latin typeface="+mn-lt"/>
              </a:defRPr>
            </a:lvl1pPr>
            <a:lvl2pPr marL="690447" indent="-233325">
              <a:spcBef>
                <a:spcPts val="1199"/>
              </a:spcBef>
              <a:buSzPct val="100000"/>
              <a:buFont typeface="Segoe UI" pitchFamily="34" charset="0"/>
              <a:buChar char="‐"/>
              <a:defRPr/>
            </a:lvl2pPr>
            <a:lvl3pPr marL="1147571" indent="-233325">
              <a:spcBef>
                <a:spcPts val="1199"/>
              </a:spcBef>
              <a:buFont typeface="Wingdings" pitchFamily="2" charset="2"/>
              <a:buChar char="§"/>
              <a:defRPr/>
            </a:lvl3pPr>
            <a:lvl4pPr marL="1599932" indent="-342843">
              <a:spcBef>
                <a:spcPts val="1199"/>
              </a:spcBef>
              <a:buFont typeface="+mj-lt"/>
              <a:buAutoNum type="arabicPeriod"/>
              <a:defRPr/>
            </a:lvl4pPr>
            <a:lvl5pPr marL="1945949" indent="-342843">
              <a:spcBef>
                <a:spcPts val="1199"/>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30623896"/>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2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4" tIns="146237" rIns="182794" bIns="146237" numCol="1" spcCol="0" rtlCol="0" fromWordArt="0" anchor="t" anchorCtr="0" forceAA="0" compatLnSpc="1">
            <a:prstTxWarp prst="textNoShape">
              <a:avLst/>
            </a:prstTxWarp>
            <a:noAutofit/>
          </a:bodyPr>
          <a:lstStyle/>
          <a:p>
            <a:pPr algn="ctr" defTabSz="932034">
              <a:lnSpc>
                <a:spcPct val="90000"/>
              </a:lnSpc>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399" bIns="91399" anchor="t" anchorCtr="0"/>
          <a:lstStyle>
            <a:lvl1pPr>
              <a:defRPr sz="7200" spc="-101" baseline="0">
                <a:gradFill>
                  <a:gsLst>
                    <a:gs pos="5833">
                      <a:schemeClr val="bg1">
                        <a:lumMod val="50000"/>
                      </a:schemeClr>
                    </a:gs>
                    <a:gs pos="100000">
                      <a:schemeClr val="bg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19611463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3_Video slide 2">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4" tIns="146237" rIns="182794" bIns="146237" numCol="1" spcCol="0" rtlCol="0" fromWordArt="0" anchor="t" anchorCtr="0" forceAA="0" compatLnSpc="1">
            <a:prstTxWarp prst="textNoShape">
              <a:avLst/>
            </a:prstTxWarp>
            <a:noAutofit/>
          </a:bodyPr>
          <a:lstStyle/>
          <a:p>
            <a:pPr algn="ctr" defTabSz="932034">
              <a:lnSpc>
                <a:spcPct val="90000"/>
              </a:lnSpc>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399" bIns="91399" anchor="t" anchorCtr="0"/>
          <a:lstStyle>
            <a:lvl1pPr>
              <a:defRPr sz="7200" spc="-101" baseline="0">
                <a:gradFill>
                  <a:gsLst>
                    <a:gs pos="5833">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6751112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7"/>
            <a:ext cx="11887200" cy="1831975"/>
          </a:xfrm>
          <a:noFill/>
        </p:spPr>
        <p:txBody>
          <a:bodyPr tIns="91399" bIns="91399" anchor="t" anchorCtr="0"/>
          <a:lstStyle>
            <a:lvl1pPr>
              <a:defRPr sz="8700"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189209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7"/>
            <a:ext cx="11887200" cy="1831975"/>
          </a:xfrm>
          <a:noFill/>
        </p:spPr>
        <p:txBody>
          <a:bodyPr tIns="91399" bIns="91399" anchor="t" anchorCtr="0"/>
          <a:lstStyle>
            <a:lvl1pPr>
              <a:defRPr sz="8700" spc="-101" baseline="0">
                <a:gradFill>
                  <a:gsLst>
                    <a:gs pos="100000">
                      <a:schemeClr val="bg1">
                        <a:lumMod val="50000"/>
                      </a:schemeClr>
                    </a:gs>
                    <a:gs pos="0">
                      <a:schemeClr val="bg1">
                        <a:lumMod val="50000"/>
                      </a:schemeClr>
                    </a:gs>
                  </a:gsLst>
                  <a:lin ang="5400000" scaled="0"/>
                </a:gradFill>
              </a:defRPr>
            </a:lvl1pPr>
          </a:lstStyle>
          <a:p>
            <a:r>
              <a:rPr lang="en-US" dirty="0"/>
              <a:t>Section title</a:t>
            </a:r>
          </a:p>
        </p:txBody>
      </p:sp>
    </p:spTree>
    <p:extLst>
      <p:ext uri="{BB962C8B-B14F-4D97-AF65-F5344CB8AC3E}">
        <p14:creationId xmlns:p14="http://schemas.microsoft.com/office/powerpoint/2010/main" val="35452007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7"/>
            <a:ext cx="11887200" cy="1831975"/>
          </a:xfrm>
          <a:noFill/>
        </p:spPr>
        <p:txBody>
          <a:bodyPr tIns="91399" bIns="91399" anchor="t" anchorCtr="0"/>
          <a:lstStyle>
            <a:lvl1pPr>
              <a:defRPr sz="8700" spc="-101" baseline="0">
                <a:gradFill>
                  <a:gsLst>
                    <a:gs pos="100000">
                      <a:schemeClr val="bg1">
                        <a:lumMod val="50000"/>
                      </a:schemeClr>
                    </a:gs>
                    <a:gs pos="0">
                      <a:schemeClr val="bg1">
                        <a:lumMod val="50000"/>
                      </a:schemeClr>
                    </a:gs>
                  </a:gsLst>
                  <a:lin ang="5400000" scaled="0"/>
                </a:gradFill>
              </a:defRPr>
            </a:lvl1pPr>
          </a:lstStyle>
          <a:p>
            <a:r>
              <a:rPr lang="en-US" dirty="0"/>
              <a:t>Section title</a:t>
            </a:r>
          </a:p>
        </p:txBody>
      </p:sp>
    </p:spTree>
    <p:extLst>
      <p:ext uri="{BB962C8B-B14F-4D97-AF65-F5344CB8AC3E}">
        <p14:creationId xmlns:p14="http://schemas.microsoft.com/office/powerpoint/2010/main" val="13118505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7"/>
            <a:ext cx="11887200" cy="1831975"/>
          </a:xfrm>
          <a:noFill/>
        </p:spPr>
        <p:txBody>
          <a:bodyPr tIns="91399" bIns="91399" anchor="t" anchorCtr="0"/>
          <a:lstStyle>
            <a:lvl1pPr>
              <a:defRPr sz="8700" spc="-101" baseline="0">
                <a:gradFill>
                  <a:gsLst>
                    <a:gs pos="100000">
                      <a:schemeClr val="bg1">
                        <a:lumMod val="50000"/>
                      </a:schemeClr>
                    </a:gs>
                    <a:gs pos="0">
                      <a:schemeClr val="bg1">
                        <a:lumMod val="50000"/>
                      </a:schemeClr>
                    </a:gs>
                  </a:gsLst>
                  <a:lin ang="5400000" scaled="0"/>
                </a:gradFill>
              </a:defRPr>
            </a:lvl1pPr>
          </a:lstStyle>
          <a:p>
            <a:r>
              <a:rPr lang="en-US" dirty="0"/>
              <a:t>Section title</a:t>
            </a:r>
          </a:p>
        </p:txBody>
      </p:sp>
    </p:spTree>
    <p:extLst>
      <p:ext uri="{BB962C8B-B14F-4D97-AF65-F5344CB8AC3E}">
        <p14:creationId xmlns:p14="http://schemas.microsoft.com/office/powerpoint/2010/main" val="42553803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300"/>
            </a:lvl1pPr>
          </a:lstStyle>
          <a:p>
            <a:r>
              <a:rPr lang="en-US" dirty="0"/>
              <a:t>Click to edit Master title style</a:t>
            </a:r>
          </a:p>
        </p:txBody>
      </p:sp>
      <p:sp>
        <p:nvSpPr>
          <p:cNvPr id="6" name="Text Placeholder 5"/>
          <p:cNvSpPr>
            <a:spLocks noGrp="1"/>
          </p:cNvSpPr>
          <p:nvPr>
            <p:ph type="body" sz="quarter" idx="10"/>
          </p:nvPr>
        </p:nvSpPr>
        <p:spPr>
          <a:xfrm>
            <a:off x="274638" y="1212852"/>
            <a:ext cx="11887200" cy="1977382"/>
          </a:xfrm>
        </p:spPr>
        <p:txBody>
          <a:bodyPr/>
          <a:lstStyle>
            <a:lvl1pPr marL="0" indent="0">
              <a:buNone/>
              <a:defRPr>
                <a:gradFill>
                  <a:gsLst>
                    <a:gs pos="1250">
                      <a:schemeClr val="tx1"/>
                    </a:gs>
                    <a:gs pos="99000">
                      <a:schemeClr val="tx1"/>
                    </a:gs>
                  </a:gsLst>
                  <a:lin ang="5400000" scaled="0"/>
                </a:gradFill>
              </a:defRPr>
            </a:lvl1pPr>
            <a:lvl2pPr marL="0" indent="0">
              <a:buFontTx/>
              <a:buNone/>
              <a:defRPr sz="1900"/>
            </a:lvl2pPr>
            <a:lvl3pPr marL="228493" indent="0">
              <a:buNone/>
              <a:defRPr/>
            </a:lvl3pPr>
            <a:lvl4pPr marL="456985" indent="0">
              <a:buNone/>
              <a:defRPr/>
            </a:lvl4pPr>
            <a:lvl5pPr marL="68547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73330642"/>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62020"/>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5300"/>
            </a:lvl1pPr>
          </a:lstStyle>
          <a:p>
            <a:r>
              <a:rPr lang="en-US" dirty="0"/>
              <a:t>Click to edit Master title style</a:t>
            </a:r>
          </a:p>
        </p:txBody>
      </p:sp>
    </p:spTree>
    <p:extLst>
      <p:ext uri="{BB962C8B-B14F-4D97-AF65-F5344CB8AC3E}">
        <p14:creationId xmlns:p14="http://schemas.microsoft.com/office/powerpoint/2010/main" val="2652286063"/>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300"/>
            </a:lvl1pPr>
          </a:lstStyle>
          <a:p>
            <a:r>
              <a:rPr lang="en-US" dirty="0"/>
              <a:t>Click to edit Master title style</a:t>
            </a:r>
          </a:p>
        </p:txBody>
      </p:sp>
      <p:sp>
        <p:nvSpPr>
          <p:cNvPr id="4" name="Text Placeholder 3"/>
          <p:cNvSpPr>
            <a:spLocks noGrp="1"/>
          </p:cNvSpPr>
          <p:nvPr>
            <p:ph type="body" sz="quarter" idx="10"/>
          </p:nvPr>
        </p:nvSpPr>
        <p:spPr>
          <a:xfrm>
            <a:off x="274644" y="1212853"/>
            <a:ext cx="5486399" cy="2406730"/>
          </a:xfrm>
        </p:spPr>
        <p:txBody>
          <a:bodyPr wrap="square">
            <a:spAutoFit/>
          </a:bodyPr>
          <a:lstStyle>
            <a:lvl1pPr marL="0" indent="0">
              <a:spcBef>
                <a:spcPts val="1224"/>
              </a:spcBef>
              <a:buClr>
                <a:schemeClr val="tx1"/>
              </a:buClr>
              <a:buFont typeface="Wingdings" pitchFamily="2" charset="2"/>
              <a:buNone/>
              <a:defRPr sz="3500"/>
            </a:lvl1pPr>
            <a:lvl2pPr marL="0" indent="0">
              <a:buNone/>
              <a:defRPr sz="1900"/>
            </a:lvl2pPr>
            <a:lvl3pPr marL="231666" indent="0">
              <a:buNone/>
              <a:tabLst/>
              <a:defRPr sz="1900"/>
            </a:lvl3pPr>
            <a:lvl4pPr marL="460160" indent="0">
              <a:buNone/>
              <a:defRPr/>
            </a:lvl4pPr>
            <a:lvl5pPr marL="68547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5" y="1212853"/>
            <a:ext cx="5486399" cy="2406730"/>
          </a:xfrm>
        </p:spPr>
        <p:txBody>
          <a:bodyPr wrap="square">
            <a:spAutoFit/>
          </a:bodyPr>
          <a:lstStyle>
            <a:lvl1pPr marL="0" indent="0">
              <a:spcBef>
                <a:spcPts val="1224"/>
              </a:spcBef>
              <a:buClr>
                <a:schemeClr val="tx1"/>
              </a:buClr>
              <a:buFont typeface="Wingdings" pitchFamily="2" charset="2"/>
              <a:buNone/>
              <a:defRPr sz="3500"/>
            </a:lvl1pPr>
            <a:lvl2pPr marL="0" indent="0">
              <a:buNone/>
              <a:defRPr sz="1900"/>
            </a:lvl2pPr>
            <a:lvl3pPr marL="231666" indent="0">
              <a:buNone/>
              <a:tabLst/>
              <a:defRPr sz="1900"/>
            </a:lvl3pPr>
            <a:lvl4pPr marL="460160" indent="0">
              <a:buNone/>
              <a:defRPr/>
            </a:lvl4pPr>
            <a:lvl5pPr marL="68547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7162978"/>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300"/>
            </a:lvl1pPr>
          </a:lstStyle>
          <a:p>
            <a:r>
              <a:rPr lang="en-US" dirty="0"/>
              <a:t>Click to edit Master title style</a:t>
            </a:r>
          </a:p>
        </p:txBody>
      </p:sp>
      <p:sp>
        <p:nvSpPr>
          <p:cNvPr id="4" name="Text Placeholder 3"/>
          <p:cNvSpPr>
            <a:spLocks noGrp="1"/>
          </p:cNvSpPr>
          <p:nvPr>
            <p:ph type="body" sz="quarter" idx="10"/>
          </p:nvPr>
        </p:nvSpPr>
        <p:spPr>
          <a:xfrm>
            <a:off x="274644" y="1212852"/>
            <a:ext cx="5486399" cy="2491368"/>
          </a:xfrm>
        </p:spPr>
        <p:txBody>
          <a:bodyPr wrap="square">
            <a:spAutoFit/>
          </a:bodyPr>
          <a:lstStyle>
            <a:lvl1pPr marL="287204" indent="-287204">
              <a:spcBef>
                <a:spcPts val="1224"/>
              </a:spcBef>
              <a:buClr>
                <a:schemeClr val="tx1"/>
              </a:buClr>
              <a:buFont typeface="Arial" pitchFamily="34" charset="0"/>
              <a:buChar char="•"/>
              <a:defRPr sz="3500"/>
            </a:lvl1pPr>
            <a:lvl2pPr marL="530916" indent="-233086">
              <a:defRPr sz="2400"/>
            </a:lvl2pPr>
            <a:lvl3pPr marL="699258" indent="-168342">
              <a:tabLst/>
              <a:defRPr sz="1900"/>
            </a:lvl3pPr>
            <a:lvl4pPr marL="880545" indent="-181289">
              <a:defRPr/>
            </a:lvl4pPr>
            <a:lvl5pPr marL="1048884" indent="-16834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5" y="1212852"/>
            <a:ext cx="5486399" cy="2491368"/>
          </a:xfrm>
        </p:spPr>
        <p:txBody>
          <a:bodyPr wrap="square">
            <a:spAutoFit/>
          </a:bodyPr>
          <a:lstStyle>
            <a:lvl1pPr marL="287204" indent="-287204">
              <a:spcBef>
                <a:spcPts val="1224"/>
              </a:spcBef>
              <a:buClr>
                <a:schemeClr val="tx1"/>
              </a:buClr>
              <a:buFont typeface="Arial" pitchFamily="34" charset="0"/>
              <a:buChar char="•"/>
              <a:defRPr sz="3500"/>
            </a:lvl1pPr>
            <a:lvl2pPr marL="530916" indent="-233086">
              <a:defRPr sz="2400"/>
            </a:lvl2pPr>
            <a:lvl3pPr marL="699258" indent="-168342">
              <a:tabLst/>
              <a:defRPr sz="1900"/>
            </a:lvl3pPr>
            <a:lvl4pPr marL="880545" indent="-181289">
              <a:defRPr/>
            </a:lvl4pPr>
            <a:lvl5pPr marL="1048884" indent="-16834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924521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36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64964"/>
            <a:ext cx="9143998" cy="1097302"/>
          </a:xfrm>
        </p:spPr>
        <p:txBody>
          <a:bodyPr vert="horz" wrap="square" lIns="146304" tIns="91440" rIns="146304" bIns="91440" rtlCol="0" anchor="t">
            <a:noAutofit/>
          </a:bodyPr>
          <a:lstStyle>
            <a:lvl1pPr>
              <a:defRPr lang="en-US" sz="4799">
                <a:solidFill>
                  <a:srgbClr val="505050"/>
                </a:solidFill>
              </a:defRPr>
            </a:lvl1pPr>
          </a:lstStyle>
          <a:p>
            <a:pPr marL="0" lvl="0">
              <a:lnSpc>
                <a:spcPts val="3600"/>
              </a:lnSpc>
              <a:spcBef>
                <a:spcPts val="864"/>
              </a:spcBef>
            </a:pPr>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949725952"/>
      </p:ext>
    </p:extLst>
  </p:cSld>
  <p:clrMapOvr>
    <a:masterClrMapping/>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300"/>
            </a:lvl1pPr>
          </a:lstStyle>
          <a:p>
            <a:r>
              <a:rPr lang="en-US"/>
              <a:t>Click to edit Master title style</a:t>
            </a:r>
          </a:p>
        </p:txBody>
      </p:sp>
    </p:spTree>
    <p:extLst>
      <p:ext uri="{BB962C8B-B14F-4D97-AF65-F5344CB8AC3E}">
        <p14:creationId xmlns:p14="http://schemas.microsoft.com/office/powerpoint/2010/main" val="1133193286"/>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6087545"/>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29975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82175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94246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81122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4"/>
            <a:ext cx="11887200" cy="2446741"/>
          </a:xfrm>
          <a:prstGeom prst="rect">
            <a:avLst/>
          </a:prstGeom>
        </p:spPr>
        <p:txBody>
          <a:bodyPr/>
          <a:lstStyle>
            <a:lvl1pPr marL="290378" indent="-290378">
              <a:buClr>
                <a:schemeClr val="tx1"/>
              </a:buClr>
              <a:buSzPct val="90000"/>
              <a:buFont typeface="Arial" pitchFamily="34" charset="0"/>
              <a:buChar char="•"/>
              <a:defRPr sz="35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33" indent="-280857">
              <a:buClr>
                <a:schemeClr val="tx1"/>
              </a:buClr>
              <a:buSzPct val="90000"/>
              <a:buFont typeface="Arial" pitchFamily="34" charset="0"/>
              <a:buChar char="•"/>
              <a:defRPr sz="33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11" indent="-290378">
              <a:buClr>
                <a:schemeClr val="tx1"/>
              </a:buClr>
              <a:buSzPct val="90000"/>
              <a:buFont typeface="Arial" pitchFamily="34" charset="0"/>
              <a:buChar char="•"/>
              <a:defRPr sz="29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03" indent="-22849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594" indent="-228493">
              <a:buClr>
                <a:schemeClr val="tx1"/>
              </a:buClr>
              <a:buSzPct val="90000"/>
              <a:buFont typeface="Arial" pitchFamily="34" charset="0"/>
              <a:buChar char="•"/>
              <a:defRPr sz="19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9"/>
            <a:ext cx="12436476" cy="631451"/>
          </a:xfrm>
          <a:prstGeom prst="rect">
            <a:avLst/>
          </a:prstGeom>
          <a:solidFill>
            <a:srgbClr val="FFFF99"/>
          </a:solidFill>
        </p:spPr>
        <p:txBody>
          <a:bodyPr wrap="square" lIns="155385" tIns="77692" rIns="155385" bIns="77692"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813374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3823" name="think-cell Slide" r:id="rId4" imgW="360" imgH="360" progId="">
                  <p:embed/>
                </p:oleObj>
              </mc:Choice>
              <mc:Fallback>
                <p:oleObj name="think-cell Slide" r:id="rId4" imgW="360" imgH="36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pic>
        <p:nvPicPr>
          <p:cNvPr id="3" name="Picture 2" descr="WinAzure_rgb_Wht_S.png"/>
          <p:cNvPicPr>
            <a:picLocks noChangeAspect="1"/>
          </p:cNvPicPr>
          <p:nvPr userDrawn="1"/>
        </p:nvPicPr>
        <p:blipFill>
          <a:blip r:embed="rId6" cstate="email">
            <a:duotone>
              <a:prstClr val="black"/>
              <a:schemeClr val="accent6">
                <a:tint val="45000"/>
                <a:satMod val="400000"/>
              </a:schemeClr>
            </a:duotone>
            <a:extLst>
              <a:ext uri="{28A0092B-C50C-407E-A947-70E740481C1C}">
                <a14:useLocalDpi xmlns:a14="http://schemas.microsoft.com/office/drawing/2010/main"/>
              </a:ext>
            </a:extLst>
          </a:blip>
          <a:stretch>
            <a:fillRect/>
          </a:stretch>
        </p:blipFill>
        <p:spPr>
          <a:xfrm>
            <a:off x="366100" y="6423310"/>
            <a:ext cx="1737340" cy="416792"/>
          </a:xfrm>
          <a:prstGeom prst="rect">
            <a:avLst/>
          </a:prstGeom>
        </p:spPr>
      </p:pic>
      <p:sp>
        <p:nvSpPr>
          <p:cNvPr id="7" name="Slide Number Placeholder 6"/>
          <p:cNvSpPr>
            <a:spLocks noGrp="1"/>
          </p:cNvSpPr>
          <p:nvPr>
            <p:ph type="sldNum" sz="quarter" idx="4"/>
          </p:nvPr>
        </p:nvSpPr>
        <p:spPr>
          <a:xfrm>
            <a:off x="8912225" y="6483350"/>
            <a:ext cx="2901950" cy="371475"/>
          </a:xfrm>
          <a:prstGeom prst="rect">
            <a:avLst/>
          </a:prstGeom>
        </p:spPr>
        <p:txBody>
          <a:bodyPr vert="horz" lIns="91422" tIns="45710" rIns="91422" bIns="45710" rtlCol="0" anchor="ctr"/>
          <a:lstStyle>
            <a:lvl1pPr algn="r">
              <a:defRPr sz="1000">
                <a:solidFill>
                  <a:schemeClr val="tx1">
                    <a:tint val="75000"/>
                  </a:schemeClr>
                </a:solidFill>
              </a:defRPr>
            </a:lvl1pPr>
          </a:lstStyle>
          <a:p>
            <a:pPr defTabSz="932305" fontAlgn="auto">
              <a:spcBef>
                <a:spcPts val="0"/>
              </a:spcBef>
              <a:spcAft>
                <a:spcPts val="0"/>
              </a:spcAft>
            </a:pPr>
            <a:fld id="{FFB82908-4842-4340-9D73-01C813DDC308}" type="slidenum">
              <a:rPr lang="en-US" smtClean="0">
                <a:solidFill>
                  <a:srgbClr val="505050">
                    <a:tint val="75000"/>
                  </a:srgbClr>
                </a:solidFill>
                <a:latin typeface="Segoe UI"/>
                <a:ea typeface="+mn-ea"/>
                <a:cs typeface="+mn-cs"/>
              </a:rPr>
              <a:pPr defTabSz="932305" fontAlgn="auto">
                <a:spcBef>
                  <a:spcPts val="0"/>
                </a:spcBef>
                <a:spcAft>
                  <a:spcPts val="0"/>
                </a:spcAft>
              </a:pPr>
              <a:t>‹#›</a:t>
            </a:fld>
            <a:endParaRPr lang="en-US" dirty="0">
              <a:solidFill>
                <a:srgbClr val="505050">
                  <a:tint val="75000"/>
                </a:srgbClr>
              </a:solidFill>
              <a:latin typeface="Segoe UI"/>
              <a:ea typeface="+mn-ea"/>
              <a:cs typeface="+mn-cs"/>
            </a:endParaRPr>
          </a:p>
        </p:txBody>
      </p:sp>
    </p:spTree>
    <p:extLst>
      <p:ext uri="{BB962C8B-B14F-4D97-AF65-F5344CB8AC3E}">
        <p14:creationId xmlns:p14="http://schemas.microsoft.com/office/powerpoint/2010/main" val="734992255"/>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Tree>
    <p:extLst>
      <p:ext uri="{BB962C8B-B14F-4D97-AF65-F5344CB8AC3E}">
        <p14:creationId xmlns:p14="http://schemas.microsoft.com/office/powerpoint/2010/main" val="33946137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77937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_1">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3"/>
            <a:ext cx="3937000" cy="137160"/>
          </a:xfrm>
          <a:prstGeom prst="rect">
            <a:avLst/>
          </a:prstGeom>
        </p:spPr>
        <p:txBody>
          <a:bodyPr/>
          <a:lstStyle>
            <a:lvl1pPr>
              <a:defRPr>
                <a:solidFill>
                  <a:schemeClr val="tx2"/>
                </a:solidFill>
              </a:defRPr>
            </a:lvl1pPr>
          </a:lstStyle>
          <a:p>
            <a:pPr defTabSz="932585"/>
            <a:r>
              <a:rPr lang="en-US" sz="1836">
                <a:solidFill>
                  <a:srgbClr val="0072C6"/>
                </a:solidFill>
              </a:rPr>
              <a:t>Microsoft Confidential</a:t>
            </a:r>
            <a:endParaRPr lang="en-US" sz="1836" dirty="0">
              <a:solidFill>
                <a:srgbClr val="0072C6"/>
              </a:solidFill>
            </a:endParaRPr>
          </a:p>
        </p:txBody>
      </p:sp>
      <p:sp>
        <p:nvSpPr>
          <p:cNvPr id="4" name="Slide Number Placeholder 3"/>
          <p:cNvSpPr>
            <a:spLocks noGrp="1"/>
          </p:cNvSpPr>
          <p:nvPr>
            <p:ph type="sldNum" sz="quarter" idx="11"/>
          </p:nvPr>
        </p:nvSpPr>
        <p:spPr>
          <a:xfrm>
            <a:off x="11595103" y="6565393"/>
            <a:ext cx="566737" cy="137160"/>
          </a:xfrm>
          <a:prstGeom prst="rect">
            <a:avLst/>
          </a:prstGeom>
        </p:spPr>
        <p:txBody>
          <a:bodyPr/>
          <a:lstStyle>
            <a:lvl1pPr>
              <a:defRPr>
                <a:solidFill>
                  <a:schemeClr val="tx2"/>
                </a:solidFill>
              </a:defRPr>
            </a:lvl1pPr>
          </a:lstStyle>
          <a:p>
            <a:pPr defTabSz="932585"/>
            <a:fld id="{27258FFF-F925-446B-8502-81C933981705}" type="slidenum">
              <a:rPr lang="en-US" sz="1836" smtClean="0">
                <a:solidFill>
                  <a:srgbClr val="0072C6"/>
                </a:solidFill>
              </a:rPr>
              <a:pPr defTabSz="932585"/>
              <a:t>‹#›</a:t>
            </a:fld>
            <a:endParaRPr lang="en-US" sz="1836" dirty="0">
              <a:solidFill>
                <a:srgbClr val="0072C6"/>
              </a:solidFill>
            </a:endParaRPr>
          </a:p>
        </p:txBody>
      </p:sp>
      <p:sp>
        <p:nvSpPr>
          <p:cNvPr id="5" name="Text Placeholder 4"/>
          <p:cNvSpPr>
            <a:spLocks noGrp="1"/>
          </p:cNvSpPr>
          <p:nvPr>
            <p:ph type="body" sz="quarter" idx="12"/>
          </p:nvPr>
        </p:nvSpPr>
        <p:spPr>
          <a:xfrm>
            <a:off x="274637" y="369117"/>
            <a:ext cx="10972801" cy="1024683"/>
          </a:xfrm>
          <a:prstGeom prst="rect">
            <a:avLst/>
          </a:prstGeom>
        </p:spPr>
        <p:txBody>
          <a:bodyPr lIns="146304" tIns="91440" rIns="146304" bIns="91440">
            <a:noAutofit/>
          </a:bodyPr>
          <a:lstStyle>
            <a:lvl1pPr marL="0" indent="0">
              <a:lnSpc>
                <a:spcPct val="90000"/>
              </a:lnSpc>
              <a:spcBef>
                <a:spcPts val="1199"/>
              </a:spcBef>
              <a:spcAft>
                <a:spcPts val="2400"/>
              </a:spcAft>
              <a:buFontTx/>
              <a:buNone/>
              <a:defRPr lang="en-US" sz="5200" b="0" i="0" kern="1200" spc="0" baseline="0" dirty="0" smtClean="0">
                <a:solidFill>
                  <a:schemeClr val="tx2"/>
                </a:solidFill>
                <a:latin typeface="+mj-lt"/>
                <a:ea typeface="+mn-ea"/>
                <a:cs typeface="+mn-cs"/>
              </a:defRPr>
            </a:lvl1pPr>
          </a:lstStyle>
          <a:p>
            <a:pPr marL="0" marR="0" lvl="0" indent="0" algn="l" defTabSz="932585" rtl="0" eaLnBrk="1" fontAlgn="auto" latinLnBrk="0" hangingPunct="1">
              <a:lnSpc>
                <a:spcPct val="90000"/>
              </a:lnSpc>
              <a:spcBef>
                <a:spcPts val="1199"/>
              </a:spcBef>
              <a:spcAft>
                <a:spcPts val="2400"/>
              </a:spcAft>
              <a:buClrTx/>
              <a:buSzPct val="90000"/>
              <a:buFontTx/>
              <a:buNone/>
              <a:tabLst/>
            </a:pPr>
            <a:r>
              <a:rPr lang="en-US" dirty="0"/>
              <a:t>Click to edit Master text</a:t>
            </a:r>
          </a:p>
        </p:txBody>
      </p:sp>
    </p:spTree>
    <p:extLst>
      <p:ext uri="{BB962C8B-B14F-4D97-AF65-F5344CB8AC3E}">
        <p14:creationId xmlns:p14="http://schemas.microsoft.com/office/powerpoint/2010/main" val="833128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200226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668947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51452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83298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166093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313652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132267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409293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472155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602655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00"/>
            </a:lvl1pPr>
          </a:lstStyle>
          <a:p>
            <a:r>
              <a:rPr lang="en-US" dirty="0"/>
              <a:t>Click to edit Master title style</a:t>
            </a:r>
          </a:p>
        </p:txBody>
      </p:sp>
    </p:spTree>
    <p:extLst>
      <p:ext uri="{BB962C8B-B14F-4D97-AF65-F5344CB8AC3E}">
        <p14:creationId xmlns:p14="http://schemas.microsoft.com/office/powerpoint/2010/main" val="3197272758"/>
      </p:ext>
    </p:extLst>
  </p:cSld>
  <p:clrMapOvr>
    <a:masterClrMapping/>
  </p:clrMapOvr>
  <p:transition spd="slow">
    <p:wipe dir="r"/>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8563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64101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18260813"/>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5264365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04822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7489543"/>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1_Blank">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12" y="1"/>
            <a:ext cx="12447587" cy="6997563"/>
          </a:xfrm>
          <a:prstGeom prst="rect">
            <a:avLst/>
          </a:prstGeom>
        </p:spPr>
      </p:pic>
    </p:spTree>
    <p:extLst>
      <p:ext uri="{BB962C8B-B14F-4D97-AF65-F5344CB8AC3E}">
        <p14:creationId xmlns:p14="http://schemas.microsoft.com/office/powerpoint/2010/main" val="3687642343"/>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57580" y="6243237"/>
            <a:ext cx="1280160" cy="274492"/>
          </a:xfrm>
          <a:prstGeom prst="rect">
            <a:avLst/>
          </a:prstGeom>
        </p:spPr>
      </p:pic>
    </p:spTree>
    <p:extLst>
      <p:ext uri="{BB962C8B-B14F-4D97-AF65-F5344CB8AC3E}">
        <p14:creationId xmlns:p14="http://schemas.microsoft.com/office/powerpoint/2010/main" val="31021935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18213666"/>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839844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55" y="264964"/>
            <a:ext cx="9143998" cy="1828800"/>
          </a:xfrm>
        </p:spPr>
        <p:txBody>
          <a:bodyPr lIns="146125" tIns="91329" rIns="146125" bIns="91329"/>
          <a:lstStyle>
            <a:lvl1pPr>
              <a:lnSpc>
                <a:spcPts val="6299"/>
              </a:lnSpc>
              <a:defRPr sz="5200" baseline="0">
                <a:solidFill>
                  <a:schemeClr val="tx2"/>
                </a:solidFill>
              </a:defRPr>
            </a:lvl1pPr>
          </a:lstStyle>
          <a:p>
            <a:r>
              <a:rPr lang="en-US" dirty="0" err="1"/>
              <a:t>Lorem</a:t>
            </a:r>
            <a:r>
              <a:rPr lang="en-US" dirty="0"/>
              <a:t> </a:t>
            </a:r>
            <a:r>
              <a:rPr lang="en-US" dirty="0" err="1"/>
              <a:t>ipsum</a:t>
            </a:r>
            <a:r>
              <a:rPr lang="en-US" dirty="0"/>
              <a:t> dolor sit</a:t>
            </a:r>
            <a:br>
              <a:rPr lang="en-US" dirty="0"/>
            </a:br>
            <a:r>
              <a:rPr lang="en-US" dirty="0" err="1"/>
              <a:t>amet</a:t>
            </a:r>
            <a:r>
              <a:rPr lang="en-US" dirty="0"/>
              <a:t>, </a:t>
            </a:r>
            <a:r>
              <a:rPr lang="en-US" dirty="0" err="1"/>
              <a:t>consectetuer</a:t>
            </a:r>
            <a:r>
              <a:rPr lang="en-US" dirty="0"/>
              <a:t> </a:t>
            </a:r>
            <a:r>
              <a:rPr lang="en-US" dirty="0" err="1"/>
              <a:t>adipi</a:t>
            </a:r>
            <a:r>
              <a:rPr lang="en-US" dirty="0"/>
              <a:t>.</a:t>
            </a:r>
          </a:p>
        </p:txBody>
      </p:sp>
      <p:sp>
        <p:nvSpPr>
          <p:cNvPr id="3" name="Footer Placeholder 2"/>
          <p:cNvSpPr>
            <a:spLocks noGrp="1"/>
          </p:cNvSpPr>
          <p:nvPr>
            <p:ph type="ftr" sz="quarter" idx="10"/>
          </p:nvPr>
        </p:nvSpPr>
        <p:spPr>
          <a:xfrm>
            <a:off x="457200" y="6565393"/>
            <a:ext cx="3937000" cy="137160"/>
          </a:xfrm>
          <a:prstGeom prst="rect">
            <a:avLst/>
          </a:prstGeom>
        </p:spPr>
        <p:txBody>
          <a:bodyPr/>
          <a:lstStyle/>
          <a:p>
            <a:pPr defTabSz="932585"/>
            <a:r>
              <a:rPr lang="en-US" sz="1836">
                <a:solidFill>
                  <a:srgbClr val="FFFFFF"/>
                </a:solidFill>
              </a:rPr>
              <a:t>Microsoft Confidential</a:t>
            </a:r>
          </a:p>
        </p:txBody>
      </p:sp>
      <p:sp>
        <p:nvSpPr>
          <p:cNvPr id="4" name="Slide Number Placeholder 3"/>
          <p:cNvSpPr>
            <a:spLocks noGrp="1"/>
          </p:cNvSpPr>
          <p:nvPr>
            <p:ph type="sldNum" sz="quarter" idx="11"/>
          </p:nvPr>
        </p:nvSpPr>
        <p:spPr>
          <a:xfrm>
            <a:off x="11595103" y="6565393"/>
            <a:ext cx="566737" cy="137160"/>
          </a:xfrm>
          <a:prstGeom prst="rect">
            <a:avLst/>
          </a:prstGeom>
        </p:spPr>
        <p:txBody>
          <a:bodyPr/>
          <a:lstStyle/>
          <a:p>
            <a:pPr defTabSz="932585"/>
            <a:fld id="{27258FFF-F925-446B-8502-81C933981705}" type="slidenum">
              <a:rPr lang="en-US" sz="1836" smtClean="0">
                <a:solidFill>
                  <a:srgbClr val="FFFFFF"/>
                </a:solidFill>
              </a:rPr>
              <a:pPr defTabSz="932585"/>
              <a:t>‹#›</a:t>
            </a:fld>
            <a:endParaRPr lang="en-US" sz="1836">
              <a:solidFill>
                <a:srgbClr val="FFFFFF"/>
              </a:solidFill>
            </a:endParaRPr>
          </a:p>
        </p:txBody>
      </p:sp>
      <p:sp>
        <p:nvSpPr>
          <p:cNvPr id="7" name="Text Placeholder 6"/>
          <p:cNvSpPr>
            <a:spLocks noGrp="1"/>
          </p:cNvSpPr>
          <p:nvPr>
            <p:ph type="body" sz="quarter" idx="12" hasCustomPrompt="1"/>
          </p:nvPr>
        </p:nvSpPr>
        <p:spPr>
          <a:xfrm>
            <a:off x="274639" y="2857203"/>
            <a:ext cx="7670052" cy="3006499"/>
          </a:xfrm>
        </p:spPr>
        <p:txBody>
          <a:bodyPr/>
          <a:lstStyle>
            <a:lvl1pPr marL="0" indent="0">
              <a:lnSpc>
                <a:spcPts val="2600"/>
              </a:lnSpc>
              <a:spcBef>
                <a:spcPts val="3000"/>
              </a:spcBef>
              <a:buNone/>
              <a:defRPr sz="2400" baseline="0">
                <a:latin typeface="+mn-lt"/>
              </a:defRPr>
            </a:lvl1pPr>
            <a:lvl2pPr marL="0" indent="0">
              <a:lnSpc>
                <a:spcPts val="1801"/>
              </a:lnSpc>
              <a:spcBef>
                <a:spcPts val="1199"/>
              </a:spcBef>
              <a:buNone/>
              <a:defRPr sz="1599"/>
            </a:lvl2pPr>
            <a:lvl3pPr marL="0" indent="0">
              <a:lnSpc>
                <a:spcPts val="1801"/>
              </a:lnSpc>
              <a:spcBef>
                <a:spcPts val="1199"/>
              </a:spcBef>
              <a:buNone/>
              <a:defRPr sz="1599"/>
            </a:lvl3pPr>
            <a:lvl4pPr marL="0" indent="0">
              <a:lnSpc>
                <a:spcPts val="1801"/>
              </a:lnSpc>
              <a:spcBef>
                <a:spcPts val="1199"/>
              </a:spcBef>
              <a:buNone/>
              <a:defRPr sz="1599"/>
            </a:lvl4pPr>
            <a:lvl5pPr marL="0" indent="0">
              <a:lnSpc>
                <a:spcPts val="1801"/>
              </a:lnSpc>
              <a:spcBef>
                <a:spcPts val="1199"/>
              </a:spcBef>
              <a:buNone/>
              <a:defRPr sz="1599"/>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1826477606"/>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19338870"/>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57150369"/>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1601921"/>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88023319"/>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94686010"/>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34549674"/>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946620077"/>
      </p:ext>
    </p:extLst>
  </p:cSld>
  <p:clrMapOvr>
    <a:masterClrMapping/>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114992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2747682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901315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a:xfrm>
            <a:off x="513449" y="6061923"/>
            <a:ext cx="11400102" cy="233151"/>
          </a:xfrm>
          <a:prstGeom prst="rect">
            <a:avLst/>
          </a:prstGeom>
        </p:spPr>
        <p:txBody>
          <a:bodyPr/>
          <a:lstStyle/>
          <a:p>
            <a:pPr defTabSz="932585">
              <a:defRPr/>
            </a:pPr>
            <a:endParaRPr lang="en-US" sz="1836">
              <a:solidFill>
                <a:srgbClr val="333333"/>
              </a:solidFill>
            </a:endParaRPr>
          </a:p>
        </p:txBody>
      </p:sp>
      <p:sp>
        <p:nvSpPr>
          <p:cNvPr id="7" name="Text Placeholder 6"/>
          <p:cNvSpPr>
            <a:spLocks noGrp="1"/>
          </p:cNvSpPr>
          <p:nvPr>
            <p:ph type="body" sz="quarter" idx="13"/>
          </p:nvPr>
        </p:nvSpPr>
        <p:spPr>
          <a:xfrm>
            <a:off x="479322" y="802040"/>
            <a:ext cx="11404248" cy="2294635"/>
          </a:xfrm>
        </p:spPr>
        <p:txBody>
          <a:bodyPr/>
          <a:lstStyle>
            <a:lvl1pPr marL="237968" indent="-237968">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dirty="0"/>
              <a:t>Click to edit Master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26855841"/>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897106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76659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133176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659089"/>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8994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19156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6827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22346087"/>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9230" y="3145040"/>
            <a:ext cx="3291840" cy="705834"/>
          </a:xfrm>
          <a:prstGeom prst="rect">
            <a:avLst/>
          </a:prstGeom>
        </p:spPr>
      </p:pic>
    </p:spTree>
    <p:extLst>
      <p:ext uri="{BB962C8B-B14F-4D97-AF65-F5344CB8AC3E}">
        <p14:creationId xmlns:p14="http://schemas.microsoft.com/office/powerpoint/2010/main" val="2459957006"/>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a:stretch>
            <a:fillRect/>
          </a:stretch>
        </p:blipFill>
        <p:spPr>
          <a:xfrm>
            <a:off x="459232" y="3145040"/>
            <a:ext cx="3291840" cy="705836"/>
          </a:xfrm>
          <a:prstGeom prst="rect">
            <a:avLst/>
          </a:prstGeom>
        </p:spPr>
      </p:pic>
    </p:spTree>
    <p:extLst>
      <p:ext uri="{BB962C8B-B14F-4D97-AF65-F5344CB8AC3E}">
        <p14:creationId xmlns:p14="http://schemas.microsoft.com/office/powerpoint/2010/main" val="568465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Section Change 48pt Titl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738536"/>
          </a:xfrm>
          <a:prstGeom prst="rect">
            <a:avLst/>
          </a:prstGeom>
        </p:spPr>
        <p:txBody>
          <a:bodyPr/>
          <a:lstStyle>
            <a:lvl1pPr marL="0" indent="0">
              <a:buNone/>
              <a:defRPr>
                <a:solidFill>
                  <a:schemeClr val="bg1"/>
                </a:solidFill>
              </a:defRPr>
            </a:lvl1pPr>
          </a:lstStyle>
          <a:p>
            <a:r>
              <a:rPr lang="en-US" dirty="0"/>
              <a:t>Click icon to add picture</a:t>
            </a:r>
          </a:p>
        </p:txBody>
      </p:sp>
      <p:sp>
        <p:nvSpPr>
          <p:cNvPr id="3" name="Text Placeholder 2"/>
          <p:cNvSpPr>
            <a:spLocks noGrp="1"/>
          </p:cNvSpPr>
          <p:nvPr>
            <p:ph type="body" sz="quarter" idx="11"/>
          </p:nvPr>
        </p:nvSpPr>
        <p:spPr>
          <a:xfrm>
            <a:off x="274639" y="1211263"/>
            <a:ext cx="4572000" cy="4572000"/>
          </a:xfrm>
          <a:prstGeom prst="rect">
            <a:avLst/>
          </a:prstGeom>
          <a:solidFill>
            <a:schemeClr val="accent3">
              <a:alpha val="90588"/>
            </a:schemeClr>
          </a:solidFill>
        </p:spPr>
        <p:txBody>
          <a:bodyPr lIns="146304" tIns="91440" rIns="146304" bIns="91440">
            <a:noAutofit/>
          </a:bodyPr>
          <a:lstStyle>
            <a:lvl1pPr marL="0" indent="0" algn="l">
              <a:buNone/>
              <a:defRPr lang="en-US" sz="4800" kern="1200" spc="0" baseline="0" dirty="0" smtClean="0">
                <a:solidFill>
                  <a:schemeClr val="bg1"/>
                </a:solidFill>
                <a:latin typeface="+mj-lt"/>
                <a:ea typeface="+mn-ea"/>
                <a:cs typeface="+mn-cs"/>
              </a:defRPr>
            </a:lvl1pPr>
            <a:lvl2pPr marL="342857" indent="0" algn="l">
              <a:buNone/>
              <a:defRPr sz="4800"/>
            </a:lvl2pPr>
            <a:lvl3pPr marL="571427" indent="0" algn="l">
              <a:buNone/>
              <a:defRPr sz="4800"/>
            </a:lvl3pPr>
            <a:lvl4pPr marL="799998" indent="0" algn="l">
              <a:buNone/>
              <a:defRPr sz="4800"/>
            </a:lvl4pPr>
            <a:lvl5pPr marL="1028567" indent="0" algn="l">
              <a:buNone/>
              <a:defRPr sz="4800"/>
            </a:lvl5pPr>
          </a:lstStyle>
          <a:p>
            <a:pPr marL="0" marR="0" lvl="0" indent="0" algn="l" defTabSz="932715"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p:txBody>
      </p:sp>
      <p:sp>
        <p:nvSpPr>
          <p:cNvPr id="5" name="Footer Placeholder 2"/>
          <p:cNvSpPr>
            <a:spLocks noGrp="1"/>
          </p:cNvSpPr>
          <p:nvPr>
            <p:ph type="ftr" sz="quarter" idx="3"/>
          </p:nvPr>
        </p:nvSpPr>
        <p:spPr>
          <a:xfrm>
            <a:off x="457200" y="6565391"/>
            <a:ext cx="3937000" cy="137160"/>
          </a:xfrm>
          <a:prstGeom prst="rect">
            <a:avLst/>
          </a:prstGeom>
        </p:spPr>
        <p:txBody>
          <a:bodyPr vert="horz" lIns="0" tIns="0" rIns="91440" bIns="0" rtlCol="0" anchor="ctr"/>
          <a:lstStyle>
            <a:lvl1pPr marL="0" algn="l" defTabSz="932715" rtl="0" eaLnBrk="1" latinLnBrk="0" hangingPunct="1">
              <a:defRPr lang="en-US" sz="900" kern="1200">
                <a:solidFill>
                  <a:schemeClr val="bg1"/>
                </a:solidFill>
                <a:latin typeface="+mn-lt"/>
                <a:ea typeface="+mn-ea"/>
                <a:cs typeface="+mn-cs"/>
              </a:defRPr>
            </a:lvl1pPr>
          </a:lstStyle>
          <a:p>
            <a:r>
              <a:rPr lang="en-US" dirty="0"/>
              <a:t>Microsoft Confidential</a:t>
            </a:r>
          </a:p>
        </p:txBody>
      </p:sp>
      <p:sp>
        <p:nvSpPr>
          <p:cNvPr id="6" name="Slide Number Placeholder 4"/>
          <p:cNvSpPr>
            <a:spLocks noGrp="1"/>
          </p:cNvSpPr>
          <p:nvPr>
            <p:ph type="sldNum" sz="quarter" idx="4"/>
          </p:nvPr>
        </p:nvSpPr>
        <p:spPr>
          <a:xfrm>
            <a:off x="11595105" y="6565391"/>
            <a:ext cx="566737" cy="137160"/>
          </a:xfrm>
          <a:prstGeom prst="rect">
            <a:avLst/>
          </a:prstGeom>
        </p:spPr>
        <p:txBody>
          <a:bodyPr vert="horz" lIns="91440" tIns="0" rIns="0" bIns="0" rtlCol="0" anchor="ctr"/>
          <a:lstStyle>
            <a:lvl1pPr algn="r">
              <a:defRPr lang="en-US" sz="900" b="0" kern="1200" smtClean="0">
                <a:solidFill>
                  <a:schemeClr val="bg1"/>
                </a:solidFill>
                <a:latin typeface="+mn-lt"/>
                <a:ea typeface="+mn-ea"/>
                <a:cs typeface="+mn-cs"/>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3060650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449858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p:spPr>
        <p:txBody>
          <a:bodyPr/>
          <a:lstStyle>
            <a:lvl1pPr marL="0" indent="0">
              <a:buNone/>
              <a:defRPr/>
            </a:lvl1pPr>
          </a:lstStyle>
          <a:p>
            <a:endParaRPr lang="en-US"/>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083067802"/>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742187"/>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799"/>
            </a:lvl1pPr>
          </a:lstStyle>
          <a:p>
            <a:r>
              <a:rPr lang="en-US" dirty="0"/>
              <a:t>Click to edit Master title style</a:t>
            </a:r>
          </a:p>
        </p:txBody>
      </p:sp>
    </p:spTree>
    <p:extLst>
      <p:ext uri="{BB962C8B-B14F-4D97-AF65-F5344CB8AC3E}">
        <p14:creationId xmlns:p14="http://schemas.microsoft.com/office/powerpoint/2010/main" val="614311315"/>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1965212"/>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Only">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353960620"/>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4011196207"/>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4"/>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79249832"/>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9"/>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1"/>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1"/>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1"/>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993376344"/>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8" cy="1828766"/>
          </a:xfrm>
        </p:spPr>
        <p:txBody>
          <a:bodyPr/>
          <a:lstStyle>
            <a:lvl1pPr>
              <a:defRPr sz="5799">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854558274"/>
      </p:ext>
    </p:extLst>
  </p:cSld>
  <p:clrMapOvr>
    <a:masterClrMapping/>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1902453"/>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346235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1965801"/>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8" cy="1828766"/>
          </a:xfrm>
        </p:spPr>
        <p:txBody>
          <a:bodyPr/>
          <a:lstStyle>
            <a:lvl1pPr>
              <a:defRPr sz="5799">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7231447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1902453"/>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965667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9"/>
            <a:ext cx="9144000" cy="849463"/>
          </a:xfrm>
        </p:spPr>
        <p:txBody>
          <a:bodyPr/>
          <a:lstStyle>
            <a:lvl1pPr marL="0" indent="0">
              <a:buNone/>
              <a:defRPr sz="4799"/>
            </a:lvl1pPr>
            <a:lvl2pPr>
              <a:defRPr sz="3599"/>
            </a:lvl2pPr>
            <a:lvl3pPr>
              <a:defRPr sz="3599"/>
            </a:lvl3pPr>
            <a:lvl4pPr>
              <a:defRPr sz="3599"/>
            </a:lvl4pPr>
            <a:lvl5pPr>
              <a:defRPr sz="3599"/>
            </a:lvl5pPr>
          </a:lstStyle>
          <a:p>
            <a:pPr lvl="0"/>
            <a:r>
              <a:rPr lang="en-US" dirty="0"/>
              <a:t>Click to edit Master text styles</a:t>
            </a:r>
          </a:p>
        </p:txBody>
      </p:sp>
    </p:spTree>
    <p:extLst>
      <p:ext uri="{BB962C8B-B14F-4D97-AF65-F5344CB8AC3E}">
        <p14:creationId xmlns:p14="http://schemas.microsoft.com/office/powerpoint/2010/main" val="3937736046"/>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9"/>
            <a:ext cx="9144000" cy="849463"/>
          </a:xfrm>
        </p:spPr>
        <p:txBody>
          <a:bodyPr/>
          <a:lstStyle>
            <a:lvl1pPr marL="0" indent="0">
              <a:buNone/>
              <a:defRPr sz="4799"/>
            </a:lvl1pPr>
            <a:lvl2pPr>
              <a:defRPr sz="3599"/>
            </a:lvl2pPr>
            <a:lvl3pPr>
              <a:defRPr sz="3599"/>
            </a:lvl3pPr>
            <a:lvl4pPr>
              <a:defRPr sz="3599"/>
            </a:lvl4pPr>
            <a:lvl5pPr>
              <a:defRPr sz="3599"/>
            </a:lvl5pPr>
          </a:lstStyle>
          <a:p>
            <a:pPr lvl="0"/>
            <a:r>
              <a:rPr lang="en-US" dirty="0"/>
              <a:t>Click to edit Master text styles</a:t>
            </a:r>
          </a:p>
        </p:txBody>
      </p:sp>
    </p:spTree>
    <p:extLst>
      <p:ext uri="{BB962C8B-B14F-4D97-AF65-F5344CB8AC3E}">
        <p14:creationId xmlns:p14="http://schemas.microsoft.com/office/powerpoint/2010/main" val="7450938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9144318" cy="5486366"/>
          </a:xfrm>
        </p:spPr>
        <p:txBody>
          <a:bodyPr/>
          <a:lstStyle>
            <a:lvl1pPr>
              <a:defRPr sz="4799">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925933885"/>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58"/>
            <a:ext cx="10058401" cy="1829593"/>
          </a:xfrm>
          <a:noFill/>
        </p:spPr>
        <p:txBody>
          <a:bodyPr lIns="182880" tIns="146304" rIns="182880" bIns="146304">
            <a:noAutofit/>
          </a:bodyPr>
          <a:lstStyle>
            <a:lvl1pPr marL="0" indent="0">
              <a:spcBef>
                <a:spcPts val="0"/>
              </a:spcBef>
              <a:buNone/>
              <a:defRPr sz="3599"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810919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495382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98222870"/>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2302802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7872"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Footer Placeholder 1"/>
          <p:cNvSpPr>
            <a:spLocks noGrp="1"/>
          </p:cNvSpPr>
          <p:nvPr>
            <p:ph type="ftr" sz="quarter" idx="10"/>
          </p:nvPr>
        </p:nvSpPr>
        <p:spPr/>
        <p:txBody>
          <a:bodyPr/>
          <a:lstStyle/>
          <a:p>
            <a:r>
              <a:rPr>
                <a:solidFill>
                  <a:srgbClr val="505050"/>
                </a:solidFill>
              </a:rPr>
              <a:t>Microsoft Confidential</a:t>
            </a:r>
          </a:p>
        </p:txBody>
      </p:sp>
      <p:sp>
        <p:nvSpPr>
          <p:cNvPr id="3" name="Slide Number Placeholder 2"/>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3035502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fidentiality Slide">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994882273"/>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9232" y="3145043"/>
            <a:ext cx="3288505" cy="704445"/>
          </a:xfrm>
          <a:prstGeom prst="rect">
            <a:avLst/>
          </a:prstGeom>
        </p:spPr>
      </p:pic>
    </p:spTree>
    <p:extLst>
      <p:ext uri="{BB962C8B-B14F-4D97-AF65-F5344CB8AC3E}">
        <p14:creationId xmlns:p14="http://schemas.microsoft.com/office/powerpoint/2010/main" val="247908192"/>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889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6" name="Picture 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bwMode="invGray">
          <a:xfrm>
            <a:off x="459230" y="3145042"/>
            <a:ext cx="3288506" cy="704445"/>
          </a:xfrm>
          <a:prstGeom prst="rect">
            <a:avLst/>
          </a:prstGeom>
        </p:spPr>
      </p:pic>
    </p:spTree>
    <p:extLst>
      <p:ext uri="{BB962C8B-B14F-4D97-AF65-F5344CB8AC3E}">
        <p14:creationId xmlns:p14="http://schemas.microsoft.com/office/powerpoint/2010/main" val="2268334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3035050" y="295276"/>
            <a:ext cx="9290691" cy="1533526"/>
          </a:xfrm>
        </p:spPr>
        <p:txBody>
          <a:bodyPr/>
          <a:lstStyle>
            <a:lvl1pPr>
              <a:defRPr baseline="0"/>
            </a:lvl1pPr>
          </a:lstStyle>
          <a:p>
            <a:r>
              <a:rPr lang="en-US" dirty="0"/>
              <a:t>Click to edit Master title style: second line</a:t>
            </a:r>
          </a:p>
        </p:txBody>
      </p:sp>
      <p:sp>
        <p:nvSpPr>
          <p:cNvPr id="7" name="Text Placeholder 5"/>
          <p:cNvSpPr>
            <a:spLocks noGrp="1"/>
          </p:cNvSpPr>
          <p:nvPr>
            <p:ph type="body" sz="quarter" idx="10"/>
          </p:nvPr>
        </p:nvSpPr>
        <p:spPr>
          <a:xfrm>
            <a:off x="3034501" y="1935482"/>
            <a:ext cx="9288843" cy="4724626"/>
          </a:xfrm>
        </p:spPr>
        <p:txBody>
          <a:bodyPr/>
          <a:lstStyle>
            <a:lvl1pPr marL="186448" indent="-186448">
              <a:buFont typeface="Arial" panose="020B0604020202020204" pitchFamily="34" charset="0"/>
              <a:buChar char="•"/>
              <a:defRPr>
                <a:gradFill>
                  <a:gsLst>
                    <a:gs pos="1250">
                      <a:schemeClr val="tx2"/>
                    </a:gs>
                    <a:gs pos="99000">
                      <a:schemeClr val="tx2"/>
                    </a:gs>
                  </a:gsLst>
                  <a:lin ang="5400000" scaled="0"/>
                </a:gradFill>
                <a:latin typeface="+mj-lt"/>
              </a:defRPr>
            </a:lvl1pPr>
            <a:lvl2pPr marL="372896" indent="-186448">
              <a:buFont typeface="Arial" panose="020B0604020202020204" pitchFamily="34" charset="0"/>
              <a:buChar char="•"/>
              <a:defRPr sz="2448">
                <a:latin typeface="+mj-lt"/>
              </a:defRPr>
            </a:lvl2pPr>
            <a:lvl3pPr marL="559344" indent="-186448">
              <a:buFont typeface="Arial" panose="020B0604020202020204" pitchFamily="34" charset="0"/>
              <a:buChar char="•"/>
              <a:defRPr sz="2040">
                <a:latin typeface="+mj-lt"/>
              </a:defRPr>
            </a:lvl3pPr>
            <a:lvl4pPr marL="748261" indent="-291324">
              <a:buFont typeface="Arial" panose="020B0604020202020204" pitchFamily="34" charset="0"/>
              <a:buChar char="•"/>
              <a:defRPr/>
            </a:lvl4pPr>
            <a:lvl5pPr marL="976730" indent="-291324">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
        <p:nvSpPr>
          <p:cNvPr id="4" name="TextBox 3"/>
          <p:cNvSpPr txBox="1"/>
          <p:nvPr userDrawn="1"/>
        </p:nvSpPr>
        <p:spPr>
          <a:xfrm>
            <a:off x="2195461" y="601572"/>
            <a:ext cx="1345776" cy="634440"/>
          </a:xfrm>
          <a:prstGeom prst="rect">
            <a:avLst/>
          </a:prstGeom>
          <a:noFill/>
        </p:spPr>
        <p:txBody>
          <a:bodyPr wrap="none" lIns="182828" tIns="146262" rIns="182828" bIns="146262" rtlCol="0">
            <a:spAutoFit/>
          </a:bodyPr>
          <a:lstStyle/>
          <a:p>
            <a:pPr algn="r" defTabSz="932384">
              <a:lnSpc>
                <a:spcPct val="90000"/>
              </a:lnSpc>
              <a:spcAft>
                <a:spcPts val="600"/>
              </a:spcAft>
            </a:pPr>
            <a:r>
              <a:rPr lang="en-US" sz="2400" dirty="0">
                <a:solidFill>
                  <a:srgbClr val="FFFFFF"/>
                </a:solidFill>
                <a:latin typeface="Segoe UI Light"/>
              </a:rPr>
              <a:t>Feature</a:t>
            </a:r>
          </a:p>
        </p:txBody>
      </p:sp>
    </p:spTree>
    <p:extLst>
      <p:ext uri="{BB962C8B-B14F-4D97-AF65-F5344CB8AC3E}">
        <p14:creationId xmlns:p14="http://schemas.microsoft.com/office/powerpoint/2010/main" val="2224893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3035050" y="295276"/>
            <a:ext cx="9290691" cy="1533526"/>
          </a:xfrm>
        </p:spPr>
        <p:txBody>
          <a:bodyPr/>
          <a:lstStyle>
            <a:lvl1pPr>
              <a:defRPr baseline="0"/>
            </a:lvl1pPr>
          </a:lstStyle>
          <a:p>
            <a:r>
              <a:rPr lang="en-US" dirty="0"/>
              <a:t>Click to edit Master title style: second line</a:t>
            </a:r>
          </a:p>
        </p:txBody>
      </p:sp>
      <p:sp>
        <p:nvSpPr>
          <p:cNvPr id="7" name="Text Placeholder 5"/>
          <p:cNvSpPr>
            <a:spLocks noGrp="1"/>
          </p:cNvSpPr>
          <p:nvPr>
            <p:ph type="body" sz="quarter" idx="10"/>
          </p:nvPr>
        </p:nvSpPr>
        <p:spPr>
          <a:xfrm>
            <a:off x="3034501" y="1935482"/>
            <a:ext cx="5069267" cy="4724626"/>
          </a:xfrm>
        </p:spPr>
        <p:txBody>
          <a:bodyPr/>
          <a:lstStyle>
            <a:lvl1pPr marL="186448" indent="-186448">
              <a:buFont typeface="Arial" panose="020B0604020202020204" pitchFamily="34" charset="0"/>
              <a:buChar char="•"/>
              <a:defRPr>
                <a:gradFill>
                  <a:gsLst>
                    <a:gs pos="1250">
                      <a:schemeClr val="tx2"/>
                    </a:gs>
                    <a:gs pos="99000">
                      <a:schemeClr val="tx2"/>
                    </a:gs>
                  </a:gsLst>
                  <a:lin ang="5400000" scaled="0"/>
                </a:gradFill>
                <a:latin typeface="+mj-lt"/>
              </a:defRPr>
            </a:lvl1pPr>
            <a:lvl2pPr marL="414408" indent="-186160">
              <a:buFont typeface="Segoe UI Light" panose="020B0502040204020203" pitchFamily="34" charset="0"/>
              <a:buChar char="−"/>
              <a:defRPr sz="3264">
                <a:latin typeface="+mj-lt"/>
              </a:defRPr>
            </a:lvl2pPr>
            <a:lvl3pPr marL="647513" indent="-186160">
              <a:buFont typeface="Courier New" panose="02070309020205020404" pitchFamily="49" charset="0"/>
              <a:buChar char="o"/>
              <a:defRPr sz="2856">
                <a:latin typeface="+mj-lt"/>
              </a:defRPr>
            </a:lvl3pPr>
            <a:lvl4pPr marL="748261" indent="-291324">
              <a:buFont typeface="Arial" panose="020B0604020202020204" pitchFamily="34" charset="0"/>
              <a:buChar char="•"/>
              <a:defRPr/>
            </a:lvl4pPr>
            <a:lvl5pPr marL="976730" indent="-291324">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
        <p:nvSpPr>
          <p:cNvPr id="4" name="TextBox 3"/>
          <p:cNvSpPr txBox="1"/>
          <p:nvPr userDrawn="1"/>
        </p:nvSpPr>
        <p:spPr>
          <a:xfrm>
            <a:off x="2195461" y="601572"/>
            <a:ext cx="1345776" cy="634440"/>
          </a:xfrm>
          <a:prstGeom prst="rect">
            <a:avLst/>
          </a:prstGeom>
          <a:noFill/>
        </p:spPr>
        <p:txBody>
          <a:bodyPr wrap="none" lIns="182828" tIns="146262" rIns="182828" bIns="146262" rtlCol="0">
            <a:spAutoFit/>
          </a:bodyPr>
          <a:lstStyle/>
          <a:p>
            <a:pPr algn="r" defTabSz="932384">
              <a:lnSpc>
                <a:spcPct val="90000"/>
              </a:lnSpc>
              <a:spcAft>
                <a:spcPts val="600"/>
              </a:spcAft>
            </a:pPr>
            <a:r>
              <a:rPr lang="en-US" sz="2400" dirty="0">
                <a:solidFill>
                  <a:srgbClr val="FFFFFF"/>
                </a:solidFill>
                <a:latin typeface="Segoe UI Light"/>
              </a:rPr>
              <a:t>Feature</a:t>
            </a:r>
          </a:p>
        </p:txBody>
      </p:sp>
      <p:sp>
        <p:nvSpPr>
          <p:cNvPr id="5" name="Picture Placeholder 6"/>
          <p:cNvSpPr>
            <a:spLocks noGrp="1"/>
          </p:cNvSpPr>
          <p:nvPr>
            <p:ph type="pic" sz="quarter" idx="12" hasCustomPrompt="1"/>
          </p:nvPr>
        </p:nvSpPr>
        <p:spPr>
          <a:xfrm>
            <a:off x="8258626" y="2423858"/>
            <a:ext cx="3562313" cy="3971137"/>
          </a:xfrm>
          <a:ln w="152400">
            <a:noFill/>
          </a:ln>
        </p:spPr>
        <p:txBody>
          <a:bodyPr/>
          <a:lstStyle>
            <a:lvl1pPr marL="0" indent="0">
              <a:buNone/>
              <a:defRPr>
                <a:solidFill>
                  <a:schemeClr val="accent1"/>
                </a:solidFill>
              </a:defRPr>
            </a:lvl1pPr>
          </a:lstStyle>
          <a:p>
            <a:r>
              <a:rPr lang="en-US" dirty="0"/>
              <a:t>Screen shot or image here</a:t>
            </a:r>
          </a:p>
        </p:txBody>
      </p:sp>
    </p:spTree>
    <p:extLst>
      <p:ext uri="{BB962C8B-B14F-4D97-AF65-F5344CB8AC3E}">
        <p14:creationId xmlns:p14="http://schemas.microsoft.com/office/powerpoint/2010/main" val="1471017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7" name="Text Placeholder 5"/>
          <p:cNvSpPr>
            <a:spLocks noGrp="1"/>
          </p:cNvSpPr>
          <p:nvPr>
            <p:ph type="body" sz="quarter" idx="10"/>
          </p:nvPr>
        </p:nvSpPr>
        <p:spPr>
          <a:xfrm>
            <a:off x="274641" y="1905000"/>
            <a:ext cx="11887200" cy="4755106"/>
          </a:xfrm>
        </p:spPr>
        <p:txBody>
          <a:bodyPr/>
          <a:lstStyle>
            <a:lvl1pPr marL="186448" indent="-186448">
              <a:buFont typeface="Arial" panose="020B0604020202020204" pitchFamily="34" charset="0"/>
              <a:buChar char="•"/>
              <a:defRPr sz="3198">
                <a:gradFill>
                  <a:gsLst>
                    <a:gs pos="1250">
                      <a:schemeClr val="tx2"/>
                    </a:gs>
                    <a:gs pos="99000">
                      <a:schemeClr val="tx2"/>
                    </a:gs>
                  </a:gsLst>
                  <a:lin ang="5400000" scaled="0"/>
                </a:gradFill>
                <a:latin typeface="+mj-lt"/>
              </a:defRPr>
            </a:lvl1pPr>
            <a:lvl2pPr marL="372896" indent="-186448">
              <a:buFont typeface="Arial" panose="020B0604020202020204" pitchFamily="34" charset="0"/>
              <a:buChar char="•"/>
              <a:defRPr sz="2000">
                <a:latin typeface="+mj-lt"/>
              </a:defRPr>
            </a:lvl2pPr>
            <a:lvl3pPr marL="559344" indent="-186448">
              <a:buFont typeface="Arial" panose="020B0604020202020204" pitchFamily="34" charset="0"/>
              <a:buChar char="•"/>
              <a:defRPr sz="1800">
                <a:latin typeface="+mj-lt"/>
              </a:defRPr>
            </a:lvl3pPr>
            <a:lvl4pPr marL="748261" indent="-291324">
              <a:buFont typeface="Arial" panose="020B0604020202020204" pitchFamily="34" charset="0"/>
              <a:buChar char="•"/>
              <a:defRPr/>
            </a:lvl4pPr>
            <a:lvl5pPr marL="976730" indent="-291324">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p:txBody>
      </p:sp>
      <p:sp>
        <p:nvSpPr>
          <p:cNvPr id="2" name="TextBox 1"/>
          <p:cNvSpPr txBox="1"/>
          <p:nvPr userDrawn="1"/>
        </p:nvSpPr>
        <p:spPr>
          <a:xfrm>
            <a:off x="274640" y="1212849"/>
            <a:ext cx="369398" cy="634440"/>
          </a:xfrm>
          <a:prstGeom prst="rect">
            <a:avLst/>
          </a:prstGeom>
          <a:noFill/>
        </p:spPr>
        <p:txBody>
          <a:bodyPr wrap="none" lIns="182828" tIns="146262" rIns="182828" bIns="146262" rtlCol="0">
            <a:spAutoFit/>
          </a:bodyPr>
          <a:lstStyle/>
          <a:p>
            <a:pPr defTabSz="932384">
              <a:lnSpc>
                <a:spcPct val="90000"/>
              </a:lnSpc>
              <a:spcAft>
                <a:spcPts val="600"/>
              </a:spcAft>
            </a:pPr>
            <a:endParaRPr lang="en-US" sz="2400" dirty="0" err="1">
              <a:gradFill>
                <a:gsLst>
                  <a:gs pos="2917">
                    <a:srgbClr val="000000"/>
                  </a:gs>
                  <a:gs pos="30000">
                    <a:srgbClr val="000000"/>
                  </a:gs>
                </a:gsLst>
                <a:lin ang="5400000" scaled="0"/>
              </a:gradFill>
            </a:endParaRPr>
          </a:p>
        </p:txBody>
      </p:sp>
      <p:sp>
        <p:nvSpPr>
          <p:cNvPr id="8" name="Text Placeholder 7"/>
          <p:cNvSpPr>
            <a:spLocks noGrp="1"/>
          </p:cNvSpPr>
          <p:nvPr>
            <p:ph type="body" sz="quarter" idx="11" hasCustomPrompt="1"/>
          </p:nvPr>
        </p:nvSpPr>
        <p:spPr>
          <a:xfrm>
            <a:off x="274641" y="1244992"/>
            <a:ext cx="11887200" cy="627864"/>
          </a:xfrm>
        </p:spPr>
        <p:txBody>
          <a:bodyPr/>
          <a:lstStyle>
            <a:lvl1pPr marL="0" indent="0">
              <a:buNone/>
              <a:defRPr sz="3198"/>
            </a:lvl1pPr>
            <a:lvl2pPr>
              <a:defRPr sz="1800"/>
            </a:lvl2pPr>
            <a:lvl3pPr>
              <a:defRPr sz="1598"/>
            </a:lvl3pPr>
            <a:lvl4pPr>
              <a:defRPr sz="1398"/>
            </a:lvl4pPr>
            <a:lvl5pPr>
              <a:defRPr sz="1398"/>
            </a:lvl5pPr>
          </a:lstStyle>
          <a:p>
            <a:pPr lvl="0"/>
            <a:r>
              <a:rPr lang="en-US" dirty="0"/>
              <a:t>Subtitle</a:t>
            </a:r>
          </a:p>
        </p:txBody>
      </p:sp>
    </p:spTree>
    <p:extLst>
      <p:ext uri="{BB962C8B-B14F-4D97-AF65-F5344CB8AC3E}">
        <p14:creationId xmlns:p14="http://schemas.microsoft.com/office/powerpoint/2010/main" val="4020459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815714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5.xml><?xml version="1.0" encoding="utf-8"?>
<p:sldLayout xmlns:a="http://schemas.openxmlformats.org/drawingml/2006/main" xmlns:r="http://schemas.openxmlformats.org/officeDocument/2006/relationships" xmlns:p="http://schemas.openxmlformats.org/presentationml/2006/main" type="titleOnly">
  <p:cSld name="1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2081"/>
            <a:ext cx="11887202" cy="946413"/>
          </a:xfrm>
        </p:spPr>
        <p:txBody>
          <a:bodyPr/>
          <a:lstStyle>
            <a:lvl1pPr>
              <a:defRPr>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3" name="Slide Number Placeholder 7"/>
          <p:cNvSpPr>
            <a:spLocks noGrp="1"/>
          </p:cNvSpPr>
          <p:nvPr>
            <p:ph type="sldNum" sz="quarter" idx="10"/>
          </p:nvPr>
        </p:nvSpPr>
        <p:spPr/>
        <p:txBody>
          <a:bodyPr/>
          <a:lstStyle>
            <a:lvl1pPr defTabSz="931505" fontAlgn="base">
              <a:lnSpc>
                <a:spcPct val="90000"/>
              </a:lnSpc>
              <a:spcBef>
                <a:spcPct val="0"/>
              </a:spcBef>
              <a:spcAft>
                <a:spcPct val="0"/>
              </a:spcAft>
              <a:defRPr>
                <a:solidFill>
                  <a:srgbClr val="D2D2D2"/>
                </a:solidFill>
              </a:defRPr>
            </a:lvl1pPr>
          </a:lstStyle>
          <a:p>
            <a:pPr>
              <a:defRPr/>
            </a:pPr>
            <a:fld id="{D501E86F-28C2-E848-8F25-5B1F772CA3AD}" type="slidenum">
              <a:rPr/>
              <a:pPr>
                <a:defRPr/>
              </a:pPr>
              <a:t>‹#›</a:t>
            </a:fld>
            <a:endParaRPr dirty="0"/>
          </a:p>
        </p:txBody>
      </p:sp>
    </p:spTree>
    <p:extLst>
      <p:ext uri="{BB962C8B-B14F-4D97-AF65-F5344CB8AC3E}">
        <p14:creationId xmlns:p14="http://schemas.microsoft.com/office/powerpoint/2010/main" val="16584477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47074364"/>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184534"/>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p>
        </p:txBody>
      </p:sp>
    </p:spTree>
    <p:extLst>
      <p:ext uri="{BB962C8B-B14F-4D97-AF65-F5344CB8AC3E}">
        <p14:creationId xmlns:p14="http://schemas.microsoft.com/office/powerpoint/2010/main" val="3996906321"/>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p>
        </p:txBody>
      </p:sp>
    </p:spTree>
    <p:extLst>
      <p:ext uri="{BB962C8B-B14F-4D97-AF65-F5344CB8AC3E}">
        <p14:creationId xmlns:p14="http://schemas.microsoft.com/office/powerpoint/2010/main" val="303631274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1" y="3954460"/>
            <a:ext cx="6399214" cy="1830388"/>
          </a:xfrm>
          <a:noFill/>
        </p:spPr>
        <p:txBody>
          <a:bodyPr lIns="143402" tIns="107551" rIns="143402" bIns="107551">
            <a:noAutofit/>
          </a:bodyPr>
          <a:lstStyle>
            <a:lvl1pPr marL="0" indent="0">
              <a:spcBef>
                <a:spcPts val="0"/>
              </a:spcBef>
              <a:buNone/>
              <a:defRPr sz="357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8" y="2117167"/>
            <a:ext cx="10058335" cy="1837298"/>
          </a:xfrm>
          <a:noFill/>
        </p:spPr>
        <p:txBody>
          <a:bodyPr lIns="143402" tIns="89626" rIns="143402" bIns="89626" anchor="t" anchorCtr="0"/>
          <a:lstStyle>
            <a:lvl1pPr>
              <a:defRPr sz="6018" spc="-101"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10973056" y="6319673"/>
            <a:ext cx="1005841" cy="195077"/>
          </a:xfrm>
          <a:prstGeom prst="rect">
            <a:avLst/>
          </a:prstGeom>
        </p:spPr>
      </p:pic>
      <p:sp>
        <p:nvSpPr>
          <p:cNvPr id="7" name="Rectangle 6"/>
          <p:cNvSpPr/>
          <p:nvPr/>
        </p:nvSpPr>
        <p:spPr bwMode="auto">
          <a:xfrm>
            <a:off x="457203" y="479427"/>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182" fontAlgn="base">
              <a:lnSpc>
                <a:spcPct val="90000"/>
              </a:lnSpc>
              <a:spcBef>
                <a:spcPct val="0"/>
              </a:spcBef>
              <a:spcAft>
                <a:spcPct val="0"/>
              </a:spcAft>
              <a:defRPr/>
            </a:pPr>
            <a:r>
              <a:rPr lang="en-US" sz="1938" dirty="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3606986946"/>
      </p:ext>
    </p:extLst>
  </p:cSld>
  <p:clrMapOvr>
    <a:masterClrMapping/>
  </p:clrMapOvr>
  <p:transition spd="med">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5869659"/>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704318"/>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60956856"/>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35247459"/>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190830751"/>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4639" y="1235349"/>
            <a:ext cx="11889564" cy="917575"/>
          </a:xfrm>
        </p:spPr>
        <p:txBody>
          <a:bodyPr/>
          <a:lstStyle>
            <a:lvl1pPr>
              <a:defRPr sz="7198">
                <a:gradFill>
                  <a:gsLst>
                    <a:gs pos="1250">
                      <a:schemeClr val="accent2"/>
                    </a:gs>
                    <a:gs pos="100000">
                      <a:schemeClr val="accent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00345016"/>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accent6"/>
                    </a:gs>
                    <a:gs pos="0">
                      <a:schemeClr val="accent6"/>
                    </a:gs>
                  </a:gsLst>
                  <a:lin ang="5400000" scaled="0"/>
                </a:gradFill>
              </a:defRPr>
            </a:lvl1pPr>
          </a:lstStyle>
          <a:p>
            <a:r>
              <a:rPr lang="en-US" dirty="0"/>
              <a:t>Section title</a:t>
            </a:r>
          </a:p>
        </p:txBody>
      </p:sp>
    </p:spTree>
    <p:extLst>
      <p:ext uri="{BB962C8B-B14F-4D97-AF65-F5344CB8AC3E}">
        <p14:creationId xmlns:p14="http://schemas.microsoft.com/office/powerpoint/2010/main" val="41326780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363337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167429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Fact Layout ">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03439" y="2125662"/>
            <a:ext cx="8229600" cy="1828801"/>
          </a:xfrm>
          <a:noFill/>
        </p:spPr>
        <p:txBody>
          <a:bodyPr wrap="square" tIns="91440" bIns="91440" anchor="t" anchorCtr="0">
            <a:noAutofit/>
          </a:bodyPr>
          <a:lstStyle>
            <a:lvl1pPr>
              <a:defRPr sz="5999" spc="-100" baseline="0">
                <a:gradFill>
                  <a:gsLst>
                    <a:gs pos="100000">
                      <a:schemeClr val="bg1"/>
                    </a:gs>
                    <a:gs pos="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622428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3" name="Rectangle 2"/>
          <p:cNvSpPr/>
          <p:nvPr/>
        </p:nvSpPr>
        <p:spPr bwMode="ltGray">
          <a:xfrm>
            <a:off x="274639" y="2125663"/>
            <a:ext cx="91440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9" tIns="146257" rIns="182819" bIns="146257" numCol="1" spcCol="0" rtlCol="0" fromWordArt="0" anchor="t" anchorCtr="0" forceAA="0" compatLnSpc="1">
            <a:prstTxWarp prst="textNoShape">
              <a:avLst/>
            </a:prstTxWarp>
            <a:noAutofit/>
          </a:bodyPr>
          <a:lstStyle/>
          <a:p>
            <a:pPr algn="ctr" defTabSz="932182"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5" y="2125680"/>
            <a:ext cx="9143936" cy="1828786"/>
          </a:xfrm>
          <a:noFill/>
        </p:spPr>
        <p:txBody>
          <a:bodyPr lIns="143402" tIns="89626" rIns="143402" bIns="89626" anchor="t" anchorCtr="0"/>
          <a:lstStyle>
            <a:lvl1pPr>
              <a:defRPr sz="6018" spc="-101" baseline="0">
                <a:gradFill>
                  <a:gsLst>
                    <a:gs pos="5833">
                      <a:schemeClr val="bg1"/>
                    </a:gs>
                    <a:gs pos="18000">
                      <a:schemeClr val="bg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auto">
          <a:xfrm>
            <a:off x="274702" y="3955789"/>
            <a:ext cx="9143937" cy="1828007"/>
          </a:xfrm>
          <a:noFill/>
        </p:spPr>
        <p:txBody>
          <a:bodyPr lIns="143402" tIns="107551" rIns="143402" bIns="107551">
            <a:noAutofit/>
          </a:bodyPr>
          <a:lstStyle>
            <a:lvl1pPr marL="0" indent="0">
              <a:spcBef>
                <a:spcPts val="0"/>
              </a:spcBef>
              <a:buNone/>
              <a:defRPr sz="357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10973056" y="6319673"/>
            <a:ext cx="1005841" cy="195077"/>
          </a:xfrm>
          <a:prstGeom prst="rect">
            <a:avLst/>
          </a:prstGeom>
        </p:spPr>
      </p:pic>
    </p:spTree>
    <p:extLst>
      <p:ext uri="{BB962C8B-B14F-4D97-AF65-F5344CB8AC3E}">
        <p14:creationId xmlns:p14="http://schemas.microsoft.com/office/powerpoint/2010/main" val="2253743034"/>
      </p:ext>
    </p:extLst>
  </p:cSld>
  <p:clrMapOvr>
    <a:masterClrMapping/>
  </p:clrMapOvr>
  <p:transition spd="med">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Fact Layout-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03439" y="2125662"/>
            <a:ext cx="8229600" cy="1828801"/>
          </a:xfrm>
          <a:noFill/>
        </p:spPr>
        <p:txBody>
          <a:bodyPr wrap="square" tIns="91440" bIns="91440" anchor="t" anchorCtr="0">
            <a:noAutofit/>
          </a:bodyPr>
          <a:lstStyle>
            <a:lvl1pPr>
              <a:defRPr sz="5999" spc="-100"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37407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Quote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89037" y="1227030"/>
            <a:ext cx="10058401" cy="914401"/>
          </a:xfrm>
        </p:spPr>
        <p:txBody>
          <a:bodyPr/>
          <a:lstStyle>
            <a:lvl1pPr marL="284108" indent="-284108">
              <a:defRPr sz="5999" baseline="0">
                <a:gradFill>
                  <a:gsLst>
                    <a:gs pos="1250">
                      <a:schemeClr val="accent2"/>
                    </a:gs>
                    <a:gs pos="100000">
                      <a:schemeClr val="accent2"/>
                    </a:gs>
                  </a:gsLst>
                  <a:lin ang="5400000" scaled="0"/>
                </a:gradFill>
              </a:defRPr>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4884629"/>
            <a:ext cx="5486400" cy="1071062"/>
          </a:xfrm>
        </p:spPr>
        <p:txBody>
          <a:bodyPr/>
          <a:lstStyle>
            <a:lvl1pPr marL="0" indent="0">
              <a:buNone/>
              <a:defRPr sz="3199">
                <a:gradFill>
                  <a:gsLst>
                    <a:gs pos="1250">
                      <a:schemeClr val="accent2"/>
                    </a:gs>
                    <a:gs pos="100000">
                      <a:schemeClr val="accent2"/>
                    </a:gs>
                  </a:gsLst>
                  <a:lin ang="5400000" scaled="0"/>
                </a:gradFill>
              </a:defRPr>
            </a:lvl1pPr>
            <a:lvl2pPr marL="342834" indent="0">
              <a:buNone/>
              <a:defRPr/>
            </a:lvl2pPr>
            <a:lvl3pPr marL="571390" indent="0">
              <a:buNone/>
              <a:defRPr/>
            </a:lvl3pPr>
            <a:lvl4pPr marL="799946" indent="0">
              <a:buNone/>
              <a:defRPr/>
            </a:lvl4pPr>
            <a:lvl5pPr marL="1028503" indent="0">
              <a:buNone/>
              <a:defRPr/>
            </a:lvl5pPr>
          </a:lstStyle>
          <a:p>
            <a:pPr lvl="0"/>
            <a:r>
              <a:rPr lang="en-US" dirty="0"/>
              <a:t>Author’s Name</a:t>
            </a:r>
            <a:br>
              <a:rPr lang="en-US" dirty="0"/>
            </a:br>
            <a:r>
              <a:rPr lang="en-US" dirty="0"/>
              <a:t>Title</a:t>
            </a:r>
          </a:p>
        </p:txBody>
      </p:sp>
    </p:spTree>
    <p:extLst>
      <p:ext uri="{BB962C8B-B14F-4D97-AF65-F5344CB8AC3E}">
        <p14:creationId xmlns:p14="http://schemas.microsoft.com/office/powerpoint/2010/main" val="3633762755"/>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Quote Layout-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89037" y="2125664"/>
            <a:ext cx="10058401" cy="914401"/>
          </a:xfrm>
        </p:spPr>
        <p:txBody>
          <a:bodyPr/>
          <a:lstStyle>
            <a:lvl1pPr marL="173005" indent="-173005">
              <a:defRPr sz="5999" baseline="0">
                <a:gradFill>
                  <a:gsLst>
                    <a:gs pos="1250">
                      <a:schemeClr val="bg1"/>
                    </a:gs>
                    <a:gs pos="100000">
                      <a:schemeClr val="bg1"/>
                    </a:gs>
                  </a:gsLst>
                  <a:lin ang="5400000" scaled="0"/>
                </a:gradFill>
              </a:defRPr>
            </a:lvl1pPr>
          </a:lstStyle>
          <a:p>
            <a:r>
              <a:rPr lang="en-US" dirty="0"/>
              <a:t>“Add a quote here. Design is easier than it looks, and more important than it seems.”</a:t>
            </a:r>
          </a:p>
        </p:txBody>
      </p:sp>
      <p:sp>
        <p:nvSpPr>
          <p:cNvPr id="4" name="Text Placeholder 3"/>
          <p:cNvSpPr>
            <a:spLocks noGrp="1"/>
          </p:cNvSpPr>
          <p:nvPr>
            <p:ph type="body" sz="quarter" idx="10" hasCustomPrompt="1"/>
          </p:nvPr>
        </p:nvSpPr>
        <p:spPr>
          <a:xfrm>
            <a:off x="5761038" y="4884629"/>
            <a:ext cx="5486400" cy="1071062"/>
          </a:xfrm>
        </p:spPr>
        <p:txBody>
          <a:bodyPr/>
          <a:lstStyle>
            <a:lvl1pPr marL="0" indent="0">
              <a:buNone/>
              <a:defRPr sz="3199">
                <a:gradFill>
                  <a:gsLst>
                    <a:gs pos="1250">
                      <a:schemeClr val="bg1"/>
                    </a:gs>
                    <a:gs pos="100000">
                      <a:schemeClr val="bg1"/>
                    </a:gs>
                  </a:gsLst>
                  <a:lin ang="5400000" scaled="0"/>
                </a:gradFill>
              </a:defRPr>
            </a:lvl1pPr>
            <a:lvl2pPr marL="342834" indent="0">
              <a:buNone/>
              <a:defRPr/>
            </a:lvl2pPr>
            <a:lvl3pPr marL="571390" indent="0">
              <a:buNone/>
              <a:defRPr/>
            </a:lvl3pPr>
            <a:lvl4pPr marL="799946" indent="0">
              <a:buNone/>
              <a:defRPr/>
            </a:lvl4pPr>
            <a:lvl5pPr marL="1028503" indent="0">
              <a:buNone/>
              <a:defRPr/>
            </a:lvl5pPr>
          </a:lstStyle>
          <a:p>
            <a:pPr lvl="0"/>
            <a:r>
              <a:rPr lang="en-US" dirty="0"/>
              <a:t>Author’s Name</a:t>
            </a:r>
            <a:br>
              <a:rPr lang="en-US" dirty="0"/>
            </a:br>
            <a:r>
              <a:rPr lang="en-US" dirty="0"/>
              <a:t>Title</a:t>
            </a:r>
          </a:p>
        </p:txBody>
      </p:sp>
    </p:spTree>
    <p:extLst>
      <p:ext uri="{BB962C8B-B14F-4D97-AF65-F5344CB8AC3E}">
        <p14:creationId xmlns:p14="http://schemas.microsoft.com/office/powerpoint/2010/main" val="2588552146"/>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Big Idea &amp; 3 Points Layout">
    <p:spTree>
      <p:nvGrpSpPr>
        <p:cNvPr id="1" name=""/>
        <p:cNvGrpSpPr/>
        <p:nvPr/>
      </p:nvGrpSpPr>
      <p:grpSpPr>
        <a:xfrm>
          <a:off x="0" y="0"/>
          <a:ext cx="0" cy="0"/>
          <a:chOff x="0" y="0"/>
          <a:chExt cx="0" cy="0"/>
        </a:xfrm>
      </p:grpSpPr>
      <p:sp>
        <p:nvSpPr>
          <p:cNvPr id="2" name="Title 1"/>
          <p:cNvSpPr>
            <a:spLocks noGrp="1"/>
          </p:cNvSpPr>
          <p:nvPr>
            <p:ph type="title"/>
          </p:nvPr>
        </p:nvSpPr>
        <p:spPr>
          <a:xfrm>
            <a:off x="274639" y="1235349"/>
            <a:ext cx="11889564" cy="917575"/>
          </a:xfrm>
        </p:spPr>
        <p:txBody>
          <a:bodyPr/>
          <a:lstStyle>
            <a:lvl1pPr>
              <a:defRPr sz="7198">
                <a:gradFill>
                  <a:gsLst>
                    <a:gs pos="1250">
                      <a:schemeClr val="accent2"/>
                    </a:gs>
                    <a:gs pos="100000">
                      <a:schemeClr val="accent2"/>
                    </a:gs>
                  </a:gsLst>
                  <a:lin ang="5400000" scaled="0"/>
                </a:gradFill>
              </a:defRPr>
            </a:lvl1pPr>
          </a:lstStyle>
          <a:p>
            <a:r>
              <a:rPr lang="en-US"/>
              <a:t>Click to edit Master title style</a:t>
            </a:r>
          </a:p>
        </p:txBody>
      </p:sp>
      <p:sp>
        <p:nvSpPr>
          <p:cNvPr id="4" name="Text Placeholder 3"/>
          <p:cNvSpPr>
            <a:spLocks noGrp="1"/>
          </p:cNvSpPr>
          <p:nvPr>
            <p:ph type="body" sz="quarter" idx="10"/>
          </p:nvPr>
        </p:nvSpPr>
        <p:spPr>
          <a:xfrm>
            <a:off x="274639" y="2459644"/>
            <a:ext cx="11887200" cy="932563"/>
          </a:xfrm>
        </p:spPr>
        <p:txBody>
          <a:bodyPr/>
          <a:lstStyle>
            <a:lvl1pPr marL="0" indent="0">
              <a:buNone/>
              <a:defRPr sz="5399"/>
            </a:lvl1pPr>
          </a:lstStyle>
          <a:p>
            <a:pPr lvl="0"/>
            <a:r>
              <a:rPr lang="en-US"/>
              <a:t>Click to edit Master text styles</a:t>
            </a:r>
          </a:p>
        </p:txBody>
      </p:sp>
    </p:spTree>
    <p:extLst>
      <p:ext uri="{BB962C8B-B14F-4D97-AF65-F5344CB8AC3E}">
        <p14:creationId xmlns:p14="http://schemas.microsoft.com/office/powerpoint/2010/main" val="793718211"/>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3278473"/>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48115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79095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421450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3594857"/>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505050"/>
                    </a:gs>
                    <a:gs pos="100000">
                      <a:srgbClr val="50505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a:xfrm>
            <a:off x="459231" y="3145040"/>
            <a:ext cx="3291840" cy="705834"/>
          </a:xfrm>
          <a:prstGeom prst="rect">
            <a:avLst/>
          </a:prstGeom>
        </p:spPr>
      </p:pic>
    </p:spTree>
    <p:extLst>
      <p:ext uri="{BB962C8B-B14F-4D97-AF65-F5344CB8AC3E}">
        <p14:creationId xmlns:p14="http://schemas.microsoft.com/office/powerpoint/2010/main" val="11527510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1" y="3954460"/>
            <a:ext cx="6399214" cy="1830388"/>
          </a:xfrm>
          <a:noFill/>
        </p:spPr>
        <p:txBody>
          <a:bodyPr lIns="143402" tIns="107551" rIns="143402" bIns="107551">
            <a:noAutofit/>
          </a:bodyPr>
          <a:lstStyle>
            <a:lvl1pPr marL="0" indent="0">
              <a:spcBef>
                <a:spcPts val="0"/>
              </a:spcBef>
              <a:buNone/>
              <a:defRPr sz="357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8" y="2117167"/>
            <a:ext cx="10058335" cy="1837298"/>
          </a:xfrm>
          <a:noFill/>
        </p:spPr>
        <p:txBody>
          <a:bodyPr lIns="143402" tIns="89626" rIns="143402" bIns="89626" anchor="t" anchorCtr="0"/>
          <a:lstStyle>
            <a:lvl1pPr>
              <a:defRPr sz="6018" spc="-101"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10973056" y="6319673"/>
            <a:ext cx="1005841" cy="195077"/>
          </a:xfrm>
          <a:prstGeom prst="rect">
            <a:avLst/>
          </a:prstGeom>
        </p:spPr>
      </p:pic>
    </p:spTree>
    <p:extLst>
      <p:ext uri="{BB962C8B-B14F-4D97-AF65-F5344CB8AC3E}">
        <p14:creationId xmlns:p14="http://schemas.microsoft.com/office/powerpoint/2010/main" val="1593641566"/>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FFFFFF"/>
                    </a:gs>
                    <a:gs pos="100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bwMode="invGray">
          <a:xfrm>
            <a:off x="459233" y="3145040"/>
            <a:ext cx="3291840" cy="705836"/>
          </a:xfrm>
          <a:prstGeom prst="rect">
            <a:avLst/>
          </a:prstGeom>
        </p:spPr>
      </p:pic>
    </p:spTree>
    <p:extLst>
      <p:ext uri="{BB962C8B-B14F-4D97-AF65-F5344CB8AC3E}">
        <p14:creationId xmlns:p14="http://schemas.microsoft.com/office/powerpoint/2010/main" val="40148951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189919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244103" y="5969773"/>
            <a:ext cx="1995238" cy="733936"/>
          </a:xfrm>
          <a:prstGeom prst="rect">
            <a:avLst/>
          </a:prstGeom>
        </p:spPr>
      </p:pic>
    </p:spTree>
    <p:extLst>
      <p:ext uri="{BB962C8B-B14F-4D97-AF65-F5344CB8AC3E}">
        <p14:creationId xmlns:p14="http://schemas.microsoft.com/office/powerpoint/2010/main" val="29856344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586968"/>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48261853"/>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8920173"/>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28959495"/>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0481717"/>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45805369"/>
      </p:ext>
    </p:extLst>
  </p:cSld>
  <p:clrMapOvr>
    <a:masterClrMapping/>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912418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4" name="Rectangle 3"/>
          <p:cNvSpPr/>
          <p:nvPr/>
        </p:nvSpPr>
        <p:spPr bwMode="ltGray">
          <a:xfrm>
            <a:off x="274705" y="1211287"/>
            <a:ext cx="10058335"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9" tIns="146257" rIns="182819" bIns="146257" numCol="1" spcCol="0" rtlCol="0" fromWordArt="0" anchor="t" anchorCtr="0" forceAA="0" compatLnSpc="1">
            <a:prstTxWarp prst="textNoShape">
              <a:avLst/>
            </a:prstTxWarp>
            <a:noAutofit/>
          </a:bodyPr>
          <a:lstStyle/>
          <a:p>
            <a:pPr algn="ctr" defTabSz="932182"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74642" y="1209975"/>
            <a:ext cx="10056812" cy="2751698"/>
          </a:xfrm>
          <a:noFill/>
        </p:spPr>
        <p:txBody>
          <a:bodyPr tIns="89626" bIns="89626" anchor="t" anchorCtr="0"/>
          <a:lstStyle>
            <a:lvl1pPr>
              <a:defRPr sz="7241" spc="-101"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2" y="3954467"/>
            <a:ext cx="10058400" cy="1829593"/>
          </a:xfrm>
          <a:noFill/>
        </p:spPr>
        <p:txBody>
          <a:bodyPr lIns="179251" tIns="143402" rIns="179251" bIns="143402">
            <a:noAutofit/>
          </a:bodyPr>
          <a:lstStyle>
            <a:lvl1pPr marL="0" indent="0">
              <a:spcBef>
                <a:spcPts val="0"/>
              </a:spcBef>
              <a:buNone/>
              <a:defRPr sz="357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16177765"/>
      </p:ext>
    </p:extLst>
  </p:cSld>
  <p:clrMapOvr>
    <a:masterClrMapping/>
  </p:clrMapOvr>
  <p:transition spd="med">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35221249"/>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59667104"/>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1553227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lang="en-US" sz="7196"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926436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37826985"/>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369615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467671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411626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91752453"/>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77282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4" name="Rectangle 3"/>
          <p:cNvSpPr/>
          <p:nvPr/>
        </p:nvSpPr>
        <p:spPr bwMode="ltGray">
          <a:xfrm>
            <a:off x="274705" y="1211287"/>
            <a:ext cx="10058335"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9" tIns="146257" rIns="182819" bIns="146257" numCol="1" spcCol="0" rtlCol="0" fromWordArt="0" anchor="t" anchorCtr="0" forceAA="0" compatLnSpc="1">
            <a:prstTxWarp prst="textNoShape">
              <a:avLst/>
            </a:prstTxWarp>
            <a:noAutofit/>
          </a:bodyPr>
          <a:lstStyle/>
          <a:p>
            <a:pPr algn="ctr" defTabSz="932182"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42" y="1209975"/>
            <a:ext cx="10056812" cy="2751698"/>
          </a:xfrm>
          <a:noFill/>
        </p:spPr>
        <p:txBody>
          <a:bodyPr tIns="89626" bIns="89626" anchor="t" anchorCtr="0"/>
          <a:lstStyle>
            <a:lvl1pPr>
              <a:defRPr sz="7241" spc="-101"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2" y="3954467"/>
            <a:ext cx="10058400" cy="1829593"/>
          </a:xfrm>
          <a:noFill/>
        </p:spPr>
        <p:txBody>
          <a:bodyPr lIns="179251" tIns="143402" rIns="179251" bIns="143402">
            <a:noAutofit/>
          </a:bodyPr>
          <a:lstStyle>
            <a:lvl1pPr marL="0" indent="0">
              <a:spcBef>
                <a:spcPts val="0"/>
              </a:spcBef>
              <a:buNone/>
              <a:defRPr sz="357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85317528"/>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18636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05515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algn="ctr" defTabSz="932114"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6128247"/>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9232" y="3145040"/>
            <a:ext cx="3291840" cy="705834"/>
          </a:xfrm>
          <a:prstGeom prst="rect">
            <a:avLst/>
          </a:prstGeom>
        </p:spPr>
      </p:pic>
      <p:pic>
        <p:nvPicPr>
          <p:cNvPr id="4" name="Picture 3"/>
          <p:cNvPicPr>
            <a:picLocks noChangeAspect="1"/>
          </p:cNvPicPr>
          <p:nvPr userDrawn="1"/>
        </p:nvPicPr>
        <p:blipFill>
          <a:blip r:embed="rId2"/>
          <a:stretch>
            <a:fillRect/>
          </a:stretch>
        </p:blipFill>
        <p:spPr>
          <a:xfrm>
            <a:off x="459232" y="3145040"/>
            <a:ext cx="3291840" cy="705834"/>
          </a:xfrm>
          <a:prstGeom prst="rect">
            <a:avLst/>
          </a:prstGeom>
        </p:spPr>
      </p:pic>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defTabSz="931932" eaLnBrk="0" hangingPunct="0"/>
            <a:r>
              <a:rPr lang="en-US" sz="700" dirty="0">
                <a:gradFill>
                  <a:gsLst>
                    <a:gs pos="0">
                      <a:srgbClr val="505050"/>
                    </a:gs>
                    <a:gs pos="100000">
                      <a:srgbClr val="505050"/>
                    </a:gs>
                  </a:gsLst>
                  <a:lin ang="5400000" scaled="0"/>
                </a:gradFill>
                <a:cs typeface="Segoe UI" pitchFamily="34" charset="0"/>
              </a:rPr>
              <a:t>© 2014 Microsoft Corporation. All rights reserved. </a:t>
            </a:r>
          </a:p>
        </p:txBody>
      </p:sp>
    </p:spTree>
    <p:extLst>
      <p:ext uri="{BB962C8B-B14F-4D97-AF65-F5344CB8AC3E}">
        <p14:creationId xmlns:p14="http://schemas.microsoft.com/office/powerpoint/2010/main" val="1452389266"/>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419170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38" y="2071456"/>
            <a:ext cx="10463986" cy="1720381"/>
          </a:xfrm>
          <a:prstGeom prst="rect">
            <a:avLst/>
          </a:prstGeom>
        </p:spPr>
        <p:txBody>
          <a:bodyPr lIns="146304" tIns="91440" rIns="146304" bIns="91440"/>
          <a:lstStyle>
            <a:lvl1pPr algn="l">
              <a:defRPr sz="5997">
                <a:gradFill>
                  <a:gsLst>
                    <a:gs pos="0">
                      <a:srgbClr val="FFFFFF"/>
                    </a:gs>
                    <a:gs pos="100000">
                      <a:srgbClr val="FFFFFF"/>
                    </a:gs>
                  </a:gsLst>
                  <a:lin ang="5400000" scaled="0"/>
                </a:gradFill>
              </a:defRPr>
            </a:lvl1pPr>
          </a:lstStyle>
          <a:p>
            <a:r>
              <a:rPr lang="en-US" dirty="0"/>
              <a:t>Data insights headline</a:t>
            </a:r>
          </a:p>
        </p:txBody>
      </p:sp>
    </p:spTree>
    <p:extLst>
      <p:ext uri="{BB962C8B-B14F-4D97-AF65-F5344CB8AC3E}">
        <p14:creationId xmlns:p14="http://schemas.microsoft.com/office/powerpoint/2010/main" val="3505648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6.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197">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3580304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7.xml><?xml version="1.0" encoding="utf-8"?>
<p:sldLayout xmlns:a="http://schemas.openxmlformats.org/drawingml/2006/main" xmlns:r="http://schemas.openxmlformats.org/officeDocument/2006/relationships" xmlns:p="http://schemas.openxmlformats.org/presentationml/2006/main" userDrawn="1">
  <p:cSld name="6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a:t>Click to edit Master title style</a:t>
            </a:r>
          </a:p>
        </p:txBody>
      </p:sp>
      <p:sp>
        <p:nvSpPr>
          <p:cNvPr id="10" name="Title"/>
          <p:cNvSpPr>
            <a:spLocks noGrp="1"/>
          </p:cNvSpPr>
          <p:nvPr>
            <p:ph type="body" sz="quarter" idx="10" hasCustomPrompt="1"/>
          </p:nvPr>
        </p:nvSpPr>
        <p:spPr>
          <a:xfrm>
            <a:off x="274638" y="2125666"/>
            <a:ext cx="10058400" cy="2483372"/>
          </a:xfrm>
          <a:prstGeom prst="rect">
            <a:avLst/>
          </a:prstGeom>
        </p:spPr>
        <p:txBody>
          <a:bodyPr/>
          <a:lstStyle>
            <a:lvl1pPr marL="0" indent="0">
              <a:buNone/>
              <a:defRPr sz="16591">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Demo</a:t>
            </a:r>
          </a:p>
        </p:txBody>
      </p:sp>
    </p:spTree>
    <p:extLst>
      <p:ext uri="{BB962C8B-B14F-4D97-AF65-F5344CB8AC3E}">
        <p14:creationId xmlns:p14="http://schemas.microsoft.com/office/powerpoint/2010/main" val="286632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8.xml><?xml version="1.0" encoding="utf-8"?>
<p:sldLayout xmlns:a="http://schemas.openxmlformats.org/drawingml/2006/main" xmlns:r="http://schemas.openxmlformats.org/officeDocument/2006/relationships" xmlns:p="http://schemas.openxmlformats.org/presentationml/2006/main"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127931"/>
            <a:ext cx="12436475" cy="738664"/>
          </a:xfrm>
          <a:prstGeom prst="rect">
            <a:avLst/>
          </a:prstGeom>
        </p:spPr>
        <p:txBody>
          <a:bodyPr anchor="ctr"/>
          <a:lstStyle>
            <a:lvl1pPr marL="0" indent="0">
              <a:buNone/>
              <a:defRPr baseline="0"/>
            </a:lvl1pPr>
          </a:lstStyle>
          <a:p>
            <a:r>
              <a:rPr lang="en-US" dirty="0"/>
              <a:t>click icon to insert photo</a:t>
            </a:r>
          </a:p>
        </p:txBody>
      </p:sp>
      <p:sp>
        <p:nvSpPr>
          <p:cNvPr id="7" name="Text Placeholder 4"/>
          <p:cNvSpPr>
            <a:spLocks noGrp="1"/>
          </p:cNvSpPr>
          <p:nvPr>
            <p:ph type="body" sz="quarter" idx="12"/>
          </p:nvPr>
        </p:nvSpPr>
        <p:spPr>
          <a:xfrm>
            <a:off x="274639" y="296870"/>
            <a:ext cx="10972802" cy="1130491"/>
          </a:xfrm>
          <a:prstGeom prst="rect">
            <a:avLst/>
          </a:prstGeom>
        </p:spPr>
        <p:txBody>
          <a:bodyPr lIns="146304" tIns="91440" rIns="146304" bIns="91440">
            <a:noAutofit/>
          </a:bodyPr>
          <a:lstStyle>
            <a:lvl1pPr marL="0" indent="0">
              <a:lnSpc>
                <a:spcPct val="90000"/>
              </a:lnSpc>
              <a:spcBef>
                <a:spcPts val="1196"/>
              </a:spcBef>
              <a:spcAft>
                <a:spcPts val="2402"/>
              </a:spcAft>
              <a:buFontTx/>
              <a:buNone/>
              <a:defRPr lang="en-US" sz="7000" b="0" i="0" kern="1200" spc="0" baseline="0" dirty="0" smtClean="0">
                <a:solidFill>
                  <a:schemeClr val="bg1"/>
                </a:solidFill>
                <a:latin typeface="+mj-lt"/>
                <a:ea typeface="+mn-ea"/>
                <a:cs typeface="+mn-cs"/>
              </a:defRPr>
            </a:lvl1pPr>
          </a:lstStyle>
          <a:p>
            <a:pPr marL="0" marR="0" lvl="0" indent="0" algn="l" defTabSz="932364" rtl="0" eaLnBrk="1" fontAlgn="auto" latinLnBrk="0" hangingPunct="1">
              <a:lnSpc>
                <a:spcPct val="90000"/>
              </a:lnSpc>
              <a:spcBef>
                <a:spcPts val="1196"/>
              </a:spcBef>
              <a:spcAft>
                <a:spcPts val="2402"/>
              </a:spcAft>
              <a:buClrTx/>
              <a:buSzPct val="90000"/>
              <a:buFontTx/>
              <a:buNone/>
              <a:tabLst/>
            </a:pPr>
            <a:r>
              <a:rPr lang="en-US" dirty="0"/>
              <a:t>Click to edit Master text</a:t>
            </a:r>
          </a:p>
        </p:txBody>
      </p:sp>
    </p:spTree>
    <p:extLst>
      <p:ext uri="{BB962C8B-B14F-4D97-AF65-F5344CB8AC3E}">
        <p14:creationId xmlns:p14="http://schemas.microsoft.com/office/powerpoint/2010/main" val="2121567820"/>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6"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5" y="3955786"/>
            <a:ext cx="7315137" cy="1828007"/>
          </a:xfrm>
          <a:noFill/>
        </p:spPr>
        <p:txBody>
          <a:bodyPr lIns="146304" tIns="109728" rIns="146304" bIns="109728">
            <a:noAutofit/>
          </a:bodyPr>
          <a:lstStyle>
            <a:lvl1pPr marL="0" indent="0">
              <a:spcBef>
                <a:spcPts val="0"/>
              </a:spcBef>
              <a:buNone/>
              <a:defRPr sz="319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57584" y="6243237"/>
            <a:ext cx="1280160" cy="274492"/>
          </a:xfrm>
          <a:prstGeom prst="rect">
            <a:avLst/>
          </a:prstGeom>
        </p:spPr>
      </p:pic>
    </p:spTree>
    <p:extLst>
      <p:ext uri="{BB962C8B-B14F-4D97-AF65-F5344CB8AC3E}">
        <p14:creationId xmlns:p14="http://schemas.microsoft.com/office/powerpoint/2010/main" val="36072280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4" name="Rectangle 3"/>
          <p:cNvSpPr/>
          <p:nvPr/>
        </p:nvSpPr>
        <p:spPr bwMode="ltGray">
          <a:xfrm>
            <a:off x="274705" y="1211287"/>
            <a:ext cx="10058335"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9" tIns="146257" rIns="182819" bIns="146257" numCol="1" spcCol="0" rtlCol="0" fromWordArt="0" anchor="t" anchorCtr="0" forceAA="0" compatLnSpc="1">
            <a:prstTxWarp prst="textNoShape">
              <a:avLst/>
            </a:prstTxWarp>
            <a:noAutofit/>
          </a:bodyPr>
          <a:lstStyle/>
          <a:p>
            <a:pPr algn="ctr" defTabSz="932182"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42" y="1209975"/>
            <a:ext cx="10056812" cy="2751698"/>
          </a:xfrm>
          <a:noFill/>
        </p:spPr>
        <p:txBody>
          <a:bodyPr tIns="89626" bIns="89626" anchor="t" anchorCtr="0"/>
          <a:lstStyle>
            <a:lvl1pPr>
              <a:defRPr sz="7241" spc="-101"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950715080"/>
      </p:ext>
    </p:extLst>
  </p:cSld>
  <p:clrMapOvr>
    <a:masterClrMapping/>
  </p:clrMapOvr>
  <p:transition spd="med">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2" y="1212854"/>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425" indent="0">
              <a:buNone/>
              <a:defRPr/>
            </a:lvl3pPr>
            <a:lvl4pPr marL="456849" indent="0">
              <a:buNone/>
              <a:defRPr/>
            </a:lvl4pPr>
            <a:lvl5pPr marL="68527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2493007"/>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2" y="1212854"/>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25" indent="0">
              <a:buNone/>
              <a:defRPr/>
            </a:lvl3pPr>
            <a:lvl4pPr marL="456849" indent="0">
              <a:buNone/>
              <a:defRPr/>
            </a:lvl4pPr>
            <a:lvl5pPr marL="68527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47786494"/>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2" y="1212850"/>
            <a:ext cx="11887200" cy="2092881"/>
          </a:xfrm>
        </p:spPr>
        <p:txBody>
          <a:bodyPr>
            <a:spAutoFit/>
          </a:bodyPr>
          <a:lstStyle>
            <a:lvl1pPr>
              <a:defRPr sz="3996">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6838278"/>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2" y="1212850"/>
            <a:ext cx="11887200" cy="2092881"/>
          </a:xfrm>
        </p:spPr>
        <p:txBody>
          <a:bodyPr>
            <a:spAutoFit/>
          </a:bodyPr>
          <a:lstStyle>
            <a:lvl1pPr>
              <a:defRPr sz="3996"/>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50037683"/>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3" y="1212849"/>
            <a:ext cx="5486399" cy="1914370"/>
          </a:xfrm>
        </p:spPr>
        <p:txBody>
          <a:bodyPr wrap="square">
            <a:spAutoFit/>
          </a:bodyPr>
          <a:lstStyle>
            <a:lvl1pPr marL="0" indent="0">
              <a:spcBef>
                <a:spcPts val="1224"/>
              </a:spcBef>
              <a:buClr>
                <a:schemeClr val="tx1"/>
              </a:buClr>
              <a:buFont typeface="Wingdings" pitchFamily="2" charset="2"/>
              <a:buNone/>
              <a:defRPr sz="3196">
                <a:gradFill>
                  <a:gsLst>
                    <a:gs pos="1250">
                      <a:schemeClr val="tx2"/>
                    </a:gs>
                    <a:gs pos="99000">
                      <a:schemeClr val="tx2"/>
                    </a:gs>
                  </a:gsLst>
                  <a:lin ang="5400000" scaled="0"/>
                </a:gradFill>
              </a:defRPr>
            </a:lvl1pPr>
            <a:lvl2pPr marL="0" indent="0">
              <a:buNone/>
              <a:defRPr sz="2000"/>
            </a:lvl2pPr>
            <a:lvl3pPr marL="231598" indent="0">
              <a:buNone/>
              <a:tabLst/>
              <a:defRPr sz="2000"/>
            </a:lvl3pPr>
            <a:lvl4pPr marL="460022" indent="0">
              <a:buNone/>
              <a:defRPr/>
            </a:lvl4pPr>
            <a:lvl5pPr marL="68527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6">
                <a:gradFill>
                  <a:gsLst>
                    <a:gs pos="1250">
                      <a:schemeClr val="tx2"/>
                    </a:gs>
                    <a:gs pos="99000">
                      <a:schemeClr val="tx2"/>
                    </a:gs>
                  </a:gsLst>
                  <a:lin ang="5400000" scaled="0"/>
                </a:gradFill>
              </a:defRPr>
            </a:lvl1pPr>
            <a:lvl2pPr marL="0" indent="0">
              <a:buNone/>
              <a:defRPr sz="2000"/>
            </a:lvl2pPr>
            <a:lvl3pPr marL="231598" indent="0">
              <a:buNone/>
              <a:tabLst/>
              <a:defRPr sz="2000"/>
            </a:lvl3pPr>
            <a:lvl4pPr marL="460022" indent="0">
              <a:buNone/>
              <a:defRPr/>
            </a:lvl4pPr>
            <a:lvl5pPr marL="68527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02308886"/>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3" y="1212849"/>
            <a:ext cx="5486399" cy="1914370"/>
          </a:xfrm>
        </p:spPr>
        <p:txBody>
          <a:bodyPr wrap="square">
            <a:spAutoFit/>
          </a:bodyPr>
          <a:lstStyle>
            <a:lvl1pPr marL="0" indent="0">
              <a:spcBef>
                <a:spcPts val="1224"/>
              </a:spcBef>
              <a:buClr>
                <a:schemeClr val="tx1"/>
              </a:buClr>
              <a:buFont typeface="Wingdings" pitchFamily="2" charset="2"/>
              <a:buNone/>
              <a:defRPr sz="3196"/>
            </a:lvl1pPr>
            <a:lvl2pPr marL="0" indent="0">
              <a:buNone/>
              <a:defRPr sz="2000"/>
            </a:lvl2pPr>
            <a:lvl3pPr marL="231598" indent="0">
              <a:buNone/>
              <a:tabLst/>
              <a:defRPr sz="2000"/>
            </a:lvl3pPr>
            <a:lvl4pPr marL="460022" indent="0">
              <a:buNone/>
              <a:defRPr/>
            </a:lvl4pPr>
            <a:lvl5pPr marL="68527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6"/>
            </a:lvl1pPr>
            <a:lvl2pPr marL="0" indent="0">
              <a:buNone/>
              <a:defRPr sz="2000"/>
            </a:lvl2pPr>
            <a:lvl3pPr marL="231598" indent="0">
              <a:buNone/>
              <a:tabLst/>
              <a:defRPr sz="2000"/>
            </a:lvl3pPr>
            <a:lvl4pPr marL="460022" indent="0">
              <a:buNone/>
              <a:defRPr/>
            </a:lvl4pPr>
            <a:lvl5pPr marL="68527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90682971"/>
      </p:ext>
    </p:extLst>
  </p:cSld>
  <p:clrMapOvr>
    <a:masterClrMapping/>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3" y="1212849"/>
            <a:ext cx="5486399" cy="2425279"/>
          </a:xfrm>
        </p:spPr>
        <p:txBody>
          <a:bodyPr wrap="square">
            <a:spAutoFit/>
          </a:bodyPr>
          <a:lstStyle>
            <a:lvl1pPr marL="287117" indent="-287117">
              <a:spcBef>
                <a:spcPts val="1224"/>
              </a:spcBef>
              <a:buClr>
                <a:schemeClr val="tx2"/>
              </a:buClr>
              <a:buFont typeface="Arial" pitchFamily="34" charset="0"/>
              <a:buChar char="•"/>
              <a:defRPr sz="3196">
                <a:gradFill>
                  <a:gsLst>
                    <a:gs pos="1250">
                      <a:schemeClr val="tx2"/>
                    </a:gs>
                    <a:gs pos="99000">
                      <a:schemeClr val="tx2"/>
                    </a:gs>
                  </a:gsLst>
                  <a:lin ang="5400000" scaled="0"/>
                </a:gradFill>
              </a:defRPr>
            </a:lvl1pPr>
            <a:lvl2pPr marL="530758" indent="-233016">
              <a:defRPr sz="2400"/>
            </a:lvl2pPr>
            <a:lvl3pPr marL="699047" indent="-168290">
              <a:tabLst/>
              <a:defRPr sz="2000"/>
            </a:lvl3pPr>
            <a:lvl4pPr marL="880281" indent="-181235">
              <a:defRPr/>
            </a:lvl4pPr>
            <a:lvl5pPr marL="1048569" indent="-16829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117" indent="-287117">
              <a:spcBef>
                <a:spcPts val="1224"/>
              </a:spcBef>
              <a:buClr>
                <a:schemeClr val="tx2"/>
              </a:buClr>
              <a:buFont typeface="Arial" pitchFamily="34" charset="0"/>
              <a:buChar char="•"/>
              <a:defRPr sz="3196">
                <a:gradFill>
                  <a:gsLst>
                    <a:gs pos="1250">
                      <a:schemeClr val="tx2"/>
                    </a:gs>
                    <a:gs pos="99000">
                      <a:schemeClr val="tx2"/>
                    </a:gs>
                  </a:gsLst>
                  <a:lin ang="5400000" scaled="0"/>
                </a:gradFill>
              </a:defRPr>
            </a:lvl1pPr>
            <a:lvl2pPr marL="530758" indent="-233016">
              <a:defRPr sz="2400"/>
            </a:lvl2pPr>
            <a:lvl3pPr marL="699047" indent="-168290">
              <a:tabLst/>
              <a:defRPr sz="2000"/>
            </a:lvl3pPr>
            <a:lvl4pPr marL="880281" indent="-181235">
              <a:defRPr/>
            </a:lvl4pPr>
            <a:lvl5pPr marL="1048569" indent="-16829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8141106"/>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3" y="1212849"/>
            <a:ext cx="5486399" cy="2425279"/>
          </a:xfrm>
        </p:spPr>
        <p:txBody>
          <a:bodyPr wrap="square">
            <a:spAutoFit/>
          </a:bodyPr>
          <a:lstStyle>
            <a:lvl1pPr marL="287117" indent="-287117">
              <a:spcBef>
                <a:spcPts val="1224"/>
              </a:spcBef>
              <a:buClr>
                <a:schemeClr val="tx1"/>
              </a:buClr>
              <a:buFont typeface="Arial" pitchFamily="34" charset="0"/>
              <a:buChar char="•"/>
              <a:defRPr sz="3196"/>
            </a:lvl1pPr>
            <a:lvl2pPr marL="530758" indent="-233016">
              <a:defRPr sz="2400"/>
            </a:lvl2pPr>
            <a:lvl3pPr marL="699047" indent="-168290">
              <a:tabLst/>
              <a:defRPr sz="2000"/>
            </a:lvl3pPr>
            <a:lvl4pPr marL="880281" indent="-181235">
              <a:defRPr/>
            </a:lvl4pPr>
            <a:lvl5pPr marL="1048569" indent="-16829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117" indent="-287117">
              <a:spcBef>
                <a:spcPts val="1224"/>
              </a:spcBef>
              <a:buClr>
                <a:schemeClr val="tx1"/>
              </a:buClr>
              <a:buFont typeface="Arial" pitchFamily="34" charset="0"/>
              <a:buChar char="•"/>
              <a:defRPr sz="3196"/>
            </a:lvl1pPr>
            <a:lvl2pPr marL="530758" indent="-233016">
              <a:defRPr sz="2400"/>
            </a:lvl2pPr>
            <a:lvl3pPr marL="699047" indent="-168290">
              <a:tabLst/>
              <a:defRPr sz="2000"/>
            </a:lvl3pPr>
            <a:lvl4pPr marL="880281" indent="-181235">
              <a:defRPr/>
            </a:lvl4pPr>
            <a:lvl5pPr marL="1048569" indent="-16829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22873732"/>
      </p:ext>
    </p:extLst>
  </p:cSld>
  <p:clrMapOvr>
    <a:masterClrMapping/>
  </p:clrMapOvr>
  <p:transition>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02517341"/>
      </p:ext>
    </p:extLst>
  </p:cSld>
  <p:clrMapOvr>
    <a:masterClrMapping/>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7"/>
            <a:ext cx="10056812" cy="1181862"/>
          </a:xfrm>
          <a:noFill/>
        </p:spPr>
        <p:txBody>
          <a:bodyPr tIns="91440" bIns="91440" anchor="t" anchorCtr="0">
            <a:spAutoFit/>
          </a:bodyPr>
          <a:lstStyle>
            <a:lvl1pPr>
              <a:defRPr sz="7192"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2" y="3954463"/>
            <a:ext cx="10058401" cy="738664"/>
          </a:xfrm>
          <a:noFill/>
        </p:spPr>
        <p:txBody>
          <a:bodyPr lIns="182880" tIns="146304" rIns="182880" bIns="146304">
            <a:spAutoFit/>
          </a:bodyPr>
          <a:lstStyle>
            <a:lvl1pPr marL="0" indent="0">
              <a:spcBef>
                <a:spcPts val="0"/>
              </a:spcBef>
              <a:buNone/>
              <a:defRPr sz="319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753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Video slide 2">
    <p:spTree>
      <p:nvGrpSpPr>
        <p:cNvPr id="1" name=""/>
        <p:cNvGrpSpPr/>
        <p:nvPr/>
      </p:nvGrpSpPr>
      <p:grpSpPr>
        <a:xfrm>
          <a:off x="0" y="0"/>
          <a:ext cx="0" cy="0"/>
          <a:chOff x="0" y="0"/>
          <a:chExt cx="0" cy="0"/>
        </a:xfrm>
      </p:grpSpPr>
      <p:sp>
        <p:nvSpPr>
          <p:cNvPr id="4" name="Rectangle 3"/>
          <p:cNvSpPr/>
          <p:nvPr/>
        </p:nvSpPr>
        <p:spPr bwMode="ltGray">
          <a:xfrm>
            <a:off x="274705" y="1211287"/>
            <a:ext cx="10058335"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9" tIns="146257" rIns="182819" bIns="146257" numCol="1" spcCol="0" rtlCol="0" fromWordArt="0" anchor="t" anchorCtr="0" forceAA="0" compatLnSpc="1">
            <a:prstTxWarp prst="textNoShape">
              <a:avLst/>
            </a:prstTxWarp>
            <a:noAutofit/>
          </a:bodyPr>
          <a:lstStyle/>
          <a:p>
            <a:pPr algn="ctr" defTabSz="932182"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42" y="1209975"/>
            <a:ext cx="10056812" cy="2751698"/>
          </a:xfrm>
          <a:noFill/>
        </p:spPr>
        <p:txBody>
          <a:bodyPr tIns="89626" bIns="89626" anchor="t" anchorCtr="0"/>
          <a:lstStyle>
            <a:lvl1pPr>
              <a:defRPr sz="7241" spc="-101"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709117077"/>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7"/>
            <a:ext cx="10056812" cy="1181862"/>
          </a:xfrm>
          <a:noFill/>
        </p:spPr>
        <p:txBody>
          <a:bodyPr tIns="91440" bIns="91440" anchor="t" anchorCtr="0">
            <a:spAutoFit/>
          </a:bodyPr>
          <a:lstStyle>
            <a:lvl1pPr>
              <a:defRPr lang="en-US" sz="7192"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731827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2" y="2125666"/>
            <a:ext cx="11887200" cy="1181862"/>
          </a:xfrm>
          <a:noFill/>
        </p:spPr>
        <p:txBody>
          <a:bodyPr tIns="91440" bIns="91440" anchor="t" anchorCtr="0">
            <a:spAutoFit/>
          </a:bodyPr>
          <a:lstStyle>
            <a:lvl1pPr>
              <a:defRPr sz="7192"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18776503"/>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2" y="2125666"/>
            <a:ext cx="11887200" cy="1181862"/>
          </a:xfrm>
          <a:noFill/>
        </p:spPr>
        <p:txBody>
          <a:bodyPr tIns="91440" bIns="91440" anchor="t" anchorCtr="0">
            <a:spAutoFit/>
          </a:bodyPr>
          <a:lstStyle>
            <a:lvl1pPr>
              <a:defRPr sz="7192"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747601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2" y="2125666"/>
            <a:ext cx="11887200" cy="1181862"/>
          </a:xfrm>
          <a:noFill/>
        </p:spPr>
        <p:txBody>
          <a:bodyPr tIns="91440" bIns="91440" anchor="t" anchorCtr="0">
            <a:spAutoFit/>
          </a:bodyPr>
          <a:lstStyle>
            <a:lvl1pPr>
              <a:defRPr sz="7192"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861897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2" y="2125666"/>
            <a:ext cx="11887200" cy="1181862"/>
          </a:xfrm>
          <a:noFill/>
        </p:spPr>
        <p:txBody>
          <a:bodyPr tIns="91440" bIns="91440" anchor="t" anchorCtr="0">
            <a:spAutoFit/>
          </a:bodyPr>
          <a:lstStyle>
            <a:lvl1pPr>
              <a:defRPr sz="7192"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9460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8979039"/>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9838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76262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39549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12" tIns="46612" rIns="46612" bIns="46612" numCol="1" spcCol="0" rtlCol="0" fromWordArt="0" anchor="ctr" anchorCtr="0" forceAA="0" compatLnSpc="1">
            <a:prstTxWarp prst="textNoShape">
              <a:avLst/>
            </a:prstTxWarp>
            <a:noAutofit/>
          </a:bodyPr>
          <a:lstStyle/>
          <a:p>
            <a:pPr algn="ctr" defTabSz="931756"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61"/>
            <a:ext cx="11887199" cy="1995931"/>
          </a:xfrm>
        </p:spPr>
        <p:txBody>
          <a:bodyPr/>
          <a:lstStyle>
            <a:lvl1pPr marL="0" indent="0">
              <a:buNone/>
              <a:defRPr sz="329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28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1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393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18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1098570"/>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6"/>
            <a:ext cx="11887200" cy="1831975"/>
          </a:xfrm>
          <a:noFill/>
        </p:spPr>
        <p:txBody>
          <a:bodyPr tIns="89626" bIns="89626" anchor="t" anchorCtr="0"/>
          <a:lstStyle>
            <a:lvl1pPr>
              <a:defRPr sz="8873"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66717677"/>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80"/>
            <a:ext cx="11887199" cy="403187"/>
          </a:xfrm>
          <a:prstGeom prst="rect">
            <a:avLst/>
          </a:prstGeom>
          <a:noFill/>
          <a:ln w="12700">
            <a:noFill/>
            <a:miter lim="800000"/>
            <a:headEnd type="none" w="sm" len="sm"/>
            <a:tailEnd type="none" w="sm" len="sm"/>
          </a:ln>
          <a:effectLst/>
        </p:spPr>
        <p:txBody>
          <a:bodyPr vert="horz" wrap="square" lIns="182776" tIns="146220" rIns="182776" bIns="146220" numCol="1" anchor="t" anchorCtr="0" compatLnSpc="1">
            <a:prstTxWarp prst="textNoShape">
              <a:avLst/>
            </a:prstTxWarp>
            <a:spAutoFit/>
          </a:bodyPr>
          <a:lstStyle/>
          <a:p>
            <a:pPr defTabSz="931574" eaLnBrk="0" hangingPunct="0"/>
            <a:r>
              <a:rPr lang="en-US" sz="700" dirty="0">
                <a:gradFill>
                  <a:gsLst>
                    <a:gs pos="0">
                      <a:srgbClr val="505050"/>
                    </a:gs>
                    <a:gs pos="100000">
                      <a:srgbClr val="50505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a:xfrm>
            <a:off x="459234" y="3145040"/>
            <a:ext cx="3291840" cy="705834"/>
          </a:xfrm>
          <a:prstGeom prst="rect">
            <a:avLst/>
          </a:prstGeom>
        </p:spPr>
      </p:pic>
    </p:spTree>
    <p:extLst>
      <p:ext uri="{BB962C8B-B14F-4D97-AF65-F5344CB8AC3E}">
        <p14:creationId xmlns:p14="http://schemas.microsoft.com/office/powerpoint/2010/main" val="1292201684"/>
      </p:ext>
    </p:extLst>
  </p:cSld>
  <p:clrMapOvr>
    <a:masterClrMapping/>
  </p:clrMapOvr>
  <p:transition>
    <p:fade/>
  </p:transition>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80"/>
            <a:ext cx="11887199" cy="403187"/>
          </a:xfrm>
          <a:prstGeom prst="rect">
            <a:avLst/>
          </a:prstGeom>
          <a:noFill/>
          <a:ln w="12700">
            <a:noFill/>
            <a:miter lim="800000"/>
            <a:headEnd type="none" w="sm" len="sm"/>
            <a:tailEnd type="none" w="sm" len="sm"/>
          </a:ln>
          <a:effectLst/>
        </p:spPr>
        <p:txBody>
          <a:bodyPr vert="horz" wrap="square" lIns="182776" tIns="146220" rIns="182776" bIns="146220" numCol="1" anchor="t" anchorCtr="0" compatLnSpc="1">
            <a:prstTxWarp prst="textNoShape">
              <a:avLst/>
            </a:prstTxWarp>
            <a:spAutoFit/>
          </a:bodyPr>
          <a:lstStyle/>
          <a:p>
            <a:pPr defTabSz="931574" eaLnBrk="0" hangingPunct="0"/>
            <a:r>
              <a:rPr lang="en-US" sz="700"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9236" y="3145040"/>
            <a:ext cx="3291840" cy="705836"/>
          </a:xfrm>
          <a:prstGeom prst="rect">
            <a:avLst/>
          </a:prstGeom>
        </p:spPr>
      </p:pic>
    </p:spTree>
    <p:extLst>
      <p:ext uri="{BB962C8B-B14F-4D97-AF65-F5344CB8AC3E}">
        <p14:creationId xmlns:p14="http://schemas.microsoft.com/office/powerpoint/2010/main" val="36007790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2" y="1212852"/>
            <a:ext cx="11887200" cy="2443746"/>
          </a:xfrm>
          <a:prstGeom prst="rect">
            <a:avLst/>
          </a:prstGeom>
        </p:spPr>
        <p:txBody>
          <a:bodyPr/>
          <a:lstStyle>
            <a:lvl1pPr marL="290289" indent="-290289">
              <a:buClr>
                <a:schemeClr val="tx1"/>
              </a:buClr>
              <a:buSzPct val="90000"/>
              <a:buFont typeface="Arial" pitchFamily="34" charset="0"/>
              <a:buChar char="•"/>
              <a:defRPr sz="359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062" indent="-280773">
              <a:buClr>
                <a:schemeClr val="tx1"/>
              </a:buClr>
              <a:buSzPct val="90000"/>
              <a:buFont typeface="Arial" pitchFamily="34" charset="0"/>
              <a:buChar char="•"/>
              <a:defRPr sz="319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351" indent="-290289">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775" indent="-228425">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198" indent="-228425">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6"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362618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41" y="1139825"/>
            <a:ext cx="11033125" cy="574675"/>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r>
              <a:rPr/>
              <a:t>Microsoft Confidential</a:t>
            </a:r>
          </a:p>
        </p:txBody>
      </p:sp>
      <p:sp>
        <p:nvSpPr>
          <p:cNvPr id="5" name="Slide Number Placeholder 3"/>
          <p:cNvSpPr>
            <a:spLocks noGrp="1"/>
          </p:cNvSpPr>
          <p:nvPr>
            <p:ph type="sldNum" sz="quarter" idx="15"/>
          </p:nvPr>
        </p:nvSpPr>
        <p:spPr/>
        <p:txBody>
          <a:bodyPr/>
          <a:lstStyle>
            <a:lvl1pPr defTabSz="931326"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
        <p:nvSpPr>
          <p:cNvPr id="2" name="Title 1"/>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427049514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r>
              <a:rPr/>
              <a:t>Microsoft Confidential</a:t>
            </a:r>
          </a:p>
        </p:txBody>
      </p:sp>
      <p:sp>
        <p:nvSpPr>
          <p:cNvPr id="3" name="Slide Number Placeholder 2"/>
          <p:cNvSpPr>
            <a:spLocks noGrp="1"/>
          </p:cNvSpPr>
          <p:nvPr>
            <p:ph type="sldNum" sz="quarter" idx="11"/>
          </p:nvPr>
        </p:nvSpPr>
        <p:spPr/>
        <p:txBody>
          <a:bodyPr/>
          <a:lstStyle>
            <a:lvl1pPr defTabSz="931326"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60417057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Pattern Layout">
    <p:spTree>
      <p:nvGrpSpPr>
        <p:cNvPr id="1" name=""/>
        <p:cNvGrpSpPr/>
        <p:nvPr/>
      </p:nvGrpSpPr>
      <p:grpSpPr>
        <a:xfrm>
          <a:off x="0" y="0"/>
          <a:ext cx="0" cy="0"/>
          <a:chOff x="0" y="0"/>
          <a:chExt cx="0" cy="0"/>
        </a:xfrm>
      </p:grpSpPr>
      <p:grpSp>
        <p:nvGrpSpPr>
          <p:cNvPr id="4" name="Group 2439"/>
          <p:cNvGrpSpPr/>
          <p:nvPr userDrawn="1"/>
        </p:nvGrpSpPr>
        <p:grpSpPr>
          <a:xfrm>
            <a:off x="75133" y="63501"/>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dirty="0">
                  <a:solidFill>
                    <a:srgbClr val="000000"/>
                  </a:solidFill>
                  <a:ea typeface="MS PGothic" charset="0"/>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dirty="0">
                  <a:solidFill>
                    <a:srgbClr val="000000"/>
                  </a:solidFill>
                  <a:ea typeface="MS PGothic" charset="0"/>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grpSp>
        <p:nvGrpSpPr>
          <p:cNvPr id="1279" name="Group 2440"/>
          <p:cNvGrpSpPr/>
          <p:nvPr userDrawn="1"/>
        </p:nvGrpSpPr>
        <p:grpSpPr>
          <a:xfrm>
            <a:off x="88900" y="3514725"/>
            <a:ext cx="12348642" cy="342900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dirty="0">
                  <a:solidFill>
                    <a:srgbClr val="000000"/>
                  </a:solidFill>
                  <a:ea typeface="MS PGothic" charset="0"/>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dirty="0">
                  <a:solidFill>
                    <a:srgbClr val="000000"/>
                  </a:solidFill>
                  <a:ea typeface="MS PGothic" charset="0"/>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sp>
        <p:nvSpPr>
          <p:cNvPr id="2554" name="Rectangle 2553"/>
          <p:cNvSpPr/>
          <p:nvPr userDrawn="1"/>
        </p:nvSpPr>
        <p:spPr bwMode="auto">
          <a:xfrm>
            <a:off x="0"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r>
              <a:rPr/>
              <a:t>Microsoft Confidential</a:t>
            </a:r>
          </a:p>
        </p:txBody>
      </p:sp>
      <p:sp>
        <p:nvSpPr>
          <p:cNvPr id="3" name="Slide Number Placeholder 2"/>
          <p:cNvSpPr>
            <a:spLocks noGrp="1"/>
          </p:cNvSpPr>
          <p:nvPr>
            <p:ph type="sldNum" sz="quarter" idx="11"/>
          </p:nvPr>
        </p:nvSpPr>
        <p:spPr/>
        <p:txBody>
          <a:bodyPr/>
          <a:lstStyle>
            <a:lvl1pPr defTabSz="931326"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318098073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userDrawn="1">
  <p:cSld name="52pt Title">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fontAlgn="base">
              <a:spcBef>
                <a:spcPct val="0"/>
              </a:spcBef>
              <a:spcAft>
                <a:spcPct val="0"/>
              </a:spcAft>
              <a:defRPr>
                <a:solidFill>
                  <a:srgbClr val="002050"/>
                </a:solidFill>
              </a:defRPr>
            </a:lvl1pPr>
          </a:lstStyle>
          <a:p>
            <a:pPr>
              <a:defRPr/>
            </a:pPr>
            <a:r>
              <a:t>Microsoft Confidential</a:t>
            </a:r>
          </a:p>
        </p:txBody>
      </p:sp>
      <p:sp>
        <p:nvSpPr>
          <p:cNvPr id="4" name="Slide Number Placeholder 3"/>
          <p:cNvSpPr>
            <a:spLocks noGrp="1"/>
          </p:cNvSpPr>
          <p:nvPr>
            <p:ph type="sldNum" sz="quarter" idx="11"/>
          </p:nvPr>
        </p:nvSpPr>
        <p:spPr/>
        <p:txBody>
          <a:bodyPr/>
          <a:lstStyle>
            <a:lvl1pPr defTabSz="931326" fontAlgn="base">
              <a:spcBef>
                <a:spcPct val="0"/>
              </a:spcBef>
              <a:spcAft>
                <a:spcPct val="0"/>
              </a:spcAft>
              <a:defRPr>
                <a:solidFill>
                  <a:srgbClr val="002050"/>
                </a:solidFill>
              </a:defRPr>
            </a:lvl1pPr>
          </a:lstStyle>
          <a:p>
            <a:pPr>
              <a:defRPr/>
            </a:pPr>
            <a:fld id="{EC136591-509A-F246-B30E-5ECE4A4A5F5E}" type="slidenum">
              <a:rPr/>
              <a:pPr>
                <a:defRPr/>
              </a:pPr>
              <a:t>‹#›</a:t>
            </a:fld>
            <a:endParaRPr/>
          </a:p>
        </p:txBody>
      </p:sp>
      <p:sp>
        <p:nvSpPr>
          <p:cNvPr id="2" name="Title 1"/>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3015156901"/>
      </p:ext>
    </p:extLst>
  </p:cSld>
  <p:clrMapOvr>
    <a:masterClrMapping/>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pSp>
        <p:nvGrpSpPr>
          <p:cNvPr id="4" name="Group 2439"/>
          <p:cNvGrpSpPr/>
          <p:nvPr userDrawn="1"/>
        </p:nvGrpSpPr>
        <p:grpSpPr>
          <a:xfrm>
            <a:off x="75133" y="63501"/>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dirty="0">
                  <a:solidFill>
                    <a:srgbClr val="000000"/>
                  </a:solidFill>
                  <a:ea typeface="MS PGothic" charset="0"/>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dirty="0">
                  <a:solidFill>
                    <a:srgbClr val="000000"/>
                  </a:solidFill>
                  <a:ea typeface="MS PGothic" charset="0"/>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grpSp>
        <p:nvGrpSpPr>
          <p:cNvPr id="1279" name="Group 2440"/>
          <p:cNvGrpSpPr/>
          <p:nvPr userDrawn="1"/>
        </p:nvGrpSpPr>
        <p:grpSpPr>
          <a:xfrm>
            <a:off x="88900" y="3514725"/>
            <a:ext cx="12348642" cy="342900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dirty="0">
                  <a:solidFill>
                    <a:srgbClr val="000000"/>
                  </a:solidFill>
                  <a:ea typeface="MS PGothic" charset="0"/>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dirty="0">
                  <a:solidFill>
                    <a:srgbClr val="000000"/>
                  </a:solidFill>
                  <a:ea typeface="MS PGothic" charset="0"/>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326" fontAlgn="base">
                  <a:spcBef>
                    <a:spcPct val="0"/>
                  </a:spcBef>
                  <a:spcAft>
                    <a:spcPct val="0"/>
                  </a:spcAft>
                </a:pPr>
                <a:endParaRPr lang="en-US" sz="2400">
                  <a:solidFill>
                    <a:srgbClr val="000000"/>
                  </a:solidFill>
                  <a:ea typeface="MS PGothic" charset="0"/>
                </a:endParaRPr>
              </a:p>
            </p:txBody>
          </p:sp>
        </p:grpSp>
      </p:grpSp>
      <p:sp>
        <p:nvSpPr>
          <p:cNvPr id="2554" name="Rectangle 2553"/>
          <p:cNvSpPr/>
          <p:nvPr userDrawn="1"/>
        </p:nvSpPr>
        <p:spPr bwMode="auto">
          <a:xfrm>
            <a:off x="0"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3" name="Title 2"/>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3164032919"/>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197">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2091594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6"/>
            <a:ext cx="11887200" cy="1831975"/>
          </a:xfrm>
          <a:noFill/>
        </p:spPr>
        <p:txBody>
          <a:bodyPr tIns="89626" bIns="89626" anchor="t" anchorCtr="0"/>
          <a:lstStyle>
            <a:lvl1pPr>
              <a:defRPr sz="8873"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62597397"/>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40" y="1209973"/>
            <a:ext cx="7314044" cy="3475534"/>
          </a:xfrm>
          <a:noFill/>
        </p:spPr>
        <p:txBody>
          <a:bodyPr tIns="91440" bIns="91440" anchor="t" anchorCtr="0"/>
          <a:lstStyle>
            <a:lvl1pPr>
              <a:defRPr sz="7199" spc="-101"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1" y="4685508"/>
            <a:ext cx="7315200"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7757449" y="304192"/>
            <a:ext cx="4409440" cy="6400800"/>
          </a:xfrm>
          <a:prstGeom prst="rect">
            <a:avLst/>
          </a:prstGeom>
        </p:spPr>
      </p:pic>
      <p:sp>
        <p:nvSpPr>
          <p:cNvPr id="7" name="TextBox 7"/>
          <p:cNvSpPr txBox="1"/>
          <p:nvPr userDrawn="1"/>
        </p:nvSpPr>
        <p:spPr bwMode="white">
          <a:xfrm>
            <a:off x="4327496" y="6697629"/>
            <a:ext cx="3781484"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196487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6"/>
            <a:ext cx="11887200" cy="1831975"/>
          </a:xfrm>
          <a:noFill/>
        </p:spPr>
        <p:txBody>
          <a:bodyPr tIns="89626" bIns="89626" anchor="t" anchorCtr="0"/>
          <a:lstStyle>
            <a:lvl1pPr>
              <a:defRPr sz="8873"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3904508"/>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143688"/>
          </a:xfrm>
        </p:spPr>
        <p:txBody>
          <a:bodyPr/>
          <a:lstStyle>
            <a:lvl1pPr marL="0" indent="0">
              <a:buNone/>
              <a:defRPr>
                <a:gradFill>
                  <a:gsLst>
                    <a:gs pos="1250">
                      <a:schemeClr val="tx2"/>
                    </a:gs>
                    <a:gs pos="99000">
                      <a:schemeClr val="tx2"/>
                    </a:gs>
                  </a:gsLst>
                  <a:lin ang="5400000" scaled="0"/>
                </a:gradFill>
              </a:defRPr>
            </a:lvl1pPr>
            <a:lvl2pPr marL="0" indent="0">
              <a:buFontTx/>
              <a:buNone/>
              <a:defRPr sz="2040"/>
            </a:lvl2pPr>
            <a:lvl3pPr marL="228530" indent="0">
              <a:buNone/>
              <a:defRPr/>
            </a:lvl3pPr>
            <a:lvl4pPr marL="457057" indent="0">
              <a:buNone/>
              <a:defRPr/>
            </a:lvl4pPr>
            <a:lvl5pPr marL="68558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01557419"/>
      </p:ext>
    </p:extLst>
  </p:cSld>
  <p:clrMapOvr>
    <a:masterClrMapping/>
  </p:clrMapOvr>
  <p:transition spd="med">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143688"/>
          </a:xfrm>
        </p:spPr>
        <p:txBody>
          <a:bodyPr/>
          <a:lstStyle>
            <a:lvl1pPr marL="0" indent="0">
              <a:buNone/>
              <a:defRPr>
                <a:gradFill>
                  <a:gsLst>
                    <a:gs pos="1250">
                      <a:schemeClr val="tx1"/>
                    </a:gs>
                    <a:gs pos="99000">
                      <a:schemeClr val="tx1"/>
                    </a:gs>
                  </a:gsLst>
                  <a:lin ang="5400000" scaled="0"/>
                </a:gradFill>
              </a:defRPr>
            </a:lvl1pPr>
            <a:lvl2pPr marL="0" indent="0">
              <a:buFontTx/>
              <a:buNone/>
              <a:defRPr sz="2040"/>
            </a:lvl2pPr>
            <a:lvl3pPr marL="228530" indent="0">
              <a:buNone/>
              <a:defRPr/>
            </a:lvl3pPr>
            <a:lvl4pPr marL="457057" indent="0">
              <a:buNone/>
              <a:defRPr/>
            </a:lvl4pPr>
            <a:lvl5pPr marL="68558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59882341"/>
      </p:ext>
    </p:extLst>
  </p:cSld>
  <p:clrMapOvr>
    <a:masterClrMapping/>
  </p:clrMapOvr>
  <p:transition spd="med">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3"/>
            <a:ext cx="11887200" cy="2212748"/>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92636239"/>
      </p:ext>
    </p:extLst>
  </p:cSld>
  <p:clrMapOvr>
    <a:masterClrMapping/>
  </p:clrMapOvr>
  <p:transition spd="med">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3"/>
            <a:ext cx="11887200" cy="2212748"/>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53959611"/>
      </p:ext>
    </p:extLst>
  </p:cSld>
  <p:clrMapOvr>
    <a:masterClrMapping/>
  </p:clrMapOvr>
  <p:transition spd="med">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51"/>
            <a:ext cx="5486399" cy="2581584"/>
          </a:xfrm>
        </p:spPr>
        <p:txBody>
          <a:bodyPr wrap="square">
            <a:spAutoFit/>
          </a:bodyPr>
          <a:lstStyle>
            <a:lvl1pPr marL="0" indent="0">
              <a:spcBef>
                <a:spcPts val="1224"/>
              </a:spcBef>
              <a:buClr>
                <a:schemeClr val="tx1"/>
              </a:buClr>
              <a:buFont typeface="Wingdings" pitchFamily="2" charset="2"/>
              <a:buNone/>
              <a:defRPr sz="3570">
                <a:gradFill>
                  <a:gsLst>
                    <a:gs pos="1250">
                      <a:schemeClr val="tx2"/>
                    </a:gs>
                    <a:gs pos="99000">
                      <a:schemeClr val="tx2"/>
                    </a:gs>
                  </a:gsLst>
                  <a:lin ang="5400000" scaled="0"/>
                </a:gradFill>
              </a:defRPr>
            </a:lvl1pPr>
            <a:lvl2pPr marL="0" indent="0">
              <a:buNone/>
              <a:defRPr sz="2040"/>
            </a:lvl2pPr>
            <a:lvl3pPr marL="231702" indent="0">
              <a:buNone/>
              <a:tabLst/>
              <a:defRPr sz="2040"/>
            </a:lvl3pPr>
            <a:lvl4pPr marL="460232" indent="0">
              <a:buNone/>
              <a:defRPr/>
            </a:lvl4pPr>
            <a:lvl5pPr marL="68558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51"/>
            <a:ext cx="5486399" cy="2581584"/>
          </a:xfrm>
        </p:spPr>
        <p:txBody>
          <a:bodyPr wrap="square">
            <a:spAutoFit/>
          </a:bodyPr>
          <a:lstStyle>
            <a:lvl1pPr marL="0" indent="0">
              <a:spcBef>
                <a:spcPts val="1224"/>
              </a:spcBef>
              <a:buClr>
                <a:schemeClr val="tx1"/>
              </a:buClr>
              <a:buFont typeface="Wingdings" pitchFamily="2" charset="2"/>
              <a:buNone/>
              <a:defRPr sz="3570">
                <a:gradFill>
                  <a:gsLst>
                    <a:gs pos="1250">
                      <a:schemeClr val="tx2"/>
                    </a:gs>
                    <a:gs pos="99000">
                      <a:schemeClr val="tx2"/>
                    </a:gs>
                  </a:gsLst>
                  <a:lin ang="5400000" scaled="0"/>
                </a:gradFill>
              </a:defRPr>
            </a:lvl1pPr>
            <a:lvl2pPr marL="0" indent="0">
              <a:buNone/>
              <a:defRPr sz="2040"/>
            </a:lvl2pPr>
            <a:lvl3pPr marL="231702" indent="0">
              <a:buNone/>
              <a:tabLst/>
              <a:defRPr sz="2040"/>
            </a:lvl3pPr>
            <a:lvl4pPr marL="460232" indent="0">
              <a:buNone/>
              <a:defRPr/>
            </a:lvl4pPr>
            <a:lvl5pPr marL="68558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68965217"/>
      </p:ext>
    </p:extLst>
  </p:cSld>
  <p:clrMapOvr>
    <a:masterClrMapping/>
  </p:clrMapOvr>
  <p:transition spd="med">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51"/>
            <a:ext cx="5486399" cy="2581584"/>
          </a:xfrm>
        </p:spPr>
        <p:txBody>
          <a:bodyPr wrap="square">
            <a:spAutoFit/>
          </a:bodyPr>
          <a:lstStyle>
            <a:lvl1pPr marL="0" indent="0">
              <a:spcBef>
                <a:spcPts val="1224"/>
              </a:spcBef>
              <a:buClr>
                <a:schemeClr val="tx1"/>
              </a:buClr>
              <a:buFont typeface="Wingdings" pitchFamily="2" charset="2"/>
              <a:buNone/>
              <a:defRPr sz="3570"/>
            </a:lvl1pPr>
            <a:lvl2pPr marL="0" indent="0">
              <a:buNone/>
              <a:defRPr sz="2040"/>
            </a:lvl2pPr>
            <a:lvl3pPr marL="231702" indent="0">
              <a:buNone/>
              <a:tabLst/>
              <a:defRPr sz="2040"/>
            </a:lvl3pPr>
            <a:lvl4pPr marL="460232" indent="0">
              <a:buNone/>
              <a:defRPr/>
            </a:lvl4pPr>
            <a:lvl5pPr marL="68558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51"/>
            <a:ext cx="5486399" cy="2581584"/>
          </a:xfrm>
        </p:spPr>
        <p:txBody>
          <a:bodyPr wrap="square">
            <a:spAutoFit/>
          </a:bodyPr>
          <a:lstStyle>
            <a:lvl1pPr marL="0" indent="0">
              <a:spcBef>
                <a:spcPts val="1224"/>
              </a:spcBef>
              <a:buClr>
                <a:schemeClr val="tx1"/>
              </a:buClr>
              <a:buFont typeface="Wingdings" pitchFamily="2" charset="2"/>
              <a:buNone/>
              <a:defRPr sz="3570"/>
            </a:lvl1pPr>
            <a:lvl2pPr marL="0" indent="0">
              <a:buNone/>
              <a:defRPr sz="2040"/>
            </a:lvl2pPr>
            <a:lvl3pPr marL="231702" indent="0">
              <a:buNone/>
              <a:tabLst/>
              <a:defRPr sz="2040"/>
            </a:lvl3pPr>
            <a:lvl4pPr marL="460232" indent="0">
              <a:buNone/>
              <a:defRPr/>
            </a:lvl4pPr>
            <a:lvl5pPr marL="68558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690987"/>
      </p:ext>
    </p:extLst>
  </p:cSld>
  <p:clrMapOvr>
    <a:masterClrMapping/>
  </p:clrMapOvr>
  <p:transition spd="med">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51"/>
            <a:ext cx="5486399" cy="2650643"/>
          </a:xfrm>
        </p:spPr>
        <p:txBody>
          <a:bodyPr wrap="square">
            <a:spAutoFit/>
          </a:bodyPr>
          <a:lstStyle>
            <a:lvl1pPr marL="287249" indent="-287249">
              <a:spcBef>
                <a:spcPts val="1224"/>
              </a:spcBef>
              <a:buClr>
                <a:schemeClr val="tx1"/>
              </a:buClr>
              <a:buFont typeface="Arial" pitchFamily="34" charset="0"/>
              <a:buChar char="•"/>
              <a:defRPr sz="3570"/>
            </a:lvl1pPr>
            <a:lvl2pPr marL="531002" indent="-233122">
              <a:defRPr sz="2448"/>
            </a:lvl2pPr>
            <a:lvl3pPr marL="699367" indent="-168368">
              <a:tabLst/>
              <a:defRPr sz="2040"/>
            </a:lvl3pPr>
            <a:lvl4pPr marL="880685" indent="-181318">
              <a:defRPr/>
            </a:lvl4pPr>
            <a:lvl5pPr marL="1049050" indent="-16836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51"/>
            <a:ext cx="5486399" cy="2650643"/>
          </a:xfrm>
        </p:spPr>
        <p:txBody>
          <a:bodyPr wrap="square">
            <a:spAutoFit/>
          </a:bodyPr>
          <a:lstStyle>
            <a:lvl1pPr marL="287249" indent="-287249">
              <a:spcBef>
                <a:spcPts val="1224"/>
              </a:spcBef>
              <a:buClr>
                <a:schemeClr val="tx1"/>
              </a:buClr>
              <a:buFont typeface="Arial" pitchFamily="34" charset="0"/>
              <a:buChar char="•"/>
              <a:defRPr sz="3570"/>
            </a:lvl1pPr>
            <a:lvl2pPr marL="531002" indent="-233122">
              <a:defRPr sz="2448"/>
            </a:lvl2pPr>
            <a:lvl3pPr marL="699367" indent="-168368">
              <a:tabLst/>
              <a:defRPr sz="2040"/>
            </a:lvl3pPr>
            <a:lvl4pPr marL="880685" indent="-181318">
              <a:defRPr/>
            </a:lvl4pPr>
            <a:lvl5pPr marL="1049050" indent="-16836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49170538"/>
      </p:ext>
    </p:extLst>
  </p:cSld>
  <p:clrMapOvr>
    <a:masterClrMapping/>
  </p:clrMapOvr>
  <p:transition spd="med">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51"/>
            <a:ext cx="5486399" cy="2650643"/>
          </a:xfrm>
        </p:spPr>
        <p:txBody>
          <a:bodyPr wrap="square">
            <a:spAutoFit/>
          </a:bodyPr>
          <a:lstStyle>
            <a:lvl1pPr marL="287249" indent="-287249">
              <a:spcBef>
                <a:spcPts val="1224"/>
              </a:spcBef>
              <a:buClr>
                <a:schemeClr val="tx2"/>
              </a:buClr>
              <a:buFont typeface="Arial" pitchFamily="34" charset="0"/>
              <a:buChar char="•"/>
              <a:defRPr sz="3570">
                <a:gradFill>
                  <a:gsLst>
                    <a:gs pos="1250">
                      <a:schemeClr val="tx2"/>
                    </a:gs>
                    <a:gs pos="99000">
                      <a:schemeClr val="tx2"/>
                    </a:gs>
                  </a:gsLst>
                  <a:lin ang="5400000" scaled="0"/>
                </a:gradFill>
              </a:defRPr>
            </a:lvl1pPr>
            <a:lvl2pPr marL="531002" indent="-233122">
              <a:defRPr sz="2448"/>
            </a:lvl2pPr>
            <a:lvl3pPr marL="699367" indent="-168368">
              <a:tabLst/>
              <a:defRPr sz="2040"/>
            </a:lvl3pPr>
            <a:lvl4pPr marL="880685" indent="-181318">
              <a:defRPr/>
            </a:lvl4pPr>
            <a:lvl5pPr marL="1049050" indent="-16836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51"/>
            <a:ext cx="5486399" cy="2650643"/>
          </a:xfrm>
        </p:spPr>
        <p:txBody>
          <a:bodyPr wrap="square">
            <a:spAutoFit/>
          </a:bodyPr>
          <a:lstStyle>
            <a:lvl1pPr marL="287249" indent="-287249">
              <a:spcBef>
                <a:spcPts val="1224"/>
              </a:spcBef>
              <a:buClr>
                <a:schemeClr val="tx2"/>
              </a:buClr>
              <a:buFont typeface="Arial" pitchFamily="34" charset="0"/>
              <a:buChar char="•"/>
              <a:defRPr sz="3570">
                <a:gradFill>
                  <a:gsLst>
                    <a:gs pos="1250">
                      <a:schemeClr val="tx2"/>
                    </a:gs>
                    <a:gs pos="99000">
                      <a:schemeClr val="tx2"/>
                    </a:gs>
                  </a:gsLst>
                  <a:lin ang="5400000" scaled="0"/>
                </a:gradFill>
              </a:defRPr>
            </a:lvl1pPr>
            <a:lvl2pPr marL="531002" indent="-233122">
              <a:defRPr sz="2448"/>
            </a:lvl2pPr>
            <a:lvl3pPr marL="699367" indent="-168368">
              <a:tabLst/>
              <a:defRPr sz="2040"/>
            </a:lvl3pPr>
            <a:lvl4pPr marL="880685" indent="-181318">
              <a:defRPr/>
            </a:lvl4pPr>
            <a:lvl5pPr marL="1049050" indent="-16836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8600906"/>
      </p:ext>
    </p:extLst>
  </p:cSld>
  <p:clrMapOvr>
    <a:masterClrMapping/>
  </p:clrMapOvr>
  <p:transition spd="med">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80194325"/>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41" y="1209974"/>
            <a:ext cx="9143998" cy="2751698"/>
          </a:xfrm>
          <a:noFill/>
        </p:spPr>
        <p:txBody>
          <a:bodyPr tIns="91440" bIns="91440" anchor="t" anchorCtr="0"/>
          <a:lstStyle>
            <a:lvl1pPr>
              <a:defRPr sz="7199" spc="-101"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4327496" y="6697629"/>
            <a:ext cx="3781484"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3931820" y="2952528"/>
            <a:ext cx="8504657" cy="4041998"/>
          </a:xfrm>
          <a:prstGeom prst="rect">
            <a:avLst/>
          </a:prstGeom>
        </p:spPr>
      </p:pic>
    </p:spTree>
    <p:extLst>
      <p:ext uri="{BB962C8B-B14F-4D97-AF65-F5344CB8AC3E}">
        <p14:creationId xmlns:p14="http://schemas.microsoft.com/office/powerpoint/2010/main" val="3812894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3109278"/>
      </p:ext>
    </p:extLst>
  </p:cSld>
  <p:clrMapOvr>
    <a:masterClrMapping/>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411944"/>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7372894"/>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222360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3"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algn="ctr" defTabSz="932182" fontAlgn="base">
              <a:spcBef>
                <a:spcPct val="0"/>
              </a:spcBef>
              <a:spcAft>
                <a:spcPct val="0"/>
              </a:spcAft>
            </a:pPr>
            <a:endParaRPr lang="en-US" sz="1938"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40" y="1221159"/>
            <a:ext cx="11887200" cy="2113867"/>
          </a:xfrm>
        </p:spPr>
        <p:txBody>
          <a:bodyPr/>
          <a:lstStyle>
            <a:lvl1pPr marL="0" indent="0">
              <a:buNone/>
              <a:defRPr sz="3264">
                <a:gradFill>
                  <a:gsLst>
                    <a:gs pos="1250">
                      <a:srgbClr val="000000"/>
                    </a:gs>
                    <a:gs pos="100000">
                      <a:srgbClr val="000000"/>
                    </a:gs>
                  </a:gsLst>
                  <a:lin ang="5400000" scaled="0"/>
                </a:gradFill>
                <a:latin typeface="Segoe UI" pitchFamily="34" charset="0"/>
                <a:cs typeface="Segoe UI" pitchFamily="34" charset="0"/>
              </a:defRPr>
            </a:lvl1pPr>
            <a:lvl2pPr marL="346445" indent="0">
              <a:buNone/>
              <a:defRPr>
                <a:gradFill>
                  <a:gsLst>
                    <a:gs pos="1250">
                      <a:srgbClr val="000000"/>
                    </a:gs>
                    <a:gs pos="100000">
                      <a:srgbClr val="000000"/>
                    </a:gs>
                  </a:gsLst>
                  <a:lin ang="5400000" scaled="0"/>
                </a:gradFill>
                <a:latin typeface="Segoe UI" pitchFamily="34" charset="0"/>
                <a:cs typeface="Segoe UI" pitchFamily="34" charset="0"/>
              </a:defRPr>
            </a:lvl2pPr>
            <a:lvl3pPr marL="584425" indent="0">
              <a:buNone/>
              <a:defRPr>
                <a:gradFill>
                  <a:gsLst>
                    <a:gs pos="1250">
                      <a:srgbClr val="000000"/>
                    </a:gs>
                    <a:gs pos="100000">
                      <a:srgbClr val="000000"/>
                    </a:gs>
                  </a:gsLst>
                  <a:lin ang="5400000" scaled="0"/>
                </a:gradFill>
                <a:latin typeface="Segoe UI" pitchFamily="34" charset="0"/>
                <a:cs typeface="Segoe UI" pitchFamily="34" charset="0"/>
              </a:defRPr>
            </a:lvl3pPr>
            <a:lvl4pPr marL="814311"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67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942165"/>
      </p:ext>
    </p:extLst>
  </p:cSld>
  <p:clrMapOvr>
    <a:masterClrMapping/>
  </p:clrMapOvr>
  <p:transition spd="med">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4"/>
            <a:ext cx="11887200" cy="2501538"/>
          </a:xfrm>
          <a:prstGeom prst="rect">
            <a:avLst/>
          </a:prstGeom>
        </p:spPr>
        <p:txBody>
          <a:bodyPr/>
          <a:lstStyle>
            <a:lvl1pPr marL="290423" indent="-290423">
              <a:buClr>
                <a:schemeClr val="tx1"/>
              </a:buClr>
              <a:buSzPct val="90000"/>
              <a:buFont typeface="Arial" pitchFamily="34" charset="0"/>
              <a:buChar char="•"/>
              <a:defRPr sz="357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23" indent="-280901">
              <a:buClr>
                <a:schemeClr val="tx1"/>
              </a:buClr>
              <a:buSzPct val="90000"/>
              <a:buFont typeface="Arial" pitchFamily="34" charset="0"/>
              <a:buChar char="•"/>
              <a:defRPr sz="3162">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744" indent="-290423">
              <a:buClr>
                <a:schemeClr val="tx1"/>
              </a:buClr>
              <a:buSzPct val="90000"/>
              <a:buFont typeface="Arial" pitchFamily="34" charset="0"/>
              <a:buChar char="•"/>
              <a:defRPr sz="275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274" indent="-228530">
              <a:buClr>
                <a:schemeClr val="tx1"/>
              </a:buClr>
              <a:buSzPct val="90000"/>
              <a:buFont typeface="Arial" pitchFamily="34" charset="0"/>
              <a:buChar char="•"/>
              <a:defRPr sz="2448">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802" indent="-228530">
              <a:buClr>
                <a:schemeClr val="tx1"/>
              </a:buClr>
              <a:buSzPct val="90000"/>
              <a:buFont typeface="Arial" pitchFamily="34" charset="0"/>
              <a:buChar char="•"/>
              <a:defRPr sz="204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4" y="6363077"/>
            <a:ext cx="12436476" cy="631451"/>
          </a:xfrm>
          <a:prstGeom prst="rect">
            <a:avLst/>
          </a:prstGeom>
          <a:solidFill>
            <a:srgbClr val="FFFF99"/>
          </a:solidFill>
        </p:spPr>
        <p:txBody>
          <a:bodyPr wrap="square" lIns="152372" tIns="76187" rIns="152372" bIns="76187" anchor="b" anchorCtr="0">
            <a:noAutofit/>
          </a:bodyPr>
          <a:lstStyle>
            <a:lvl1pPr algn="r">
              <a:buFont typeface="Arial" pitchFamily="34" charset="0"/>
              <a:buNone/>
              <a:defRPr sz="3672"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2398718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1" y="1144706"/>
            <a:ext cx="9327356" cy="2435131"/>
          </a:xfrm>
        </p:spPr>
        <p:txBody>
          <a:bodyPr anchor="b"/>
          <a:lstStyle>
            <a:lvl1pPr algn="ctr">
              <a:defRPr sz="6118"/>
            </a:lvl1pPr>
          </a:lstStyle>
          <a:p>
            <a:r>
              <a:rPr lang="en-US"/>
              <a:t>Click to edit Master title style</a:t>
            </a:r>
          </a:p>
        </p:txBody>
      </p:sp>
      <p:sp>
        <p:nvSpPr>
          <p:cNvPr id="3" name="Subtitle 2"/>
          <p:cNvSpPr>
            <a:spLocks noGrp="1"/>
          </p:cNvSpPr>
          <p:nvPr>
            <p:ph type="subTitle" idx="1"/>
          </p:nvPr>
        </p:nvSpPr>
        <p:spPr>
          <a:xfrm>
            <a:off x="1554561" y="3673748"/>
            <a:ext cx="9327356" cy="519750"/>
          </a:xfrm>
        </p:spPr>
        <p:txBody>
          <a:bodyPr/>
          <a:lstStyle>
            <a:lvl1pPr marL="0" indent="0" algn="ctr">
              <a:buNone/>
              <a:defRPr sz="2446"/>
            </a:lvl1pPr>
            <a:lvl2pPr marL="466170" indent="0" algn="ctr">
              <a:buNone/>
              <a:defRPr sz="2038"/>
            </a:lvl2pPr>
            <a:lvl3pPr marL="932341" indent="0" algn="ctr">
              <a:buNone/>
              <a:defRPr sz="1835"/>
            </a:lvl3pPr>
            <a:lvl4pPr marL="1398510" indent="0" algn="ctr">
              <a:buNone/>
              <a:defRPr sz="1632"/>
            </a:lvl4pPr>
            <a:lvl5pPr marL="1864679" indent="0" algn="ctr">
              <a:buNone/>
              <a:defRPr sz="1632"/>
            </a:lvl5pPr>
            <a:lvl6pPr marL="2330850" indent="0" algn="ctr">
              <a:buNone/>
              <a:defRPr sz="1632"/>
            </a:lvl6pPr>
            <a:lvl7pPr marL="2797019" indent="0" algn="ctr">
              <a:buNone/>
              <a:defRPr sz="1632"/>
            </a:lvl7pPr>
            <a:lvl8pPr marL="3263189" indent="0" algn="ctr">
              <a:buNone/>
              <a:defRPr sz="1632"/>
            </a:lvl8pPr>
            <a:lvl9pPr marL="3729358" indent="0" algn="ctr">
              <a:buNone/>
              <a:defRPr sz="1632"/>
            </a:lvl9pPr>
          </a:lstStyle>
          <a:p>
            <a:r>
              <a:rPr lang="en-US"/>
              <a:t>Click to edit Master subtitle style</a:t>
            </a:r>
          </a:p>
        </p:txBody>
      </p:sp>
      <p:sp>
        <p:nvSpPr>
          <p:cNvPr id="4" name="Date Placeholder 3"/>
          <p:cNvSpPr>
            <a:spLocks noGrp="1"/>
          </p:cNvSpPr>
          <p:nvPr>
            <p:ph type="dt" sz="half" idx="10"/>
          </p:nvPr>
        </p:nvSpPr>
        <p:spPr>
          <a:xfrm>
            <a:off x="855008" y="6482891"/>
            <a:ext cx="2798207" cy="372394"/>
          </a:xfrm>
          <a:prstGeom prst="rect">
            <a:avLst/>
          </a:prstGeom>
        </p:spPr>
        <p:txBody>
          <a:bodyPr/>
          <a:lstStyle/>
          <a:p>
            <a:pPr defTabSz="932543"/>
            <a:fld id="{70A9C801-3E2C-42D1-AD25-DC1EDC15F988}" type="datetimeFigureOut">
              <a:rPr lang="en-US" sz="1938" smtClean="0">
                <a:solidFill>
                  <a:srgbClr val="505050"/>
                </a:solidFill>
              </a:rPr>
              <a:pPr defTabSz="932543"/>
              <a:t>6/10/2016</a:t>
            </a:fld>
            <a:endParaRPr lang="en-US" sz="1938" dirty="0">
              <a:solidFill>
                <a:srgbClr val="505050"/>
              </a:solidFill>
            </a:endParaRPr>
          </a:p>
        </p:txBody>
      </p:sp>
      <p:sp>
        <p:nvSpPr>
          <p:cNvPr id="5" name="Footer Placeholder 4"/>
          <p:cNvSpPr>
            <a:spLocks noGrp="1"/>
          </p:cNvSpPr>
          <p:nvPr>
            <p:ph type="ftr" sz="quarter" idx="11"/>
          </p:nvPr>
        </p:nvSpPr>
        <p:spPr>
          <a:xfrm>
            <a:off x="4119584" y="6482891"/>
            <a:ext cx="4197310" cy="372394"/>
          </a:xfrm>
          <a:prstGeom prst="rect">
            <a:avLst/>
          </a:prstGeom>
        </p:spPr>
        <p:txBody>
          <a:bodyPr/>
          <a:lstStyle/>
          <a:p>
            <a:pPr defTabSz="932543"/>
            <a:endParaRPr lang="en-US" sz="1938" dirty="0">
              <a:solidFill>
                <a:srgbClr val="505050"/>
              </a:solidFill>
            </a:endParaRPr>
          </a:p>
        </p:txBody>
      </p:sp>
      <p:sp>
        <p:nvSpPr>
          <p:cNvPr id="6" name="Slide Number Placeholder 5"/>
          <p:cNvSpPr>
            <a:spLocks noGrp="1"/>
          </p:cNvSpPr>
          <p:nvPr>
            <p:ph type="sldNum" sz="quarter" idx="12"/>
          </p:nvPr>
        </p:nvSpPr>
        <p:spPr>
          <a:xfrm>
            <a:off x="8783260" y="6482891"/>
            <a:ext cx="2798207" cy="372394"/>
          </a:xfrm>
          <a:prstGeom prst="rect">
            <a:avLst/>
          </a:prstGeom>
        </p:spPr>
        <p:txBody>
          <a:bodyPr/>
          <a:lstStyle/>
          <a:p>
            <a:pPr defTabSz="932543"/>
            <a:fld id="{75E80136-4DC3-4AE4-9D4D-60FFE436D55E}" type="slidenum">
              <a:rPr lang="en-US" sz="1938" smtClean="0">
                <a:solidFill>
                  <a:srgbClr val="505050"/>
                </a:solidFill>
              </a:rPr>
              <a:pPr defTabSz="932543"/>
              <a:t>‹#›</a:t>
            </a:fld>
            <a:endParaRPr lang="en-US" sz="1938" dirty="0">
              <a:solidFill>
                <a:srgbClr val="505050"/>
              </a:solidFill>
            </a:endParaRPr>
          </a:p>
        </p:txBody>
      </p:sp>
    </p:spTree>
    <p:extLst>
      <p:ext uri="{BB962C8B-B14F-4D97-AF65-F5344CB8AC3E}">
        <p14:creationId xmlns:p14="http://schemas.microsoft.com/office/powerpoint/2010/main" val="3556704988"/>
      </p:ext>
    </p:extLst>
  </p:cSld>
  <p:clrMapOvr>
    <a:masterClrMapping/>
  </p:clrMapOvr>
  <p:transition spd="med">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4_Blue Tile Title">
    <p:spTree>
      <p:nvGrpSpPr>
        <p:cNvPr id="1" name=""/>
        <p:cNvGrpSpPr/>
        <p:nvPr/>
      </p:nvGrpSpPr>
      <p:grpSpPr>
        <a:xfrm>
          <a:off x="0" y="0"/>
          <a:ext cx="0" cy="0"/>
          <a:chOff x="0" y="0"/>
          <a:chExt cx="0" cy="0"/>
        </a:xfrm>
      </p:grpSpPr>
      <p:sp>
        <p:nvSpPr>
          <p:cNvPr id="2" name="TextBox 1"/>
          <p:cNvSpPr txBox="1"/>
          <p:nvPr userDrawn="1"/>
        </p:nvSpPr>
        <p:spPr>
          <a:xfrm>
            <a:off x="-1819275" y="-457200"/>
            <a:ext cx="914401" cy="914400"/>
          </a:xfrm>
          <a:prstGeom prst="rect">
            <a:avLst/>
          </a:prstGeom>
          <a:noFill/>
        </p:spPr>
        <p:txBody>
          <a:bodyPr wrap="none" lIns="182854" tIns="146283" rIns="182854" bIns="146283"/>
          <a:lstStyle/>
          <a:p>
            <a:pPr defTabSz="932160">
              <a:lnSpc>
                <a:spcPct val="90000"/>
              </a:lnSpc>
              <a:spcAft>
                <a:spcPts val="600"/>
              </a:spcAft>
              <a:defRPr/>
            </a:pPr>
            <a:endParaRPr lang="en-US" sz="2400" dirty="0">
              <a:gradFill>
                <a:gsLst>
                  <a:gs pos="2917">
                    <a:srgbClr val="FFFFFF"/>
                  </a:gs>
                  <a:gs pos="30000">
                    <a:srgbClr val="FFFFFF"/>
                  </a:gs>
                </a:gsLst>
                <a:lin ang="5400000" scaled="0"/>
              </a:gradFill>
            </a:endParaRPr>
          </a:p>
        </p:txBody>
      </p:sp>
      <p:sp>
        <p:nvSpPr>
          <p:cNvPr id="3" name="TextBox 2"/>
          <p:cNvSpPr txBox="1"/>
          <p:nvPr userDrawn="1"/>
        </p:nvSpPr>
        <p:spPr>
          <a:xfrm>
            <a:off x="15919451" y="-3259137"/>
            <a:ext cx="914401" cy="914400"/>
          </a:xfrm>
          <a:prstGeom prst="rect">
            <a:avLst/>
          </a:prstGeom>
          <a:noFill/>
        </p:spPr>
        <p:txBody>
          <a:bodyPr wrap="none" lIns="182854" tIns="146283" rIns="182854" bIns="146283"/>
          <a:lstStyle/>
          <a:p>
            <a:pPr defTabSz="932160">
              <a:lnSpc>
                <a:spcPct val="90000"/>
              </a:lnSpc>
              <a:spcAft>
                <a:spcPts val="600"/>
              </a:spcAft>
              <a:defRPr/>
            </a:pPr>
            <a:endParaRPr lang="en-US" sz="2400" dirty="0">
              <a:gradFill>
                <a:gsLst>
                  <a:gs pos="2917">
                    <a:srgbClr val="FFFFFF"/>
                  </a:gs>
                  <a:gs pos="30000">
                    <a:srgbClr val="FFFFFF"/>
                  </a:gs>
                </a:gsLst>
                <a:lin ang="5400000" scaled="0"/>
              </a:gradFill>
            </a:endParaRPr>
          </a:p>
        </p:txBody>
      </p:sp>
    </p:spTree>
    <p:extLst>
      <p:ext uri="{BB962C8B-B14F-4D97-AF65-F5344CB8AC3E}">
        <p14:creationId xmlns:p14="http://schemas.microsoft.com/office/powerpoint/2010/main" val="4039796333"/>
      </p:ext>
    </p:extLst>
  </p:cSld>
  <p:clrMapOvr>
    <a:masterClrMapping/>
  </p:clrMapOvr>
  <p:transition spd="slow">
    <p:wipe dir="r"/>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6" y="5"/>
            <a:ext cx="12435837" cy="6995163"/>
          </a:xfrm>
          <a:prstGeom prst="rect">
            <a:avLst/>
          </a:prstGeom>
        </p:spPr>
      </p:pic>
      <p:sp>
        <p:nvSpPr>
          <p:cNvPr id="6" name="Freeform 5"/>
          <p:cNvSpPr/>
          <p:nvPr userDrawn="1"/>
        </p:nvSpPr>
        <p:spPr bwMode="auto">
          <a:xfrm rot="19623283">
            <a:off x="-2783791" y="-2011487"/>
            <a:ext cx="13612406" cy="6212475"/>
          </a:xfrm>
          <a:custGeom>
            <a:avLst/>
            <a:gdLst>
              <a:gd name="connsiteX0" fmla="*/ 4026000 w 13612405"/>
              <a:gd name="connsiteY0" fmla="*/ 0 h 6212477"/>
              <a:gd name="connsiteX1" fmla="*/ 13612405 w 13612405"/>
              <a:gd name="connsiteY1" fmla="*/ 6212477 h 6212477"/>
              <a:gd name="connsiteX2" fmla="*/ 0 w 13612405"/>
              <a:gd name="connsiteY2" fmla="*/ 6212477 h 6212477"/>
            </a:gdLst>
            <a:ahLst/>
            <a:cxnLst>
              <a:cxn ang="0">
                <a:pos x="connsiteX0" y="connsiteY0"/>
              </a:cxn>
              <a:cxn ang="0">
                <a:pos x="connsiteX1" y="connsiteY1"/>
              </a:cxn>
              <a:cxn ang="0">
                <a:pos x="connsiteX2" y="connsiteY2"/>
              </a:cxn>
            </a:cxnLst>
            <a:rect l="l" t="t" r="r" b="b"/>
            <a:pathLst>
              <a:path w="13612405" h="6212477">
                <a:moveTo>
                  <a:pt x="4026000" y="0"/>
                </a:moveTo>
                <a:lnTo>
                  <a:pt x="13612405" y="6212477"/>
                </a:lnTo>
                <a:lnTo>
                  <a:pt x="0" y="6212477"/>
                </a:lnTo>
                <a:close/>
              </a:path>
            </a:pathLst>
          </a:custGeom>
          <a:gradFill>
            <a:gsLst>
              <a:gs pos="62000">
                <a:schemeClr val="bg1">
                  <a:alpha val="44000"/>
                </a:schemeClr>
              </a:gs>
              <a:gs pos="100000">
                <a:schemeClr val="bg1">
                  <a:alpha val="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45" tIns="146278" rIns="182845" bIns="146278" numCol="1" spcCol="0" rtlCol="0" fromWordArt="0" anchor="t" anchorCtr="0" forceAA="0" compatLnSpc="1">
            <a:prstTxWarp prst="textNoShape">
              <a:avLst/>
            </a:prstTxWarp>
            <a:noAutofit/>
          </a:bodyPr>
          <a:lstStyle/>
          <a:p>
            <a:pPr algn="ctr" defTabSz="932387"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sz="quarter" idx="10"/>
          </p:nvPr>
        </p:nvSpPr>
        <p:spPr>
          <a:xfrm>
            <a:off x="274643" y="296865"/>
            <a:ext cx="11887203" cy="2231527"/>
          </a:xfrm>
        </p:spPr>
        <p:txBody>
          <a:bodyPr/>
          <a:lstStyle>
            <a:lvl1pPr marL="0" indent="0">
              <a:buNone/>
              <a:defRPr>
                <a:gradFill>
                  <a:gsLst>
                    <a:gs pos="62000">
                      <a:schemeClr val="tx2">
                        <a:lumMod val="50000"/>
                      </a:schemeClr>
                    </a:gs>
                    <a:gs pos="100000">
                      <a:schemeClr val="tx2">
                        <a:lumMod val="50000"/>
                      </a:schemeClr>
                    </a:gs>
                  </a:gsLst>
                  <a:lin ang="5400000" scaled="0"/>
                </a:gradFill>
              </a:defRPr>
            </a:lvl1pPr>
            <a:lvl2pPr marL="342869" indent="0">
              <a:buNone/>
              <a:defRPr>
                <a:gradFill>
                  <a:gsLst>
                    <a:gs pos="62000">
                      <a:schemeClr val="tx2">
                        <a:lumMod val="50000"/>
                      </a:schemeClr>
                    </a:gs>
                    <a:gs pos="100000">
                      <a:schemeClr val="tx2">
                        <a:lumMod val="50000"/>
                      </a:schemeClr>
                    </a:gs>
                  </a:gsLst>
                  <a:lin ang="5400000" scaled="0"/>
                </a:gradFill>
              </a:defRPr>
            </a:lvl2pPr>
            <a:lvl3pPr marL="571448" indent="0">
              <a:buNone/>
              <a:defRPr>
                <a:gradFill>
                  <a:gsLst>
                    <a:gs pos="62000">
                      <a:schemeClr val="tx2">
                        <a:lumMod val="50000"/>
                      </a:schemeClr>
                    </a:gs>
                    <a:gs pos="100000">
                      <a:schemeClr val="tx2">
                        <a:lumMod val="50000"/>
                      </a:schemeClr>
                    </a:gs>
                  </a:gsLst>
                  <a:lin ang="5400000" scaled="0"/>
                </a:gradFill>
              </a:defRPr>
            </a:lvl3pPr>
            <a:lvl4pPr marL="800028" indent="0">
              <a:buNone/>
              <a:defRPr>
                <a:gradFill>
                  <a:gsLst>
                    <a:gs pos="62000">
                      <a:schemeClr val="tx2">
                        <a:lumMod val="50000"/>
                      </a:schemeClr>
                    </a:gs>
                    <a:gs pos="100000">
                      <a:schemeClr val="tx2">
                        <a:lumMod val="50000"/>
                      </a:schemeClr>
                    </a:gs>
                  </a:gsLst>
                  <a:lin ang="5400000" scaled="0"/>
                </a:gradFill>
              </a:defRPr>
            </a:lvl4pPr>
            <a:lvl5pPr marL="1028604" indent="0">
              <a:buNone/>
              <a:defRPr>
                <a:gradFill>
                  <a:gsLst>
                    <a:gs pos="62000">
                      <a:schemeClr val="tx2">
                        <a:lumMod val="50000"/>
                      </a:schemeClr>
                    </a:gs>
                    <a:gs pos="100000">
                      <a:schemeClr val="tx2">
                        <a:lumMod val="50000"/>
                      </a:schemeClr>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8737502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Title/Subtitle 1">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76229" y="1113379"/>
            <a:ext cx="11885613" cy="499551"/>
          </a:xfrm>
        </p:spPr>
        <p:txBody>
          <a:bodyPr/>
          <a:lstStyle>
            <a:lvl1pPr marL="0" indent="0">
              <a:buNone/>
              <a:defRPr lang="en-US" sz="2300" kern="1200" spc="-68">
                <a:solidFill>
                  <a:schemeClr val="accent2"/>
                </a:solidFill>
                <a:latin typeface="+mn-lt"/>
                <a:ea typeface="+mn-ea"/>
                <a:cs typeface="+mn-cs"/>
              </a:defRPr>
            </a:lvl1pPr>
            <a:lvl2pPr marL="325779" indent="0">
              <a:buNone/>
              <a:defRPr/>
            </a:lvl2pPr>
            <a:lvl3pPr marL="542970" indent="0">
              <a:buNone/>
              <a:defRPr/>
            </a:lvl3pPr>
            <a:lvl4pPr marL="760157" indent="0">
              <a:buNone/>
              <a:defRPr/>
            </a:lvl4pPr>
            <a:lvl5pPr marL="977344" indent="0">
              <a:buNone/>
              <a:defRPr/>
            </a:lvl5pPr>
          </a:lstStyle>
          <a:p>
            <a:pPr lvl="0"/>
            <a:r>
              <a:rPr lang="en-US"/>
              <a:t>Click to edit Master text styles</a:t>
            </a:r>
          </a:p>
        </p:txBody>
      </p:sp>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a:xfrm>
            <a:off x="674748" y="6448632"/>
            <a:ext cx="4466599" cy="371475"/>
          </a:xfrm>
          <a:prstGeom prst="rect">
            <a:avLst/>
          </a:prstGeom>
        </p:spPr>
        <p:txBody>
          <a:bodyPr/>
          <a:lstStyle/>
          <a:p>
            <a:pPr defTabSz="932619"/>
            <a:endParaRPr lang="en-US" sz="1836" dirty="0">
              <a:solidFill>
                <a:srgbClr val="68217A"/>
              </a:solidFill>
            </a:endParaRPr>
          </a:p>
        </p:txBody>
      </p:sp>
      <p:sp>
        <p:nvSpPr>
          <p:cNvPr id="4" name="Slide Number Placeholder 3"/>
          <p:cNvSpPr>
            <a:spLocks noGrp="1"/>
          </p:cNvSpPr>
          <p:nvPr>
            <p:ph type="sldNum" sz="quarter" idx="11"/>
          </p:nvPr>
        </p:nvSpPr>
        <p:spPr>
          <a:xfrm>
            <a:off x="316674" y="6448632"/>
            <a:ext cx="356198" cy="371475"/>
          </a:xfrm>
          <a:prstGeom prst="rect">
            <a:avLst/>
          </a:prstGeom>
        </p:spPr>
        <p:txBody>
          <a:bodyPr/>
          <a:lstStyle/>
          <a:p>
            <a:pPr defTabSz="932619"/>
            <a:fld id="{894E8EF0-91FF-4791-8529-F57CE0475C15}" type="slidenum">
              <a:rPr lang="en-US" sz="1836" smtClean="0">
                <a:solidFill>
                  <a:srgbClr val="68217A"/>
                </a:solidFill>
              </a:rPr>
              <a:pPr defTabSz="932619"/>
              <a:t>‹#›</a:t>
            </a:fld>
            <a:endParaRPr lang="en-US" sz="1836" dirty="0">
              <a:solidFill>
                <a:srgbClr val="68217A"/>
              </a:solidFill>
            </a:endParaRPr>
          </a:p>
        </p:txBody>
      </p:sp>
    </p:spTree>
    <p:extLst>
      <p:ext uri="{BB962C8B-B14F-4D97-AF65-F5344CB8AC3E}">
        <p14:creationId xmlns:p14="http://schemas.microsoft.com/office/powerpoint/2010/main" val="290453832"/>
      </p:ext>
    </p:extLst>
  </p:cSld>
  <p:clrMapOvr>
    <a:masterClrMapping/>
  </p:clrMapOvr>
  <p:transition spd="slow">
    <p:push/>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1"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327496" y="6697629"/>
            <a:ext cx="3781484"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01591018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Pull Quote">
    <p:spTree>
      <p:nvGrpSpPr>
        <p:cNvPr id="1" name=""/>
        <p:cNvGrpSpPr/>
        <p:nvPr/>
      </p:nvGrpSpPr>
      <p:grpSpPr>
        <a:xfrm>
          <a:off x="0" y="0"/>
          <a:ext cx="0" cy="0"/>
          <a:chOff x="0" y="0"/>
          <a:chExt cx="0" cy="0"/>
        </a:xfrm>
      </p:grpSpPr>
      <p:sp>
        <p:nvSpPr>
          <p:cNvPr id="3" name="Text Placeholder 2"/>
          <p:cNvSpPr>
            <a:spLocks noGrp="1"/>
          </p:cNvSpPr>
          <p:nvPr>
            <p:ph type="body" sz="quarter" idx="11" hasCustomPrompt="1"/>
          </p:nvPr>
        </p:nvSpPr>
        <p:spPr>
          <a:xfrm>
            <a:off x="274638" y="2125665"/>
            <a:ext cx="4572000" cy="3383257"/>
          </a:xfrm>
        </p:spPr>
        <p:txBody>
          <a:bodyPr lIns="146304" tIns="91440" rIns="146304" bIns="91440" anchor="ctr">
            <a:noAutofit/>
          </a:bodyPr>
          <a:lstStyle>
            <a:lvl1pPr marL="0" indent="0" algn="l">
              <a:lnSpc>
                <a:spcPts val="6000"/>
              </a:lnSpc>
              <a:spcBef>
                <a:spcPts val="0"/>
              </a:spcBef>
              <a:buNone/>
              <a:defRPr sz="6000" baseline="0">
                <a:solidFill>
                  <a:schemeClr val="tx2"/>
                </a:solidFill>
              </a:defRPr>
            </a:lvl1pPr>
            <a:lvl2pPr marL="342810" indent="0" algn="l">
              <a:buNone/>
              <a:defRPr sz="4799"/>
            </a:lvl2pPr>
            <a:lvl3pPr marL="571348" indent="0" algn="l">
              <a:buNone/>
              <a:defRPr sz="4799"/>
            </a:lvl3pPr>
            <a:lvl4pPr marL="799888" indent="0" algn="l">
              <a:buNone/>
              <a:defRPr sz="4799"/>
            </a:lvl4pPr>
            <a:lvl5pPr marL="1028426" indent="0" algn="l">
              <a:buNone/>
              <a:defRPr sz="4799"/>
            </a:lvl5pPr>
          </a:lstStyle>
          <a:p>
            <a:pPr lvl="0"/>
            <a:r>
              <a:rPr lang="en-US"/>
              <a:t>Pull quote</a:t>
            </a:r>
            <a:br>
              <a:rPr lang="en-US"/>
            </a:br>
            <a:r>
              <a:rPr lang="en-US"/>
              <a:t>text goes</a:t>
            </a:r>
            <a:br>
              <a:rPr lang="en-US"/>
            </a:br>
            <a:r>
              <a:rPr lang="en-US"/>
              <a:t>here</a:t>
            </a:r>
          </a:p>
        </p:txBody>
      </p:sp>
    </p:spTree>
    <p:extLst>
      <p:ext uri="{BB962C8B-B14F-4D97-AF65-F5344CB8AC3E}">
        <p14:creationId xmlns:p14="http://schemas.microsoft.com/office/powerpoint/2010/main" val="1797828110"/>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59789" y="1812361"/>
            <a:ext cx="11375537" cy="2072974"/>
          </a:xfrm>
          <a:prstGeom prst="rect">
            <a:avLst/>
          </a:prstGeom>
        </p:spPr>
        <p:txBody>
          <a:bodyPr/>
          <a:lstStyle>
            <a:lvl1pPr marL="0" indent="0">
              <a:spcBef>
                <a:spcPts val="2327"/>
              </a:spcBef>
              <a:buNone/>
              <a:defRPr sz="3900">
                <a:gradFill>
                  <a:gsLst>
                    <a:gs pos="100000">
                      <a:schemeClr val="tx1"/>
                    </a:gs>
                    <a:gs pos="0">
                      <a:schemeClr val="tx1"/>
                    </a:gs>
                  </a:gsLst>
                  <a:lin ang="5400000" scaled="0"/>
                </a:gradFill>
                <a:latin typeface="+mj-lt"/>
              </a:defRPr>
            </a:lvl1pPr>
            <a:lvl2pPr marL="0" indent="0">
              <a:buNone/>
              <a:defRPr sz="1900">
                <a:gradFill>
                  <a:gsLst>
                    <a:gs pos="100000">
                      <a:schemeClr val="tx1"/>
                    </a:gs>
                    <a:gs pos="0">
                      <a:schemeClr val="tx1"/>
                    </a:gs>
                  </a:gsLst>
                  <a:lin ang="5400000" scaled="0"/>
                </a:gradFill>
              </a:defRPr>
            </a:lvl2pPr>
            <a:lvl3pPr marL="224632" indent="0">
              <a:buNone/>
              <a:defRPr sz="1900">
                <a:gradFill>
                  <a:gsLst>
                    <a:gs pos="100000">
                      <a:schemeClr val="tx1"/>
                    </a:gs>
                    <a:gs pos="0">
                      <a:schemeClr val="tx1"/>
                    </a:gs>
                  </a:gsLst>
                  <a:lin ang="5400000" scaled="0"/>
                </a:gradFill>
              </a:defRPr>
            </a:lvl3pPr>
            <a:lvl4pPr marL="443107" indent="0">
              <a:buNone/>
              <a:defRPr sz="1900">
                <a:gradFill>
                  <a:gsLst>
                    <a:gs pos="100000">
                      <a:schemeClr val="tx1"/>
                    </a:gs>
                    <a:gs pos="0">
                      <a:schemeClr val="tx1"/>
                    </a:gs>
                  </a:gsLst>
                  <a:lin ang="5400000" scaled="0"/>
                </a:gradFill>
              </a:defRPr>
            </a:lvl4pPr>
            <a:lvl5pPr marL="672355" indent="0">
              <a:buNone/>
              <a:defRPr sz="1900">
                <a:gradFill>
                  <a:gsLst>
                    <a:gs pos="100000">
                      <a:schemeClr val="tx1"/>
                    </a:gs>
                    <a:gs pos="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a:xfrm>
            <a:off x="18697" y="49284"/>
            <a:ext cx="11889564" cy="917575"/>
          </a:xfrm>
        </p:spPr>
        <p:txBody>
          <a:bodyPr/>
          <a:lstStyle/>
          <a:p>
            <a:r>
              <a:rPr lang="en-US" dirty="0"/>
              <a:t>Click to edit Master title style</a:t>
            </a:r>
          </a:p>
        </p:txBody>
      </p:sp>
      <p:sp>
        <p:nvSpPr>
          <p:cNvPr id="4" name="Text Placeholder 3"/>
          <p:cNvSpPr>
            <a:spLocks noGrp="1"/>
          </p:cNvSpPr>
          <p:nvPr>
            <p:ph type="body" sz="quarter" idx="11"/>
          </p:nvPr>
        </p:nvSpPr>
        <p:spPr>
          <a:xfrm>
            <a:off x="18696" y="712933"/>
            <a:ext cx="11375535" cy="513401"/>
          </a:xfrm>
        </p:spPr>
        <p:txBody>
          <a:bodyPr/>
          <a:lstStyle>
            <a:lvl1pPr marL="0" indent="0">
              <a:buNone/>
              <a:defRPr sz="2400">
                <a:solidFill>
                  <a:schemeClr val="accent1">
                    <a:alpha val="99000"/>
                  </a:schemeClr>
                </a:solidFill>
              </a:defRPr>
            </a:lvl1pPr>
            <a:lvl2pPr marL="329254" indent="0">
              <a:buNone/>
              <a:defRPr/>
            </a:lvl2pPr>
            <a:lvl3pPr marL="555423" indent="0">
              <a:buNone/>
              <a:defRPr/>
            </a:lvl3pPr>
            <a:lvl4pPr marL="773897" indent="0">
              <a:buNone/>
              <a:defRPr/>
            </a:lvl4pPr>
            <a:lvl5pPr marL="998530" indent="0">
              <a:buNone/>
              <a:defRPr/>
            </a:lvl5pPr>
          </a:lstStyle>
          <a:p>
            <a:pPr lvl="0"/>
            <a:r>
              <a:rPr lang="en-US" dirty="0"/>
              <a:t>Click to edit Master text styles</a:t>
            </a:r>
          </a:p>
        </p:txBody>
      </p:sp>
    </p:spTree>
    <p:extLst>
      <p:ext uri="{BB962C8B-B14F-4D97-AF65-F5344CB8AC3E}">
        <p14:creationId xmlns:p14="http://schemas.microsoft.com/office/powerpoint/2010/main" val="648488900"/>
      </p:ext>
    </p:extLst>
  </p:cSld>
  <p:clrMapOvr>
    <a:masterClrMapping/>
  </p:clrMapOvr>
  <p:transition spd="slow">
    <p:push/>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1"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8"/>
            <a:ext cx="9143937"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354" y="479776"/>
            <a:ext cx="1639084" cy="359162"/>
          </a:xfrm>
          <a:prstGeom prst="rect">
            <a:avLst/>
          </a:prstGeom>
        </p:spPr>
      </p:pic>
    </p:spTree>
    <p:extLst>
      <p:ext uri="{BB962C8B-B14F-4D97-AF65-F5344CB8AC3E}">
        <p14:creationId xmlns:p14="http://schemas.microsoft.com/office/powerpoint/2010/main" val="27157063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392" userDrawn="1">
          <p15:clr>
            <a:srgbClr val="C35EA4"/>
          </p15:clr>
        </p15:guide>
        <p15:guide id="2" pos="10263" userDrawn="1">
          <p15:clr>
            <a:srgbClr val="C35EA4"/>
          </p15:clr>
        </p15:guide>
        <p15:guide id="3" orient="horz" pos="411" userDrawn="1">
          <p15:clr>
            <a:srgbClr val="C35EA4"/>
          </p15:clr>
        </p15:guide>
        <p15:guide id="4" orient="horz" pos="5581" userDrawn="1">
          <p15:clr>
            <a:srgbClr val="C35E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436475" cy="738536"/>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262938" y="832967"/>
            <a:ext cx="11910600" cy="5876624"/>
          </a:xfrm>
          <a:prstGeom prst="rect">
            <a:avLst/>
          </a:prstGeom>
          <a:noFill/>
          <a:ln>
            <a:noFill/>
          </a:ln>
        </p:spPr>
      </p:pic>
      <p:sp>
        <p:nvSpPr>
          <p:cNvPr id="5" name="Text Placeholder 4"/>
          <p:cNvSpPr>
            <a:spLocks noGrp="1"/>
          </p:cNvSpPr>
          <p:nvPr>
            <p:ph type="body" sz="quarter" idx="12" hasCustomPrompt="1"/>
          </p:nvPr>
        </p:nvSpPr>
        <p:spPr>
          <a:xfrm>
            <a:off x="276541"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4" y="2125677"/>
            <a:ext cx="5187450" cy="1828800"/>
          </a:xfrm>
          <a:noFill/>
        </p:spPr>
        <p:txBody>
          <a:bodyPr lIns="146304" tIns="91440" rIns="146304" bIns="91440" anchor="t" anchorCtr="0"/>
          <a:lstStyle>
            <a:lvl1pPr>
              <a:defRPr sz="6000" spc="-101"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257798" y="328911"/>
            <a:ext cx="9915740" cy="6380679"/>
          </a:xfrm>
          <a:prstGeom prst="rect">
            <a:avLst/>
          </a:prstGeom>
          <a:noFill/>
          <a:ln>
            <a:noFill/>
          </a:ln>
        </p:spPr>
      </p:pic>
    </p:spTree>
    <p:extLst>
      <p:ext uri="{BB962C8B-B14F-4D97-AF65-F5344CB8AC3E}">
        <p14:creationId xmlns:p14="http://schemas.microsoft.com/office/powerpoint/2010/main" val="20704887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11" userDrawn="1">
          <p15:clr>
            <a:srgbClr val="C35EA4"/>
          </p15:clr>
        </p15:guide>
        <p15:guide id="2" orient="horz" pos="5581" userDrawn="1">
          <p15:clr>
            <a:srgbClr val="C35EA4"/>
          </p15:clr>
        </p15:guide>
        <p15:guide id="3" pos="392" userDrawn="1">
          <p15:clr>
            <a:srgbClr val="C35EA4"/>
          </p15:clr>
        </p15:guide>
        <p15:guide id="4" pos="10263" userDrawn="1">
          <p15:clr>
            <a:srgbClr val="C35E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436475" cy="738536"/>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6541"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74704" y="2125677"/>
            <a:ext cx="5187450" cy="1828800"/>
          </a:xfrm>
          <a:noFill/>
        </p:spPr>
        <p:txBody>
          <a:bodyPr lIns="146304" tIns="91440" rIns="146304" bIns="91440" anchor="t" anchorCtr="0"/>
          <a:lstStyle>
            <a:lvl1pPr>
              <a:defRPr sz="6000" spc="-101"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11205893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11" userDrawn="1">
          <p15:clr>
            <a:srgbClr val="C35EA4"/>
          </p15:clr>
        </p15:guide>
        <p15:guide id="2" orient="horz" pos="5581" userDrawn="1">
          <p15:clr>
            <a:srgbClr val="C35EA4"/>
          </p15:clr>
        </p15:guide>
        <p15:guide id="3" pos="392" userDrawn="1">
          <p15:clr>
            <a:srgbClr val="C35EA4"/>
          </p15:clr>
        </p15:guide>
        <p15:guide id="4" pos="10263" userDrawn="1">
          <p15:clr>
            <a:srgbClr val="C35E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436475" cy="738536"/>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6542" y="2125664"/>
            <a:ext cx="5484498" cy="1828805"/>
          </a:xfrm>
          <a:noFill/>
        </p:spPr>
        <p:txBody>
          <a:bodyPr lIns="182880" tIns="146304" rIns="182880" bIns="146304">
            <a:noAutofit/>
          </a:bodyPr>
          <a:lstStyle>
            <a:lvl1pPr marL="0" indent="0">
              <a:spcBef>
                <a:spcPts val="0"/>
              </a:spcBef>
              <a:buNone/>
              <a:defRPr sz="3600"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74703" y="296862"/>
            <a:ext cx="5486335" cy="1828800"/>
          </a:xfrm>
          <a:noFill/>
        </p:spPr>
        <p:txBody>
          <a:bodyPr lIns="146304" tIns="91440" rIns="146304" bIns="91440" anchor="t" anchorCtr="0"/>
          <a:lstStyle>
            <a:lvl1pPr>
              <a:defRPr sz="6000" spc="-101"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33660218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11" userDrawn="1">
          <p15:clr>
            <a:srgbClr val="C35EA4"/>
          </p15:clr>
        </p15:guide>
        <p15:guide id="2" orient="horz" pos="5581" userDrawn="1">
          <p15:clr>
            <a:srgbClr val="C35EA4"/>
          </p15:clr>
        </p15:guide>
        <p15:guide id="3" pos="392" userDrawn="1">
          <p15:clr>
            <a:srgbClr val="C35EA4"/>
          </p15:clr>
        </p15:guide>
        <p15:guide id="4" pos="10263" userDrawn="1">
          <p15:clr>
            <a:srgbClr val="C35E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Pull Quote 1">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738536"/>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74703" y="2125663"/>
            <a:ext cx="5486335" cy="3657600"/>
          </a:xfrm>
          <a:noFill/>
        </p:spPr>
        <p:txBody>
          <a:bodyPr lIns="146304" tIns="91440" rIns="146304" bIns="91440" anchor="t" anchorCtr="0"/>
          <a:lstStyle>
            <a:lvl1pPr>
              <a:defRPr sz="6000" spc="-101"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30883141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11" userDrawn="1">
          <p15:clr>
            <a:srgbClr val="C35EA4"/>
          </p15:clr>
        </p15:guide>
        <p15:guide id="2" orient="horz" pos="5581" userDrawn="1">
          <p15:clr>
            <a:srgbClr val="C35EA4"/>
          </p15:clr>
        </p15:guide>
        <p15:guide id="3" pos="392" userDrawn="1">
          <p15:clr>
            <a:srgbClr val="C35EA4"/>
          </p15:clr>
        </p15:guide>
        <p15:guide id="4" pos="10263" userDrawn="1">
          <p15:clr>
            <a:srgbClr val="C35EA4"/>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Pull Quote 2">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436475" cy="738536"/>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6033081" y="723013"/>
            <a:ext cx="640080" cy="640080"/>
          </a:xfrm>
          <a:solidFill>
            <a:srgbClr val="68217A"/>
          </a:solidFill>
        </p:spPr>
        <p:txBody>
          <a:bodyPr anchor="ctr">
            <a:noAutofit/>
          </a:bodyPr>
          <a:lstStyle>
            <a:lvl1pPr marL="0" indent="0">
              <a:lnSpc>
                <a:spcPts val="600"/>
              </a:lnSpc>
              <a:spcBef>
                <a:spcPts val="0"/>
              </a:spcBef>
              <a:buNone/>
              <a:defRPr sz="600">
                <a:solidFill>
                  <a:schemeClr val="bg1"/>
                </a:solidFill>
              </a:defRPr>
            </a:lvl1pPr>
            <a:lvl2pPr marL="342877" indent="0">
              <a:buNone/>
              <a:defRPr sz="3200"/>
            </a:lvl2pPr>
            <a:lvl3pPr marL="571463" indent="0">
              <a:buNone/>
              <a:defRPr sz="3200"/>
            </a:lvl3pPr>
            <a:lvl4pPr marL="800048" indent="0">
              <a:buNone/>
              <a:defRPr sz="3200"/>
            </a:lvl4pPr>
            <a:lvl5pPr marL="1028632" indent="0">
              <a:buNone/>
              <a:defRPr sz="3200"/>
            </a:lvl5pPr>
          </a:lstStyle>
          <a:p>
            <a:pPr lvl="0"/>
            <a:r>
              <a:rPr lang="en-US"/>
              <a:t> </a:t>
            </a:r>
          </a:p>
        </p:txBody>
      </p:sp>
      <p:sp>
        <p:nvSpPr>
          <p:cNvPr id="14" name="Text Placeholder 5"/>
          <p:cNvSpPr>
            <a:spLocks noGrp="1"/>
          </p:cNvSpPr>
          <p:nvPr>
            <p:ph type="body" sz="quarter" idx="16" hasCustomPrompt="1"/>
          </p:nvPr>
        </p:nvSpPr>
        <p:spPr>
          <a:xfrm>
            <a:off x="9418639" y="912247"/>
            <a:ext cx="640080" cy="261610"/>
          </a:xfrm>
          <a:solidFill>
            <a:srgbClr val="68217A"/>
          </a:solidFill>
        </p:spPr>
        <p:txBody>
          <a:bodyPr anchor="ctr"/>
          <a:lstStyle>
            <a:lvl1pPr marL="0" indent="0">
              <a:lnSpc>
                <a:spcPts val="600"/>
              </a:lnSpc>
              <a:spcBef>
                <a:spcPts val="0"/>
              </a:spcBef>
              <a:buNone/>
              <a:defRPr sz="600">
                <a:solidFill>
                  <a:schemeClr val="bg1"/>
                </a:solidFill>
              </a:defRPr>
            </a:lvl1pPr>
            <a:lvl2pPr marL="342877" indent="0">
              <a:buNone/>
              <a:defRPr sz="3200"/>
            </a:lvl2pPr>
            <a:lvl3pPr marL="571463" indent="0">
              <a:buNone/>
              <a:defRPr sz="3200"/>
            </a:lvl3pPr>
            <a:lvl4pPr marL="800048" indent="0">
              <a:buNone/>
              <a:defRPr sz="3200"/>
            </a:lvl4pPr>
            <a:lvl5pPr marL="1028632" indent="0">
              <a:buNone/>
              <a:defRPr sz="3200"/>
            </a:lvl5pPr>
          </a:lstStyle>
          <a:p>
            <a:pPr lvl="0"/>
            <a:r>
              <a:rPr lang="en-US"/>
              <a:t> </a:t>
            </a:r>
          </a:p>
        </p:txBody>
      </p:sp>
      <p:sp>
        <p:nvSpPr>
          <p:cNvPr id="15" name="Text Placeholder 5"/>
          <p:cNvSpPr>
            <a:spLocks noGrp="1"/>
          </p:cNvSpPr>
          <p:nvPr>
            <p:ph type="body" sz="quarter" idx="17" hasCustomPrompt="1"/>
          </p:nvPr>
        </p:nvSpPr>
        <p:spPr>
          <a:xfrm>
            <a:off x="9418639" y="3821068"/>
            <a:ext cx="640080" cy="261610"/>
          </a:xfrm>
          <a:solidFill>
            <a:srgbClr val="68217A"/>
          </a:solidFill>
        </p:spPr>
        <p:txBody>
          <a:bodyPr anchor="ctr"/>
          <a:lstStyle>
            <a:lvl1pPr marL="0" indent="0">
              <a:lnSpc>
                <a:spcPts val="600"/>
              </a:lnSpc>
              <a:spcBef>
                <a:spcPts val="0"/>
              </a:spcBef>
              <a:buNone/>
              <a:defRPr sz="600">
                <a:solidFill>
                  <a:schemeClr val="bg1"/>
                </a:solidFill>
              </a:defRPr>
            </a:lvl1pPr>
            <a:lvl2pPr marL="342877" indent="0">
              <a:buNone/>
              <a:defRPr sz="3200"/>
            </a:lvl2pPr>
            <a:lvl3pPr marL="571463" indent="0">
              <a:buNone/>
              <a:defRPr sz="3200"/>
            </a:lvl3pPr>
            <a:lvl4pPr marL="800048" indent="0">
              <a:buNone/>
              <a:defRPr sz="3200"/>
            </a:lvl4pPr>
            <a:lvl5pPr marL="1028632" indent="0">
              <a:buNone/>
              <a:defRPr sz="3200"/>
            </a:lvl5pPr>
          </a:lstStyle>
          <a:p>
            <a:pPr lvl="0"/>
            <a:r>
              <a:rPr lang="en-US"/>
              <a:t> </a:t>
            </a:r>
          </a:p>
        </p:txBody>
      </p:sp>
      <p:sp>
        <p:nvSpPr>
          <p:cNvPr id="17" name="Title 16"/>
          <p:cNvSpPr>
            <a:spLocks noGrp="1"/>
          </p:cNvSpPr>
          <p:nvPr>
            <p:ph type="title"/>
          </p:nvPr>
        </p:nvSpPr>
        <p:spPr>
          <a:xfrm>
            <a:off x="4394201" y="3628285"/>
            <a:ext cx="2278960" cy="2272453"/>
          </a:xfrm>
          <a:solidFill>
            <a:srgbClr val="68217A"/>
          </a:solidFill>
        </p:spPr>
        <p:txBody>
          <a:bodyPr lIns="182880" tIns="146304" rIns="182880" bIns="146304"/>
          <a:lstStyle>
            <a:lvl1pPr>
              <a:defRPr sz="3200">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297638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411" userDrawn="1">
          <p15:clr>
            <a:srgbClr val="C35EA4"/>
          </p15:clr>
        </p15:guide>
        <p15:guide id="2" orient="horz" pos="5581" userDrawn="1">
          <p15:clr>
            <a:srgbClr val="C35EA4"/>
          </p15:clr>
        </p15:guide>
        <p15:guide id="3" pos="392" userDrawn="1">
          <p15:clr>
            <a:srgbClr val="C35EA4"/>
          </p15:clr>
        </p15:guide>
        <p15:guide id="4" pos="10263" userDrawn="1">
          <p15:clr>
            <a:srgbClr val="C35E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274319" y="296898"/>
            <a:ext cx="11887518" cy="3200365"/>
          </a:xfrm>
        </p:spPr>
        <p:txBody>
          <a:bodyPr/>
          <a:lstStyle>
            <a:lvl1pPr>
              <a:defRPr sz="5800">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406137"/>
          </a:xfrm>
        </p:spPr>
        <p:txBody>
          <a:bodyPr/>
          <a:lstStyle>
            <a:lvl1pPr marL="0" indent="0">
              <a:buNone/>
              <a:defRPr sz="1599">
                <a:gradFill>
                  <a:gsLst>
                    <a:gs pos="1250">
                      <a:schemeClr val="tx1"/>
                    </a:gs>
                    <a:gs pos="100000">
                      <a:schemeClr val="tx1"/>
                    </a:gs>
                  </a:gsLst>
                  <a:lin ang="5400000" scaled="0"/>
                </a:gradFill>
                <a:latin typeface="+mn-lt"/>
              </a:defRPr>
            </a:lvl1pPr>
            <a:lvl2pPr>
              <a:defRPr sz="1599"/>
            </a:lvl2pPr>
            <a:lvl3pPr>
              <a:defRPr sz="1599"/>
            </a:lvl3pPr>
            <a:lvl4pPr>
              <a:defRPr sz="1599"/>
            </a:lvl4pPr>
            <a:lvl5pPr marL="1028632" indent="0">
              <a:buNone/>
              <a:defRPr sz="1599"/>
            </a:lvl5pPr>
          </a:lstStyle>
          <a:p>
            <a:pPr lvl="0"/>
            <a:r>
              <a:rPr lang="en-US"/>
              <a:t>Click to edit Master text styles</a:t>
            </a:r>
          </a:p>
        </p:txBody>
      </p:sp>
    </p:spTree>
    <p:extLst>
      <p:ext uri="{BB962C8B-B14F-4D97-AF65-F5344CB8AC3E}">
        <p14:creationId xmlns:p14="http://schemas.microsoft.com/office/powerpoint/2010/main" val="2927180647"/>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sp>
        <p:nvSpPr>
          <p:cNvPr id="2" name="Title 1"/>
          <p:cNvSpPr>
            <a:spLocks noGrp="1"/>
          </p:cNvSpPr>
          <p:nvPr>
            <p:ph type="title"/>
          </p:nvPr>
        </p:nvSpPr>
        <p:spPr>
          <a:xfrm>
            <a:off x="274319" y="296898"/>
            <a:ext cx="11887518" cy="3200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5"/>
            <a:ext cx="5486400" cy="406137"/>
          </a:xfrm>
        </p:spPr>
        <p:txBody>
          <a:bodyPr/>
          <a:lstStyle>
            <a:lvl1pPr marL="0" indent="0">
              <a:buNone/>
              <a:defRPr sz="1599">
                <a:gradFill>
                  <a:gsLst>
                    <a:gs pos="92035">
                      <a:schemeClr val="tx1"/>
                    </a:gs>
                    <a:gs pos="84000">
                      <a:schemeClr val="tx1"/>
                    </a:gs>
                  </a:gsLst>
                  <a:lin ang="5400000" scaled="0"/>
                </a:gradFill>
                <a:latin typeface="+mn-lt"/>
              </a:defRPr>
            </a:lvl1pPr>
            <a:lvl2pPr>
              <a:defRPr sz="1599">
                <a:gradFill>
                  <a:gsLst>
                    <a:gs pos="94030">
                      <a:srgbClr val="FFFFFF"/>
                    </a:gs>
                    <a:gs pos="68000">
                      <a:srgbClr val="FFFFFF"/>
                    </a:gs>
                  </a:gsLst>
                  <a:lin ang="5400000" scaled="0"/>
                </a:gradFill>
              </a:defRPr>
            </a:lvl2pPr>
            <a:lvl3pPr>
              <a:defRPr sz="1599">
                <a:gradFill>
                  <a:gsLst>
                    <a:gs pos="94030">
                      <a:srgbClr val="FFFFFF"/>
                    </a:gs>
                    <a:gs pos="68000">
                      <a:srgbClr val="FFFFFF"/>
                    </a:gs>
                  </a:gsLst>
                  <a:lin ang="5400000" scaled="0"/>
                </a:gradFill>
              </a:defRPr>
            </a:lvl3pPr>
            <a:lvl4pPr>
              <a:defRPr sz="1599">
                <a:gradFill>
                  <a:gsLst>
                    <a:gs pos="94030">
                      <a:srgbClr val="FFFFFF"/>
                    </a:gs>
                    <a:gs pos="68000">
                      <a:srgbClr val="FFFFFF"/>
                    </a:gs>
                  </a:gsLst>
                  <a:lin ang="5400000" scaled="0"/>
                </a:gradFill>
              </a:defRPr>
            </a:lvl4pPr>
            <a:lvl5pPr>
              <a:defRPr sz="1599">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8462792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85" rtl="0" eaLnBrk="1" latinLnBrk="0" hangingPunct="1">
              <a:lnSpc>
                <a:spcPct val="90000"/>
              </a:lnSpc>
              <a:spcBef>
                <a:spcPct val="0"/>
              </a:spcBef>
              <a:buNone/>
              <a:defRPr lang="en-US" sz="8799" b="0" kern="1200" cap="none" spc="-101"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327496" y="6697629"/>
            <a:ext cx="3781484"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6011856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Purple">
    <p:spTree>
      <p:nvGrpSpPr>
        <p:cNvPr id="1" name=""/>
        <p:cNvGrpSpPr/>
        <p:nvPr/>
      </p:nvGrpSpPr>
      <p:grpSpPr>
        <a:xfrm>
          <a:off x="0" y="0"/>
          <a:ext cx="0" cy="0"/>
          <a:chOff x="0" y="0"/>
          <a:chExt cx="0" cy="0"/>
        </a:xfrm>
      </p:grpSpPr>
      <p:sp>
        <p:nvSpPr>
          <p:cNvPr id="2" name="Title 1"/>
          <p:cNvSpPr>
            <a:spLocks noGrp="1"/>
          </p:cNvSpPr>
          <p:nvPr>
            <p:ph type="title"/>
          </p:nvPr>
        </p:nvSpPr>
        <p:spPr>
          <a:xfrm>
            <a:off x="274319" y="296898"/>
            <a:ext cx="11887518" cy="3200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406137"/>
          </a:xfrm>
        </p:spPr>
        <p:txBody>
          <a:bodyPr/>
          <a:lstStyle>
            <a:lvl1pPr marL="0" indent="0">
              <a:buNone/>
              <a:defRPr sz="1599">
                <a:gradFill>
                  <a:gsLst>
                    <a:gs pos="94690">
                      <a:schemeClr val="tx1"/>
                    </a:gs>
                    <a:gs pos="86000">
                      <a:schemeClr val="tx1"/>
                    </a:gs>
                  </a:gsLst>
                  <a:lin ang="5400000" scaled="0"/>
                </a:gradFill>
                <a:latin typeface="+mn-lt"/>
              </a:defRPr>
            </a:lvl1pPr>
            <a:lvl2pPr>
              <a:defRPr sz="1599">
                <a:gradFill>
                  <a:gsLst>
                    <a:gs pos="94030">
                      <a:srgbClr val="FFFFFF"/>
                    </a:gs>
                    <a:gs pos="68000">
                      <a:srgbClr val="FFFFFF"/>
                    </a:gs>
                  </a:gsLst>
                  <a:lin ang="5400000" scaled="0"/>
                </a:gradFill>
              </a:defRPr>
            </a:lvl2pPr>
            <a:lvl3pPr>
              <a:defRPr sz="1599">
                <a:gradFill>
                  <a:gsLst>
                    <a:gs pos="94030">
                      <a:srgbClr val="FFFFFF"/>
                    </a:gs>
                    <a:gs pos="68000">
                      <a:srgbClr val="FFFFFF"/>
                    </a:gs>
                  </a:gsLst>
                  <a:lin ang="5400000" scaled="0"/>
                </a:gradFill>
              </a:defRPr>
            </a:lvl3pPr>
            <a:lvl4pPr>
              <a:defRPr sz="1599">
                <a:gradFill>
                  <a:gsLst>
                    <a:gs pos="94030">
                      <a:srgbClr val="FFFFFF"/>
                    </a:gs>
                    <a:gs pos="68000">
                      <a:srgbClr val="FFFFFF"/>
                    </a:gs>
                  </a:gsLst>
                  <a:lin ang="5400000" scaled="0"/>
                </a:gradFill>
              </a:defRPr>
            </a:lvl4pPr>
            <a:lvl5pPr>
              <a:defRPr sz="1599">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42716009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19"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3"/>
            <a:ext cx="7315200" cy="517065"/>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4154452040"/>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2 Gray">
    <p:spTree>
      <p:nvGrpSpPr>
        <p:cNvPr id="1" name=""/>
        <p:cNvGrpSpPr/>
        <p:nvPr/>
      </p:nvGrpSpPr>
      <p:grpSpPr>
        <a:xfrm>
          <a:off x="0" y="0"/>
          <a:ext cx="0" cy="0"/>
          <a:chOff x="0" y="0"/>
          <a:chExt cx="0" cy="0"/>
        </a:xfrm>
      </p:grpSpPr>
      <p:sp>
        <p:nvSpPr>
          <p:cNvPr id="2" name="Title 1"/>
          <p:cNvSpPr>
            <a:spLocks noGrp="1"/>
          </p:cNvSpPr>
          <p:nvPr>
            <p:ph type="title"/>
          </p:nvPr>
        </p:nvSpPr>
        <p:spPr>
          <a:xfrm>
            <a:off x="274319" y="296898"/>
            <a:ext cx="11887518" cy="1828766"/>
          </a:xfrm>
        </p:spPr>
        <p:txBody>
          <a:bodyPr/>
          <a:lstStyle>
            <a:lvl1pPr>
              <a:defRPr sz="5800">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3"/>
            <a:ext cx="7315200" cy="517065"/>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4799309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Content 2 Orange">
    <p:spTree>
      <p:nvGrpSpPr>
        <p:cNvPr id="1" name=""/>
        <p:cNvGrpSpPr/>
        <p:nvPr/>
      </p:nvGrpSpPr>
      <p:grpSpPr>
        <a:xfrm>
          <a:off x="0" y="0"/>
          <a:ext cx="0" cy="0"/>
          <a:chOff x="0" y="0"/>
          <a:chExt cx="0" cy="0"/>
        </a:xfrm>
      </p:grpSpPr>
      <p:sp>
        <p:nvSpPr>
          <p:cNvPr id="2" name="Title 1"/>
          <p:cNvSpPr>
            <a:spLocks noGrp="1"/>
          </p:cNvSpPr>
          <p:nvPr>
            <p:ph type="title"/>
          </p:nvPr>
        </p:nvSpPr>
        <p:spPr>
          <a:xfrm>
            <a:off x="274319" y="296898"/>
            <a:ext cx="11887518" cy="1828766"/>
          </a:xfrm>
        </p:spPr>
        <p:txBody>
          <a:bodyPr/>
          <a:lstStyle>
            <a:lvl1pPr>
              <a:defRPr sz="5800">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3"/>
            <a:ext cx="7315200" cy="517065"/>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0688088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19" y="296899"/>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9" y="1697063"/>
            <a:ext cx="10972800" cy="1965734"/>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1"/>
            </a:lvl4pPr>
            <a:lvl5pPr>
              <a:defRPr sz="180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37728195"/>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Photo &amp; Content Only">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1"/>
            <a:ext cx="6002337" cy="738536"/>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761038" y="1211263"/>
            <a:ext cx="6400800" cy="600164"/>
          </a:xfrm>
        </p:spPr>
        <p:txBody>
          <a:bodyPr/>
          <a:lstStyle>
            <a:lvl1pPr marL="0" indent="0">
              <a:buNone/>
              <a:defRPr sz="3000"/>
            </a:lvl1pPr>
          </a:lstStyle>
          <a:p>
            <a:pPr lvl="0"/>
            <a:r>
              <a:rPr lang="en-US"/>
              <a:t>Click to edit Master text styles</a:t>
            </a:r>
          </a:p>
        </p:txBody>
      </p:sp>
    </p:spTree>
    <p:extLst>
      <p:ext uri="{BB962C8B-B14F-4D97-AF65-F5344CB8AC3E}">
        <p14:creationId xmlns:p14="http://schemas.microsoft.com/office/powerpoint/2010/main" val="1837629555"/>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404657060"/>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mall Title &amp;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
        <p:nvSpPr>
          <p:cNvPr id="4" name="Content Placeholder 3"/>
          <p:cNvSpPr>
            <a:spLocks noGrp="1"/>
          </p:cNvSpPr>
          <p:nvPr>
            <p:ph sz="quarter" idx="10"/>
          </p:nvPr>
        </p:nvSpPr>
        <p:spPr>
          <a:xfrm>
            <a:off x="274637" y="1697038"/>
            <a:ext cx="9144000" cy="683264"/>
          </a:xfrm>
        </p:spPr>
        <p:txBody>
          <a:bodyPr/>
          <a:lstStyle>
            <a:lvl1pPr marL="0" indent="0">
              <a:buNone/>
              <a:defRPr sz="3600"/>
            </a:lvl1pPr>
            <a:lvl2pPr>
              <a:defRPr sz="3600"/>
            </a:lvl2pPr>
            <a:lvl3pPr>
              <a:defRPr sz="3600"/>
            </a:lvl3pPr>
            <a:lvl4pPr>
              <a:defRPr sz="3600"/>
            </a:lvl4pPr>
            <a:lvl5pPr>
              <a:defRPr sz="3600"/>
            </a:lvl5pPr>
          </a:lstStyle>
          <a:p>
            <a:pPr lvl="0"/>
            <a:r>
              <a:rPr lang="en-US"/>
              <a:t>Click to edit Master text styles</a:t>
            </a:r>
          </a:p>
        </p:txBody>
      </p:sp>
    </p:spTree>
    <p:extLst>
      <p:ext uri="{BB962C8B-B14F-4D97-AF65-F5344CB8AC3E}">
        <p14:creationId xmlns:p14="http://schemas.microsoft.com/office/powerpoint/2010/main" val="925090260"/>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9" y="1697063"/>
            <a:ext cx="3657599" cy="434093"/>
          </a:xfrm>
        </p:spPr>
        <p:txBody>
          <a:bodyPr/>
          <a:lstStyle>
            <a:lvl1pPr marL="0" indent="0">
              <a:buNone/>
              <a:defRPr sz="1801">
                <a:latin typeface="+mn-lt"/>
              </a:defRPr>
            </a:lvl1pPr>
            <a:lvl2pPr>
              <a:defRPr sz="1801"/>
            </a:lvl2pPr>
            <a:lvl3pPr>
              <a:defRPr sz="1801"/>
            </a:lvl3pPr>
            <a:lvl4pPr>
              <a:defRPr sz="1801"/>
            </a:lvl4pPr>
            <a:lvl5pPr>
              <a:defRPr sz="1801"/>
            </a:lvl5pPr>
          </a:lstStyle>
          <a:p>
            <a:pPr lvl="0"/>
            <a:r>
              <a:rPr lang="en-US"/>
              <a:t>Click to edit Master text styles</a:t>
            </a:r>
          </a:p>
        </p:txBody>
      </p:sp>
    </p:spTree>
    <p:extLst>
      <p:ext uri="{BB962C8B-B14F-4D97-AF65-F5344CB8AC3E}">
        <p14:creationId xmlns:p14="http://schemas.microsoft.com/office/powerpoint/2010/main" val="2263793101"/>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mp; photo">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1"/>
            <a:ext cx="12436475" cy="738536"/>
          </a:xfrm>
        </p:spPr>
        <p:txBody>
          <a:bodyPr/>
          <a:lstStyle/>
          <a:p>
            <a:r>
              <a:rPr lang="en-US"/>
              <a:t>Click icon to add picture</a:t>
            </a:r>
            <a:endParaRPr lang="en-US" dirty="0"/>
          </a:p>
        </p:txBody>
      </p:sp>
      <p:sp>
        <p:nvSpPr>
          <p:cNvPr id="2" name="Title 1"/>
          <p:cNvSpPr>
            <a:spLocks noGrp="1"/>
          </p:cNvSpPr>
          <p:nvPr>
            <p:ph type="title"/>
          </p:nvPr>
        </p:nvSpPr>
        <p:spPr/>
        <p:txBody>
          <a:bodyPr/>
          <a:lstStyle>
            <a:lvl1pPr>
              <a:defRPr sz="4799">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84133786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85" rtl="0" eaLnBrk="1" latinLnBrk="0" hangingPunct="1">
              <a:lnSpc>
                <a:spcPct val="90000"/>
              </a:lnSpc>
              <a:spcBef>
                <a:spcPct val="0"/>
              </a:spcBef>
              <a:buNone/>
              <a:defRPr lang="en-US" sz="8799" b="0" kern="1200" cap="none" spc="-101"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327496" y="6697629"/>
            <a:ext cx="3781484"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505050">
                        <a:alpha val="50000"/>
                      </a:srgbClr>
                    </a:gs>
                    <a:gs pos="86000">
                      <a:srgbClr val="505050">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8417644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mp; 4 Categories">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98"/>
            <a:ext cx="11889564" cy="752093"/>
          </a:xfrm>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3040064"/>
            <a:ext cx="11887200" cy="517065"/>
          </a:xfrm>
        </p:spPr>
        <p:txBody>
          <a:bodyPr/>
          <a:lstStyle>
            <a:lvl1pPr marL="0" indent="0">
              <a:buNone/>
              <a:defRPr sz="2400"/>
            </a:lvl1pPr>
          </a:lstStyle>
          <a:p>
            <a:pPr lvl="0"/>
            <a:r>
              <a:rPr lang="en-US"/>
              <a:t>Click to edit Master text styles</a:t>
            </a:r>
          </a:p>
        </p:txBody>
      </p:sp>
      <p:sp>
        <p:nvSpPr>
          <p:cNvPr id="6" name="Content Placeholder 5"/>
          <p:cNvSpPr>
            <a:spLocks noGrp="1"/>
          </p:cNvSpPr>
          <p:nvPr>
            <p:ph sz="quarter" idx="11"/>
          </p:nvPr>
        </p:nvSpPr>
        <p:spPr>
          <a:xfrm>
            <a:off x="274638"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7" name="Content Placeholder 5"/>
          <p:cNvSpPr>
            <a:spLocks noGrp="1"/>
          </p:cNvSpPr>
          <p:nvPr>
            <p:ph sz="quarter" idx="12"/>
          </p:nvPr>
        </p:nvSpPr>
        <p:spPr>
          <a:xfrm>
            <a:off x="3321740"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8" name="Content Placeholder 5"/>
          <p:cNvSpPr>
            <a:spLocks noGrp="1"/>
          </p:cNvSpPr>
          <p:nvPr>
            <p:ph sz="quarter" idx="13"/>
          </p:nvPr>
        </p:nvSpPr>
        <p:spPr>
          <a:xfrm>
            <a:off x="6368842"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9" name="Content Placeholder 5"/>
          <p:cNvSpPr>
            <a:spLocks noGrp="1"/>
          </p:cNvSpPr>
          <p:nvPr>
            <p:ph sz="quarter" idx="14"/>
          </p:nvPr>
        </p:nvSpPr>
        <p:spPr>
          <a:xfrm>
            <a:off x="9415944"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813840633"/>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Dark Content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1"/>
            </a:lvl4pPr>
            <a:lvl5pPr>
              <a:defRPr sz="1801"/>
            </a:lvl5pPr>
          </a:lstStyle>
          <a:p>
            <a:pPr lvl="0"/>
            <a:r>
              <a:rPr lang="en-US"/>
              <a:t>Click to edit Master text styles</a:t>
            </a:r>
          </a:p>
        </p:txBody>
      </p:sp>
    </p:spTree>
    <p:extLst>
      <p:ext uri="{BB962C8B-B14F-4D97-AF65-F5344CB8AC3E}">
        <p14:creationId xmlns:p14="http://schemas.microsoft.com/office/powerpoint/2010/main" val="3798807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mall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Tree>
    <p:extLst>
      <p:ext uri="{BB962C8B-B14F-4D97-AF65-F5344CB8AC3E}">
        <p14:creationId xmlns:p14="http://schemas.microsoft.com/office/powerpoint/2010/main" val="2473633617"/>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9376642"/>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1">
    <p:spTree>
      <p:nvGrpSpPr>
        <p:cNvPr id="1" name=""/>
        <p:cNvGrpSpPr/>
        <p:nvPr/>
      </p:nvGrpSpPr>
      <p:grpSpPr>
        <a:xfrm>
          <a:off x="0" y="0"/>
          <a:ext cx="0" cy="0"/>
          <a:chOff x="0" y="0"/>
          <a:chExt cx="0" cy="0"/>
        </a:xfrm>
      </p:grpSpPr>
      <p:grpSp>
        <p:nvGrpSpPr>
          <p:cNvPr id="3" name="Group 2"/>
          <p:cNvGrpSpPr/>
          <p:nvPr userDrawn="1"/>
        </p:nvGrpSpPr>
        <p:grpSpPr>
          <a:xfrm>
            <a:off x="278608" y="296864"/>
            <a:ext cx="11887200" cy="6247693"/>
            <a:chOff x="274638" y="297107"/>
            <a:chExt cx="11887200" cy="6247693"/>
          </a:xfrm>
        </p:grpSpPr>
        <p:pic>
          <p:nvPicPr>
            <p:cNvPr id="4" name="Picture 3" descr="NewGridTile_8x8.png"/>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74321" y="2122489"/>
            <a:ext cx="11889564" cy="2746375"/>
          </a:xfrm>
        </p:spPr>
        <p:txBody>
          <a:bodyPr/>
          <a:lstStyle>
            <a:lvl1pPr>
              <a:defRPr sz="8800">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9052733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p:nvPr>
        </p:nvSpPr>
        <p:spPr>
          <a:xfrm>
            <a:off x="274321" y="2122489"/>
            <a:ext cx="11889564" cy="2746375"/>
          </a:xfrm>
        </p:spPr>
        <p:txBody>
          <a:bodyPr/>
          <a:lstStyle>
            <a:lvl1pPr>
              <a:defRPr sz="8800">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683291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3">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64"/>
            <a:ext cx="11889564" cy="1828800"/>
          </a:xfrm>
        </p:spPr>
        <p:txBody>
          <a:bodyPr/>
          <a:lstStyle>
            <a:lvl1pPr>
              <a:defRPr sz="5400">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9751162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1" y="2129451"/>
            <a:ext cx="11889564" cy="917575"/>
          </a:xfrm>
        </p:spPr>
        <p:txBody>
          <a:bodyPr/>
          <a:lstStyle>
            <a:lvl1pPr>
              <a:defRPr sz="6000"/>
            </a:lvl1pPr>
          </a:lstStyle>
          <a:p>
            <a:r>
              <a:rPr lang="en-US" dirty="0"/>
              <a:t>Thank you</a:t>
            </a:r>
          </a:p>
        </p:txBody>
      </p:sp>
    </p:spTree>
    <p:extLst>
      <p:ext uri="{BB962C8B-B14F-4D97-AF65-F5344CB8AC3E}">
        <p14:creationId xmlns:p14="http://schemas.microsoft.com/office/powerpoint/2010/main" val="3313635532"/>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1" y="292083"/>
            <a:ext cx="11887200" cy="946413"/>
          </a:xfrm>
          <a:prstGeom prst="rect">
            <a:avLst/>
          </a:prstGeom>
        </p:spPr>
        <p:txBody>
          <a:bodyPr lIns="146304" tIns="91440" rIns="146304" bIns="91440"/>
          <a:lstStyle>
            <a:lvl1pPr algn="l">
              <a:defRPr sz="5200">
                <a:solidFill>
                  <a:schemeClr val="tx2"/>
                </a:soli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3190503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738536"/>
          </a:xfrm>
        </p:spPr>
        <p:txBody>
          <a:bodyPr/>
          <a:lstStyle>
            <a:lvl1pPr marL="0" indent="0">
              <a:buNone/>
              <a:defRPr/>
            </a:lvl1pPr>
          </a:lstStyle>
          <a:p>
            <a:endParaRPr lang="en-US"/>
          </a:p>
        </p:txBody>
      </p:sp>
      <p:sp>
        <p:nvSpPr>
          <p:cNvPr id="5" name="Title 4"/>
          <p:cNvSpPr>
            <a:spLocks noGrp="1"/>
          </p:cNvSpPr>
          <p:nvPr>
            <p:ph type="title"/>
          </p:nvPr>
        </p:nvSpPr>
        <p:spPr>
          <a:xfrm>
            <a:off x="274321" y="307608"/>
            <a:ext cx="5486717"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036317052"/>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33.xml"/><Relationship Id="rId13" Type="http://schemas.openxmlformats.org/officeDocument/2006/relationships/slideLayout" Target="../slideLayouts/slideLayout238.xml"/><Relationship Id="rId18" Type="http://schemas.openxmlformats.org/officeDocument/2006/relationships/slideLayout" Target="../slideLayouts/slideLayout243.xml"/><Relationship Id="rId26" Type="http://schemas.openxmlformats.org/officeDocument/2006/relationships/slideLayout" Target="../slideLayouts/slideLayout251.xml"/><Relationship Id="rId3" Type="http://schemas.openxmlformats.org/officeDocument/2006/relationships/slideLayout" Target="../slideLayouts/slideLayout228.xml"/><Relationship Id="rId21" Type="http://schemas.openxmlformats.org/officeDocument/2006/relationships/slideLayout" Target="../slideLayouts/slideLayout246.xml"/><Relationship Id="rId7" Type="http://schemas.openxmlformats.org/officeDocument/2006/relationships/slideLayout" Target="../slideLayouts/slideLayout232.xml"/><Relationship Id="rId12" Type="http://schemas.openxmlformats.org/officeDocument/2006/relationships/slideLayout" Target="../slideLayouts/slideLayout237.xml"/><Relationship Id="rId17" Type="http://schemas.openxmlformats.org/officeDocument/2006/relationships/slideLayout" Target="../slideLayouts/slideLayout242.xml"/><Relationship Id="rId25" Type="http://schemas.openxmlformats.org/officeDocument/2006/relationships/slideLayout" Target="../slideLayouts/slideLayout250.xml"/><Relationship Id="rId2" Type="http://schemas.openxmlformats.org/officeDocument/2006/relationships/slideLayout" Target="../slideLayouts/slideLayout227.xml"/><Relationship Id="rId16" Type="http://schemas.openxmlformats.org/officeDocument/2006/relationships/slideLayout" Target="../slideLayouts/slideLayout241.xml"/><Relationship Id="rId20" Type="http://schemas.openxmlformats.org/officeDocument/2006/relationships/slideLayout" Target="../slideLayouts/slideLayout245.xml"/><Relationship Id="rId29" Type="http://schemas.openxmlformats.org/officeDocument/2006/relationships/slideLayout" Target="../slideLayouts/slideLayout254.xml"/><Relationship Id="rId1" Type="http://schemas.openxmlformats.org/officeDocument/2006/relationships/slideLayout" Target="../slideLayouts/slideLayout226.xml"/><Relationship Id="rId6" Type="http://schemas.openxmlformats.org/officeDocument/2006/relationships/slideLayout" Target="../slideLayouts/slideLayout231.xml"/><Relationship Id="rId11" Type="http://schemas.openxmlformats.org/officeDocument/2006/relationships/slideLayout" Target="../slideLayouts/slideLayout236.xml"/><Relationship Id="rId24" Type="http://schemas.openxmlformats.org/officeDocument/2006/relationships/slideLayout" Target="../slideLayouts/slideLayout249.xml"/><Relationship Id="rId32" Type="http://schemas.openxmlformats.org/officeDocument/2006/relationships/image" Target="../media/image21.png"/><Relationship Id="rId5" Type="http://schemas.openxmlformats.org/officeDocument/2006/relationships/slideLayout" Target="../slideLayouts/slideLayout230.xml"/><Relationship Id="rId15" Type="http://schemas.openxmlformats.org/officeDocument/2006/relationships/slideLayout" Target="../slideLayouts/slideLayout240.xml"/><Relationship Id="rId23" Type="http://schemas.openxmlformats.org/officeDocument/2006/relationships/slideLayout" Target="../slideLayouts/slideLayout248.xml"/><Relationship Id="rId28" Type="http://schemas.openxmlformats.org/officeDocument/2006/relationships/slideLayout" Target="../slideLayouts/slideLayout253.xml"/><Relationship Id="rId10" Type="http://schemas.openxmlformats.org/officeDocument/2006/relationships/slideLayout" Target="../slideLayouts/slideLayout235.xml"/><Relationship Id="rId19" Type="http://schemas.openxmlformats.org/officeDocument/2006/relationships/slideLayout" Target="../slideLayouts/slideLayout244.xml"/><Relationship Id="rId31" Type="http://schemas.openxmlformats.org/officeDocument/2006/relationships/theme" Target="../theme/theme10.xml"/><Relationship Id="rId4" Type="http://schemas.openxmlformats.org/officeDocument/2006/relationships/slideLayout" Target="../slideLayouts/slideLayout229.xml"/><Relationship Id="rId9" Type="http://schemas.openxmlformats.org/officeDocument/2006/relationships/slideLayout" Target="../slideLayouts/slideLayout234.xml"/><Relationship Id="rId14" Type="http://schemas.openxmlformats.org/officeDocument/2006/relationships/slideLayout" Target="../slideLayouts/slideLayout239.xml"/><Relationship Id="rId22" Type="http://schemas.openxmlformats.org/officeDocument/2006/relationships/slideLayout" Target="../slideLayouts/slideLayout247.xml"/><Relationship Id="rId27" Type="http://schemas.openxmlformats.org/officeDocument/2006/relationships/slideLayout" Target="../slideLayouts/slideLayout252.xml"/><Relationship Id="rId30" Type="http://schemas.openxmlformats.org/officeDocument/2006/relationships/slideLayout" Target="../slideLayouts/slideLayout25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63.xml"/><Relationship Id="rId13" Type="http://schemas.openxmlformats.org/officeDocument/2006/relationships/slideLayout" Target="../slideLayouts/slideLayout268.xml"/><Relationship Id="rId18" Type="http://schemas.openxmlformats.org/officeDocument/2006/relationships/slideLayout" Target="../slideLayouts/slideLayout273.xml"/><Relationship Id="rId3" Type="http://schemas.openxmlformats.org/officeDocument/2006/relationships/slideLayout" Target="../slideLayouts/slideLayout258.xml"/><Relationship Id="rId21" Type="http://schemas.openxmlformats.org/officeDocument/2006/relationships/slideLayout" Target="../slideLayouts/slideLayout276.xml"/><Relationship Id="rId7" Type="http://schemas.openxmlformats.org/officeDocument/2006/relationships/slideLayout" Target="../slideLayouts/slideLayout262.xml"/><Relationship Id="rId12" Type="http://schemas.openxmlformats.org/officeDocument/2006/relationships/slideLayout" Target="../slideLayouts/slideLayout267.xml"/><Relationship Id="rId17" Type="http://schemas.openxmlformats.org/officeDocument/2006/relationships/slideLayout" Target="../slideLayouts/slideLayout272.xml"/><Relationship Id="rId2" Type="http://schemas.openxmlformats.org/officeDocument/2006/relationships/slideLayout" Target="../slideLayouts/slideLayout257.xml"/><Relationship Id="rId16" Type="http://schemas.openxmlformats.org/officeDocument/2006/relationships/slideLayout" Target="../slideLayouts/slideLayout271.xml"/><Relationship Id="rId20" Type="http://schemas.openxmlformats.org/officeDocument/2006/relationships/slideLayout" Target="../slideLayouts/slideLayout275.xml"/><Relationship Id="rId1" Type="http://schemas.openxmlformats.org/officeDocument/2006/relationships/slideLayout" Target="../slideLayouts/slideLayout256.xml"/><Relationship Id="rId6" Type="http://schemas.openxmlformats.org/officeDocument/2006/relationships/slideLayout" Target="../slideLayouts/slideLayout261.xml"/><Relationship Id="rId11" Type="http://schemas.openxmlformats.org/officeDocument/2006/relationships/slideLayout" Target="../slideLayouts/slideLayout266.xml"/><Relationship Id="rId5" Type="http://schemas.openxmlformats.org/officeDocument/2006/relationships/slideLayout" Target="../slideLayouts/slideLayout260.xml"/><Relationship Id="rId15" Type="http://schemas.openxmlformats.org/officeDocument/2006/relationships/slideLayout" Target="../slideLayouts/slideLayout270.xml"/><Relationship Id="rId10" Type="http://schemas.openxmlformats.org/officeDocument/2006/relationships/slideLayout" Target="../slideLayouts/slideLayout265.xml"/><Relationship Id="rId19" Type="http://schemas.openxmlformats.org/officeDocument/2006/relationships/slideLayout" Target="../slideLayouts/slideLayout274.xml"/><Relationship Id="rId4" Type="http://schemas.openxmlformats.org/officeDocument/2006/relationships/slideLayout" Target="../slideLayouts/slideLayout259.xml"/><Relationship Id="rId9" Type="http://schemas.openxmlformats.org/officeDocument/2006/relationships/slideLayout" Target="../slideLayouts/slideLayout264.xml"/><Relationship Id="rId14" Type="http://schemas.openxmlformats.org/officeDocument/2006/relationships/slideLayout" Target="../slideLayouts/slideLayout269.xml"/><Relationship Id="rId22"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84.xml"/><Relationship Id="rId13" Type="http://schemas.openxmlformats.org/officeDocument/2006/relationships/slideLayout" Target="../slideLayouts/slideLayout289.xml"/><Relationship Id="rId18" Type="http://schemas.openxmlformats.org/officeDocument/2006/relationships/slideLayout" Target="../slideLayouts/slideLayout294.xml"/><Relationship Id="rId26" Type="http://schemas.openxmlformats.org/officeDocument/2006/relationships/image" Target="../media/image21.png"/><Relationship Id="rId3" Type="http://schemas.openxmlformats.org/officeDocument/2006/relationships/slideLayout" Target="../slideLayouts/slideLayout279.xml"/><Relationship Id="rId21" Type="http://schemas.openxmlformats.org/officeDocument/2006/relationships/slideLayout" Target="../slideLayouts/slideLayout297.xml"/><Relationship Id="rId7" Type="http://schemas.openxmlformats.org/officeDocument/2006/relationships/slideLayout" Target="../slideLayouts/slideLayout283.xml"/><Relationship Id="rId12" Type="http://schemas.openxmlformats.org/officeDocument/2006/relationships/slideLayout" Target="../slideLayouts/slideLayout288.xml"/><Relationship Id="rId17" Type="http://schemas.openxmlformats.org/officeDocument/2006/relationships/slideLayout" Target="../slideLayouts/slideLayout293.xml"/><Relationship Id="rId25" Type="http://schemas.openxmlformats.org/officeDocument/2006/relationships/theme" Target="../theme/theme12.xml"/><Relationship Id="rId2" Type="http://schemas.openxmlformats.org/officeDocument/2006/relationships/slideLayout" Target="../slideLayouts/slideLayout278.xml"/><Relationship Id="rId16" Type="http://schemas.openxmlformats.org/officeDocument/2006/relationships/slideLayout" Target="../slideLayouts/slideLayout292.xml"/><Relationship Id="rId20" Type="http://schemas.openxmlformats.org/officeDocument/2006/relationships/slideLayout" Target="../slideLayouts/slideLayout296.xml"/><Relationship Id="rId1" Type="http://schemas.openxmlformats.org/officeDocument/2006/relationships/slideLayout" Target="../slideLayouts/slideLayout277.xml"/><Relationship Id="rId6" Type="http://schemas.openxmlformats.org/officeDocument/2006/relationships/slideLayout" Target="../slideLayouts/slideLayout282.xml"/><Relationship Id="rId11" Type="http://schemas.openxmlformats.org/officeDocument/2006/relationships/slideLayout" Target="../slideLayouts/slideLayout287.xml"/><Relationship Id="rId24" Type="http://schemas.openxmlformats.org/officeDocument/2006/relationships/slideLayout" Target="../slideLayouts/slideLayout300.xml"/><Relationship Id="rId5" Type="http://schemas.openxmlformats.org/officeDocument/2006/relationships/slideLayout" Target="../slideLayouts/slideLayout281.xml"/><Relationship Id="rId15" Type="http://schemas.openxmlformats.org/officeDocument/2006/relationships/slideLayout" Target="../slideLayouts/slideLayout291.xml"/><Relationship Id="rId23" Type="http://schemas.openxmlformats.org/officeDocument/2006/relationships/slideLayout" Target="../slideLayouts/slideLayout299.xml"/><Relationship Id="rId10" Type="http://schemas.openxmlformats.org/officeDocument/2006/relationships/slideLayout" Target="../slideLayouts/slideLayout286.xml"/><Relationship Id="rId19" Type="http://schemas.openxmlformats.org/officeDocument/2006/relationships/slideLayout" Target="../slideLayouts/slideLayout295.xml"/><Relationship Id="rId4" Type="http://schemas.openxmlformats.org/officeDocument/2006/relationships/slideLayout" Target="../slideLayouts/slideLayout280.xml"/><Relationship Id="rId9" Type="http://schemas.openxmlformats.org/officeDocument/2006/relationships/slideLayout" Target="../slideLayouts/slideLayout285.xml"/><Relationship Id="rId14" Type="http://schemas.openxmlformats.org/officeDocument/2006/relationships/slideLayout" Target="../slideLayouts/slideLayout290.xml"/><Relationship Id="rId22" Type="http://schemas.openxmlformats.org/officeDocument/2006/relationships/slideLayout" Target="../slideLayouts/slideLayout298.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303.xml"/><Relationship Id="rId7" Type="http://schemas.openxmlformats.org/officeDocument/2006/relationships/theme" Target="../theme/theme13.xml"/><Relationship Id="rId2" Type="http://schemas.openxmlformats.org/officeDocument/2006/relationships/slideLayout" Target="../slideLayouts/slideLayout302.xml"/><Relationship Id="rId1" Type="http://schemas.openxmlformats.org/officeDocument/2006/relationships/slideLayout" Target="../slideLayouts/slideLayout301.xml"/><Relationship Id="rId6" Type="http://schemas.openxmlformats.org/officeDocument/2006/relationships/slideLayout" Target="../slideLayouts/slideLayout306.xml"/><Relationship Id="rId5" Type="http://schemas.openxmlformats.org/officeDocument/2006/relationships/slideLayout" Target="../slideLayouts/slideLayout305.xml"/><Relationship Id="rId4" Type="http://schemas.openxmlformats.org/officeDocument/2006/relationships/slideLayout" Target="../slideLayouts/slideLayout304.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14.xml"/><Relationship Id="rId13" Type="http://schemas.openxmlformats.org/officeDocument/2006/relationships/slideLayout" Target="../slideLayouts/slideLayout319.xml"/><Relationship Id="rId18" Type="http://schemas.openxmlformats.org/officeDocument/2006/relationships/slideLayout" Target="../slideLayouts/slideLayout324.xml"/><Relationship Id="rId26" Type="http://schemas.openxmlformats.org/officeDocument/2006/relationships/slideLayout" Target="../slideLayouts/slideLayout332.xml"/><Relationship Id="rId3" Type="http://schemas.openxmlformats.org/officeDocument/2006/relationships/slideLayout" Target="../slideLayouts/slideLayout309.xml"/><Relationship Id="rId21" Type="http://schemas.openxmlformats.org/officeDocument/2006/relationships/slideLayout" Target="../slideLayouts/slideLayout327.xml"/><Relationship Id="rId7" Type="http://schemas.openxmlformats.org/officeDocument/2006/relationships/slideLayout" Target="../slideLayouts/slideLayout313.xml"/><Relationship Id="rId12" Type="http://schemas.openxmlformats.org/officeDocument/2006/relationships/slideLayout" Target="../slideLayouts/slideLayout318.xml"/><Relationship Id="rId17" Type="http://schemas.openxmlformats.org/officeDocument/2006/relationships/slideLayout" Target="../slideLayouts/slideLayout323.xml"/><Relationship Id="rId25" Type="http://schemas.openxmlformats.org/officeDocument/2006/relationships/slideLayout" Target="../slideLayouts/slideLayout331.xml"/><Relationship Id="rId2" Type="http://schemas.openxmlformats.org/officeDocument/2006/relationships/slideLayout" Target="../slideLayouts/slideLayout308.xml"/><Relationship Id="rId16" Type="http://schemas.openxmlformats.org/officeDocument/2006/relationships/slideLayout" Target="../slideLayouts/slideLayout322.xml"/><Relationship Id="rId20" Type="http://schemas.openxmlformats.org/officeDocument/2006/relationships/slideLayout" Target="../slideLayouts/slideLayout326.xml"/><Relationship Id="rId29" Type="http://schemas.openxmlformats.org/officeDocument/2006/relationships/slideLayout" Target="../slideLayouts/slideLayout335.xml"/><Relationship Id="rId1" Type="http://schemas.openxmlformats.org/officeDocument/2006/relationships/slideLayout" Target="../slideLayouts/slideLayout307.xml"/><Relationship Id="rId6" Type="http://schemas.openxmlformats.org/officeDocument/2006/relationships/slideLayout" Target="../slideLayouts/slideLayout312.xml"/><Relationship Id="rId11" Type="http://schemas.openxmlformats.org/officeDocument/2006/relationships/slideLayout" Target="../slideLayouts/slideLayout317.xml"/><Relationship Id="rId24" Type="http://schemas.openxmlformats.org/officeDocument/2006/relationships/slideLayout" Target="../slideLayouts/slideLayout330.xml"/><Relationship Id="rId32" Type="http://schemas.openxmlformats.org/officeDocument/2006/relationships/theme" Target="../theme/theme14.xml"/><Relationship Id="rId5" Type="http://schemas.openxmlformats.org/officeDocument/2006/relationships/slideLayout" Target="../slideLayouts/slideLayout311.xml"/><Relationship Id="rId15" Type="http://schemas.openxmlformats.org/officeDocument/2006/relationships/slideLayout" Target="../slideLayouts/slideLayout321.xml"/><Relationship Id="rId23" Type="http://schemas.openxmlformats.org/officeDocument/2006/relationships/slideLayout" Target="../slideLayouts/slideLayout329.xml"/><Relationship Id="rId28" Type="http://schemas.openxmlformats.org/officeDocument/2006/relationships/slideLayout" Target="../slideLayouts/slideLayout334.xml"/><Relationship Id="rId10" Type="http://schemas.openxmlformats.org/officeDocument/2006/relationships/slideLayout" Target="../slideLayouts/slideLayout316.xml"/><Relationship Id="rId19" Type="http://schemas.openxmlformats.org/officeDocument/2006/relationships/slideLayout" Target="../slideLayouts/slideLayout325.xml"/><Relationship Id="rId31" Type="http://schemas.openxmlformats.org/officeDocument/2006/relationships/slideLayout" Target="../slideLayouts/slideLayout337.xml"/><Relationship Id="rId4" Type="http://schemas.openxmlformats.org/officeDocument/2006/relationships/slideLayout" Target="../slideLayouts/slideLayout310.xml"/><Relationship Id="rId9" Type="http://schemas.openxmlformats.org/officeDocument/2006/relationships/slideLayout" Target="../slideLayouts/slideLayout315.xml"/><Relationship Id="rId14" Type="http://schemas.openxmlformats.org/officeDocument/2006/relationships/slideLayout" Target="../slideLayouts/slideLayout320.xml"/><Relationship Id="rId22" Type="http://schemas.openxmlformats.org/officeDocument/2006/relationships/slideLayout" Target="../slideLayouts/slideLayout328.xml"/><Relationship Id="rId27" Type="http://schemas.openxmlformats.org/officeDocument/2006/relationships/slideLayout" Target="../slideLayouts/slideLayout333.xml"/><Relationship Id="rId30" Type="http://schemas.openxmlformats.org/officeDocument/2006/relationships/slideLayout" Target="../slideLayouts/slideLayout336.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45.xml"/><Relationship Id="rId13" Type="http://schemas.openxmlformats.org/officeDocument/2006/relationships/slideLayout" Target="../slideLayouts/slideLayout350.xml"/><Relationship Id="rId18" Type="http://schemas.openxmlformats.org/officeDocument/2006/relationships/slideLayout" Target="../slideLayouts/slideLayout355.xml"/><Relationship Id="rId3" Type="http://schemas.openxmlformats.org/officeDocument/2006/relationships/slideLayout" Target="../slideLayouts/slideLayout340.xml"/><Relationship Id="rId7" Type="http://schemas.openxmlformats.org/officeDocument/2006/relationships/slideLayout" Target="../slideLayouts/slideLayout344.xml"/><Relationship Id="rId12" Type="http://schemas.openxmlformats.org/officeDocument/2006/relationships/slideLayout" Target="../slideLayouts/slideLayout349.xml"/><Relationship Id="rId17" Type="http://schemas.openxmlformats.org/officeDocument/2006/relationships/slideLayout" Target="../slideLayouts/slideLayout354.xml"/><Relationship Id="rId2" Type="http://schemas.openxmlformats.org/officeDocument/2006/relationships/slideLayout" Target="../slideLayouts/slideLayout339.xml"/><Relationship Id="rId16" Type="http://schemas.openxmlformats.org/officeDocument/2006/relationships/slideLayout" Target="../slideLayouts/slideLayout353.xml"/><Relationship Id="rId20" Type="http://schemas.openxmlformats.org/officeDocument/2006/relationships/theme" Target="../theme/theme15.xml"/><Relationship Id="rId1" Type="http://schemas.openxmlformats.org/officeDocument/2006/relationships/slideLayout" Target="../slideLayouts/slideLayout338.xml"/><Relationship Id="rId6" Type="http://schemas.openxmlformats.org/officeDocument/2006/relationships/slideLayout" Target="../slideLayouts/slideLayout343.xml"/><Relationship Id="rId11" Type="http://schemas.openxmlformats.org/officeDocument/2006/relationships/slideLayout" Target="../slideLayouts/slideLayout348.xml"/><Relationship Id="rId5" Type="http://schemas.openxmlformats.org/officeDocument/2006/relationships/slideLayout" Target="../slideLayouts/slideLayout342.xml"/><Relationship Id="rId15" Type="http://schemas.openxmlformats.org/officeDocument/2006/relationships/slideLayout" Target="../slideLayouts/slideLayout352.xml"/><Relationship Id="rId10" Type="http://schemas.openxmlformats.org/officeDocument/2006/relationships/slideLayout" Target="../slideLayouts/slideLayout347.xml"/><Relationship Id="rId19" Type="http://schemas.openxmlformats.org/officeDocument/2006/relationships/slideLayout" Target="../slideLayouts/slideLayout356.xml"/><Relationship Id="rId4" Type="http://schemas.openxmlformats.org/officeDocument/2006/relationships/slideLayout" Target="../slideLayouts/slideLayout341.xml"/><Relationship Id="rId9" Type="http://schemas.openxmlformats.org/officeDocument/2006/relationships/slideLayout" Target="../slideLayouts/slideLayout346.xml"/><Relationship Id="rId14" Type="http://schemas.openxmlformats.org/officeDocument/2006/relationships/slideLayout" Target="../slideLayouts/slideLayout351.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64.xml"/><Relationship Id="rId13" Type="http://schemas.openxmlformats.org/officeDocument/2006/relationships/slideLayout" Target="../slideLayouts/slideLayout369.xml"/><Relationship Id="rId18" Type="http://schemas.openxmlformats.org/officeDocument/2006/relationships/slideLayout" Target="../slideLayouts/slideLayout374.xml"/><Relationship Id="rId26" Type="http://schemas.openxmlformats.org/officeDocument/2006/relationships/image" Target="../media/image21.png"/><Relationship Id="rId3" Type="http://schemas.openxmlformats.org/officeDocument/2006/relationships/slideLayout" Target="../slideLayouts/slideLayout359.xml"/><Relationship Id="rId21" Type="http://schemas.openxmlformats.org/officeDocument/2006/relationships/slideLayout" Target="../slideLayouts/slideLayout377.xml"/><Relationship Id="rId7" Type="http://schemas.openxmlformats.org/officeDocument/2006/relationships/slideLayout" Target="../slideLayouts/slideLayout363.xml"/><Relationship Id="rId12" Type="http://schemas.openxmlformats.org/officeDocument/2006/relationships/slideLayout" Target="../slideLayouts/slideLayout368.xml"/><Relationship Id="rId17" Type="http://schemas.openxmlformats.org/officeDocument/2006/relationships/slideLayout" Target="../slideLayouts/slideLayout373.xml"/><Relationship Id="rId25" Type="http://schemas.openxmlformats.org/officeDocument/2006/relationships/theme" Target="../theme/theme16.xml"/><Relationship Id="rId2" Type="http://schemas.openxmlformats.org/officeDocument/2006/relationships/slideLayout" Target="../slideLayouts/slideLayout358.xml"/><Relationship Id="rId16" Type="http://schemas.openxmlformats.org/officeDocument/2006/relationships/slideLayout" Target="../slideLayouts/slideLayout372.xml"/><Relationship Id="rId20" Type="http://schemas.openxmlformats.org/officeDocument/2006/relationships/slideLayout" Target="../slideLayouts/slideLayout376.xml"/><Relationship Id="rId1" Type="http://schemas.openxmlformats.org/officeDocument/2006/relationships/slideLayout" Target="../slideLayouts/slideLayout357.xml"/><Relationship Id="rId6" Type="http://schemas.openxmlformats.org/officeDocument/2006/relationships/slideLayout" Target="../slideLayouts/slideLayout362.xml"/><Relationship Id="rId11" Type="http://schemas.openxmlformats.org/officeDocument/2006/relationships/slideLayout" Target="../slideLayouts/slideLayout367.xml"/><Relationship Id="rId24" Type="http://schemas.openxmlformats.org/officeDocument/2006/relationships/slideLayout" Target="../slideLayouts/slideLayout380.xml"/><Relationship Id="rId5" Type="http://schemas.openxmlformats.org/officeDocument/2006/relationships/slideLayout" Target="../slideLayouts/slideLayout361.xml"/><Relationship Id="rId15" Type="http://schemas.openxmlformats.org/officeDocument/2006/relationships/slideLayout" Target="../slideLayouts/slideLayout371.xml"/><Relationship Id="rId23" Type="http://schemas.openxmlformats.org/officeDocument/2006/relationships/slideLayout" Target="../slideLayouts/slideLayout379.xml"/><Relationship Id="rId10" Type="http://schemas.openxmlformats.org/officeDocument/2006/relationships/slideLayout" Target="../slideLayouts/slideLayout366.xml"/><Relationship Id="rId19" Type="http://schemas.openxmlformats.org/officeDocument/2006/relationships/slideLayout" Target="../slideLayouts/slideLayout375.xml"/><Relationship Id="rId4" Type="http://schemas.openxmlformats.org/officeDocument/2006/relationships/slideLayout" Target="../slideLayouts/slideLayout360.xml"/><Relationship Id="rId9" Type="http://schemas.openxmlformats.org/officeDocument/2006/relationships/slideLayout" Target="../slideLayouts/slideLayout365.xml"/><Relationship Id="rId14" Type="http://schemas.openxmlformats.org/officeDocument/2006/relationships/slideLayout" Target="../slideLayouts/slideLayout370.xml"/><Relationship Id="rId22" Type="http://schemas.openxmlformats.org/officeDocument/2006/relationships/slideLayout" Target="../slideLayouts/slideLayout378.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88.xml"/><Relationship Id="rId13" Type="http://schemas.openxmlformats.org/officeDocument/2006/relationships/slideLayout" Target="../slideLayouts/slideLayout393.xml"/><Relationship Id="rId18" Type="http://schemas.openxmlformats.org/officeDocument/2006/relationships/slideLayout" Target="../slideLayouts/slideLayout398.xml"/><Relationship Id="rId3" Type="http://schemas.openxmlformats.org/officeDocument/2006/relationships/slideLayout" Target="../slideLayouts/slideLayout383.xml"/><Relationship Id="rId7" Type="http://schemas.openxmlformats.org/officeDocument/2006/relationships/slideLayout" Target="../slideLayouts/slideLayout387.xml"/><Relationship Id="rId12" Type="http://schemas.openxmlformats.org/officeDocument/2006/relationships/slideLayout" Target="../slideLayouts/slideLayout392.xml"/><Relationship Id="rId17" Type="http://schemas.openxmlformats.org/officeDocument/2006/relationships/slideLayout" Target="../slideLayouts/slideLayout397.xml"/><Relationship Id="rId2" Type="http://schemas.openxmlformats.org/officeDocument/2006/relationships/slideLayout" Target="../slideLayouts/slideLayout382.xml"/><Relationship Id="rId16" Type="http://schemas.openxmlformats.org/officeDocument/2006/relationships/slideLayout" Target="../slideLayouts/slideLayout396.xml"/><Relationship Id="rId1" Type="http://schemas.openxmlformats.org/officeDocument/2006/relationships/slideLayout" Target="../slideLayouts/slideLayout381.xml"/><Relationship Id="rId6" Type="http://schemas.openxmlformats.org/officeDocument/2006/relationships/slideLayout" Target="../slideLayouts/slideLayout386.xml"/><Relationship Id="rId11" Type="http://schemas.openxmlformats.org/officeDocument/2006/relationships/slideLayout" Target="../slideLayouts/slideLayout391.xml"/><Relationship Id="rId5" Type="http://schemas.openxmlformats.org/officeDocument/2006/relationships/slideLayout" Target="../slideLayouts/slideLayout385.xml"/><Relationship Id="rId15" Type="http://schemas.openxmlformats.org/officeDocument/2006/relationships/slideLayout" Target="../slideLayouts/slideLayout395.xml"/><Relationship Id="rId10" Type="http://schemas.openxmlformats.org/officeDocument/2006/relationships/slideLayout" Target="../slideLayouts/slideLayout390.xml"/><Relationship Id="rId19" Type="http://schemas.openxmlformats.org/officeDocument/2006/relationships/theme" Target="../theme/theme17.xml"/><Relationship Id="rId4" Type="http://schemas.openxmlformats.org/officeDocument/2006/relationships/slideLayout" Target="../slideLayouts/slideLayout384.xml"/><Relationship Id="rId9" Type="http://schemas.openxmlformats.org/officeDocument/2006/relationships/slideLayout" Target="../slideLayouts/slideLayout389.xml"/><Relationship Id="rId14" Type="http://schemas.openxmlformats.org/officeDocument/2006/relationships/slideLayout" Target="../slideLayouts/slideLayout394.xml"/></Relationships>
</file>

<file path=ppt/slideMasters/_rels/slideMaster18.xml.rels><?xml version="1.0" encoding="UTF-8" standalone="yes"?>
<Relationships xmlns="http://schemas.openxmlformats.org/package/2006/relationships"><Relationship Id="rId8" Type="http://schemas.openxmlformats.org/officeDocument/2006/relationships/theme" Target="../theme/theme18.xml"/><Relationship Id="rId3" Type="http://schemas.openxmlformats.org/officeDocument/2006/relationships/slideLayout" Target="../slideLayouts/slideLayout401.xml"/><Relationship Id="rId7" Type="http://schemas.openxmlformats.org/officeDocument/2006/relationships/slideLayout" Target="../slideLayouts/slideLayout405.xml"/><Relationship Id="rId12" Type="http://schemas.openxmlformats.org/officeDocument/2006/relationships/image" Target="../media/image27.emf"/><Relationship Id="rId2" Type="http://schemas.openxmlformats.org/officeDocument/2006/relationships/slideLayout" Target="../slideLayouts/slideLayout400.xml"/><Relationship Id="rId1" Type="http://schemas.openxmlformats.org/officeDocument/2006/relationships/slideLayout" Target="../slideLayouts/slideLayout399.xml"/><Relationship Id="rId6" Type="http://schemas.openxmlformats.org/officeDocument/2006/relationships/slideLayout" Target="../slideLayouts/slideLayout404.xml"/><Relationship Id="rId11" Type="http://schemas.openxmlformats.org/officeDocument/2006/relationships/oleObject" Target="../embeddings/oleObject2.bin"/><Relationship Id="rId5" Type="http://schemas.openxmlformats.org/officeDocument/2006/relationships/slideLayout" Target="../slideLayouts/slideLayout403.xml"/><Relationship Id="rId10" Type="http://schemas.openxmlformats.org/officeDocument/2006/relationships/tags" Target="../tags/tag2.xml"/><Relationship Id="rId4" Type="http://schemas.openxmlformats.org/officeDocument/2006/relationships/slideLayout" Target="../slideLayouts/slideLayout402.xml"/><Relationship Id="rId9" Type="http://schemas.openxmlformats.org/officeDocument/2006/relationships/vmlDrawing" Target="../drawings/vmlDrawing2.v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13.xml"/><Relationship Id="rId13" Type="http://schemas.openxmlformats.org/officeDocument/2006/relationships/slideLayout" Target="../slideLayouts/slideLayout418.xml"/><Relationship Id="rId18" Type="http://schemas.openxmlformats.org/officeDocument/2006/relationships/slideLayout" Target="../slideLayouts/slideLayout423.xml"/><Relationship Id="rId26" Type="http://schemas.openxmlformats.org/officeDocument/2006/relationships/slideLayout" Target="../slideLayouts/slideLayout431.xml"/><Relationship Id="rId3" Type="http://schemas.openxmlformats.org/officeDocument/2006/relationships/slideLayout" Target="../slideLayouts/slideLayout408.xml"/><Relationship Id="rId21" Type="http://schemas.openxmlformats.org/officeDocument/2006/relationships/slideLayout" Target="../slideLayouts/slideLayout426.xml"/><Relationship Id="rId7" Type="http://schemas.openxmlformats.org/officeDocument/2006/relationships/slideLayout" Target="../slideLayouts/slideLayout412.xml"/><Relationship Id="rId12" Type="http://schemas.openxmlformats.org/officeDocument/2006/relationships/slideLayout" Target="../slideLayouts/slideLayout417.xml"/><Relationship Id="rId17" Type="http://schemas.openxmlformats.org/officeDocument/2006/relationships/slideLayout" Target="../slideLayouts/slideLayout422.xml"/><Relationship Id="rId25" Type="http://schemas.openxmlformats.org/officeDocument/2006/relationships/slideLayout" Target="../slideLayouts/slideLayout430.xml"/><Relationship Id="rId2" Type="http://schemas.openxmlformats.org/officeDocument/2006/relationships/slideLayout" Target="../slideLayouts/slideLayout407.xml"/><Relationship Id="rId16" Type="http://schemas.openxmlformats.org/officeDocument/2006/relationships/slideLayout" Target="../slideLayouts/slideLayout421.xml"/><Relationship Id="rId20" Type="http://schemas.openxmlformats.org/officeDocument/2006/relationships/slideLayout" Target="../slideLayouts/slideLayout425.xml"/><Relationship Id="rId1" Type="http://schemas.openxmlformats.org/officeDocument/2006/relationships/slideLayout" Target="../slideLayouts/slideLayout406.xml"/><Relationship Id="rId6" Type="http://schemas.openxmlformats.org/officeDocument/2006/relationships/slideLayout" Target="../slideLayouts/slideLayout411.xml"/><Relationship Id="rId11" Type="http://schemas.openxmlformats.org/officeDocument/2006/relationships/slideLayout" Target="../slideLayouts/slideLayout416.xml"/><Relationship Id="rId24" Type="http://schemas.openxmlformats.org/officeDocument/2006/relationships/slideLayout" Target="../slideLayouts/slideLayout429.xml"/><Relationship Id="rId5" Type="http://schemas.openxmlformats.org/officeDocument/2006/relationships/slideLayout" Target="../slideLayouts/slideLayout410.xml"/><Relationship Id="rId15" Type="http://schemas.openxmlformats.org/officeDocument/2006/relationships/slideLayout" Target="../slideLayouts/slideLayout420.xml"/><Relationship Id="rId23" Type="http://schemas.openxmlformats.org/officeDocument/2006/relationships/slideLayout" Target="../slideLayouts/slideLayout428.xml"/><Relationship Id="rId28" Type="http://schemas.openxmlformats.org/officeDocument/2006/relationships/image" Target="../media/image21.png"/><Relationship Id="rId10" Type="http://schemas.openxmlformats.org/officeDocument/2006/relationships/slideLayout" Target="../slideLayouts/slideLayout415.xml"/><Relationship Id="rId19" Type="http://schemas.openxmlformats.org/officeDocument/2006/relationships/slideLayout" Target="../slideLayouts/slideLayout424.xml"/><Relationship Id="rId4" Type="http://schemas.openxmlformats.org/officeDocument/2006/relationships/slideLayout" Target="../slideLayouts/slideLayout409.xml"/><Relationship Id="rId9" Type="http://schemas.openxmlformats.org/officeDocument/2006/relationships/slideLayout" Target="../slideLayouts/slideLayout414.xml"/><Relationship Id="rId14" Type="http://schemas.openxmlformats.org/officeDocument/2006/relationships/slideLayout" Target="../slideLayouts/slideLayout419.xml"/><Relationship Id="rId22" Type="http://schemas.openxmlformats.org/officeDocument/2006/relationships/slideLayout" Target="../slideLayouts/slideLayout427.xml"/><Relationship Id="rId27"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3" Type="http://schemas.openxmlformats.org/officeDocument/2006/relationships/slideLayout" Target="../slideLayouts/slideLayout43.xml"/><Relationship Id="rId21" Type="http://schemas.openxmlformats.org/officeDocument/2006/relationships/slideLayout" Target="../slideLayouts/slideLayout61.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29" Type="http://schemas.openxmlformats.org/officeDocument/2006/relationships/slideLayout" Target="../slideLayouts/slideLayout69.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32" Type="http://schemas.openxmlformats.org/officeDocument/2006/relationships/theme" Target="../theme/theme2.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31" Type="http://schemas.openxmlformats.org/officeDocument/2006/relationships/slideLayout" Target="../slideLayouts/slideLayout71.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 Id="rId30" Type="http://schemas.openxmlformats.org/officeDocument/2006/relationships/slideLayout" Target="../slideLayouts/slideLayout70.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39.xml"/><Relationship Id="rId13" Type="http://schemas.openxmlformats.org/officeDocument/2006/relationships/slideLayout" Target="../slideLayouts/slideLayout444.xml"/><Relationship Id="rId18" Type="http://schemas.openxmlformats.org/officeDocument/2006/relationships/slideLayout" Target="../slideLayouts/slideLayout449.xml"/><Relationship Id="rId26" Type="http://schemas.openxmlformats.org/officeDocument/2006/relationships/slideLayout" Target="../slideLayouts/slideLayout457.xml"/><Relationship Id="rId3" Type="http://schemas.openxmlformats.org/officeDocument/2006/relationships/slideLayout" Target="../slideLayouts/slideLayout434.xml"/><Relationship Id="rId21" Type="http://schemas.openxmlformats.org/officeDocument/2006/relationships/slideLayout" Target="../slideLayouts/slideLayout452.xml"/><Relationship Id="rId7" Type="http://schemas.openxmlformats.org/officeDocument/2006/relationships/slideLayout" Target="../slideLayouts/slideLayout438.xml"/><Relationship Id="rId12" Type="http://schemas.openxmlformats.org/officeDocument/2006/relationships/slideLayout" Target="../slideLayouts/slideLayout443.xml"/><Relationship Id="rId17" Type="http://schemas.openxmlformats.org/officeDocument/2006/relationships/slideLayout" Target="../slideLayouts/slideLayout448.xml"/><Relationship Id="rId25" Type="http://schemas.openxmlformats.org/officeDocument/2006/relationships/slideLayout" Target="../slideLayouts/slideLayout456.xml"/><Relationship Id="rId2" Type="http://schemas.openxmlformats.org/officeDocument/2006/relationships/slideLayout" Target="../slideLayouts/slideLayout433.xml"/><Relationship Id="rId16" Type="http://schemas.openxmlformats.org/officeDocument/2006/relationships/slideLayout" Target="../slideLayouts/slideLayout447.xml"/><Relationship Id="rId20" Type="http://schemas.openxmlformats.org/officeDocument/2006/relationships/slideLayout" Target="../slideLayouts/slideLayout451.xml"/><Relationship Id="rId29" Type="http://schemas.openxmlformats.org/officeDocument/2006/relationships/image" Target="../media/image21.png"/><Relationship Id="rId1" Type="http://schemas.openxmlformats.org/officeDocument/2006/relationships/slideLayout" Target="../slideLayouts/slideLayout432.xml"/><Relationship Id="rId6" Type="http://schemas.openxmlformats.org/officeDocument/2006/relationships/slideLayout" Target="../slideLayouts/slideLayout437.xml"/><Relationship Id="rId11" Type="http://schemas.openxmlformats.org/officeDocument/2006/relationships/slideLayout" Target="../slideLayouts/slideLayout442.xml"/><Relationship Id="rId24" Type="http://schemas.openxmlformats.org/officeDocument/2006/relationships/slideLayout" Target="../slideLayouts/slideLayout455.xml"/><Relationship Id="rId5" Type="http://schemas.openxmlformats.org/officeDocument/2006/relationships/slideLayout" Target="../slideLayouts/slideLayout436.xml"/><Relationship Id="rId15" Type="http://schemas.openxmlformats.org/officeDocument/2006/relationships/slideLayout" Target="../slideLayouts/slideLayout446.xml"/><Relationship Id="rId23" Type="http://schemas.openxmlformats.org/officeDocument/2006/relationships/slideLayout" Target="../slideLayouts/slideLayout454.xml"/><Relationship Id="rId28" Type="http://schemas.openxmlformats.org/officeDocument/2006/relationships/theme" Target="../theme/theme20.xml"/><Relationship Id="rId10" Type="http://schemas.openxmlformats.org/officeDocument/2006/relationships/slideLayout" Target="../slideLayouts/slideLayout441.xml"/><Relationship Id="rId19" Type="http://schemas.openxmlformats.org/officeDocument/2006/relationships/slideLayout" Target="../slideLayouts/slideLayout450.xml"/><Relationship Id="rId4" Type="http://schemas.openxmlformats.org/officeDocument/2006/relationships/slideLayout" Target="../slideLayouts/slideLayout435.xml"/><Relationship Id="rId9" Type="http://schemas.openxmlformats.org/officeDocument/2006/relationships/slideLayout" Target="../slideLayouts/slideLayout440.xml"/><Relationship Id="rId14" Type="http://schemas.openxmlformats.org/officeDocument/2006/relationships/slideLayout" Target="../slideLayouts/slideLayout445.xml"/><Relationship Id="rId22" Type="http://schemas.openxmlformats.org/officeDocument/2006/relationships/slideLayout" Target="../slideLayouts/slideLayout453.xml"/><Relationship Id="rId27" Type="http://schemas.openxmlformats.org/officeDocument/2006/relationships/slideLayout" Target="../slideLayouts/slideLayout458.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66.xml"/><Relationship Id="rId13" Type="http://schemas.openxmlformats.org/officeDocument/2006/relationships/slideLayout" Target="../slideLayouts/slideLayout471.xml"/><Relationship Id="rId18" Type="http://schemas.openxmlformats.org/officeDocument/2006/relationships/slideLayout" Target="../slideLayouts/slideLayout476.xml"/><Relationship Id="rId26" Type="http://schemas.openxmlformats.org/officeDocument/2006/relationships/image" Target="../media/image21.png"/><Relationship Id="rId3" Type="http://schemas.openxmlformats.org/officeDocument/2006/relationships/slideLayout" Target="../slideLayouts/slideLayout461.xml"/><Relationship Id="rId21" Type="http://schemas.openxmlformats.org/officeDocument/2006/relationships/slideLayout" Target="../slideLayouts/slideLayout479.xml"/><Relationship Id="rId7" Type="http://schemas.openxmlformats.org/officeDocument/2006/relationships/slideLayout" Target="../slideLayouts/slideLayout465.xml"/><Relationship Id="rId12" Type="http://schemas.openxmlformats.org/officeDocument/2006/relationships/slideLayout" Target="../slideLayouts/slideLayout470.xml"/><Relationship Id="rId17" Type="http://schemas.openxmlformats.org/officeDocument/2006/relationships/slideLayout" Target="../slideLayouts/slideLayout475.xml"/><Relationship Id="rId25" Type="http://schemas.openxmlformats.org/officeDocument/2006/relationships/theme" Target="../theme/theme21.xml"/><Relationship Id="rId2" Type="http://schemas.openxmlformats.org/officeDocument/2006/relationships/slideLayout" Target="../slideLayouts/slideLayout460.xml"/><Relationship Id="rId16" Type="http://schemas.openxmlformats.org/officeDocument/2006/relationships/slideLayout" Target="../slideLayouts/slideLayout474.xml"/><Relationship Id="rId20" Type="http://schemas.openxmlformats.org/officeDocument/2006/relationships/slideLayout" Target="../slideLayouts/slideLayout478.xml"/><Relationship Id="rId1" Type="http://schemas.openxmlformats.org/officeDocument/2006/relationships/slideLayout" Target="../slideLayouts/slideLayout459.xml"/><Relationship Id="rId6" Type="http://schemas.openxmlformats.org/officeDocument/2006/relationships/slideLayout" Target="../slideLayouts/slideLayout464.xml"/><Relationship Id="rId11" Type="http://schemas.openxmlformats.org/officeDocument/2006/relationships/slideLayout" Target="../slideLayouts/slideLayout469.xml"/><Relationship Id="rId24" Type="http://schemas.openxmlformats.org/officeDocument/2006/relationships/slideLayout" Target="../slideLayouts/slideLayout482.xml"/><Relationship Id="rId5" Type="http://schemas.openxmlformats.org/officeDocument/2006/relationships/slideLayout" Target="../slideLayouts/slideLayout463.xml"/><Relationship Id="rId15" Type="http://schemas.openxmlformats.org/officeDocument/2006/relationships/slideLayout" Target="../slideLayouts/slideLayout473.xml"/><Relationship Id="rId23" Type="http://schemas.openxmlformats.org/officeDocument/2006/relationships/slideLayout" Target="../slideLayouts/slideLayout481.xml"/><Relationship Id="rId10" Type="http://schemas.openxmlformats.org/officeDocument/2006/relationships/slideLayout" Target="../slideLayouts/slideLayout468.xml"/><Relationship Id="rId19" Type="http://schemas.openxmlformats.org/officeDocument/2006/relationships/slideLayout" Target="../slideLayouts/slideLayout477.xml"/><Relationship Id="rId4" Type="http://schemas.openxmlformats.org/officeDocument/2006/relationships/slideLayout" Target="../slideLayouts/slideLayout462.xml"/><Relationship Id="rId9" Type="http://schemas.openxmlformats.org/officeDocument/2006/relationships/slideLayout" Target="../slideLayouts/slideLayout467.xml"/><Relationship Id="rId14" Type="http://schemas.openxmlformats.org/officeDocument/2006/relationships/slideLayout" Target="../slideLayouts/slideLayout472.xml"/><Relationship Id="rId22" Type="http://schemas.openxmlformats.org/officeDocument/2006/relationships/slideLayout" Target="../slideLayouts/slideLayout480.xml"/></Relationships>
</file>

<file path=ppt/slideMasters/_rels/slideMaster22.xml.rels><?xml version="1.0" encoding="UTF-8" standalone="yes"?>
<Relationships xmlns="http://schemas.openxmlformats.org/package/2006/relationships"><Relationship Id="rId3" Type="http://schemas.openxmlformats.org/officeDocument/2006/relationships/slideLayout" Target="../slideLayouts/slideLayout485.xml"/><Relationship Id="rId7" Type="http://schemas.openxmlformats.org/officeDocument/2006/relationships/theme" Target="../theme/theme22.xml"/><Relationship Id="rId2" Type="http://schemas.openxmlformats.org/officeDocument/2006/relationships/slideLayout" Target="../slideLayouts/slideLayout484.xml"/><Relationship Id="rId1" Type="http://schemas.openxmlformats.org/officeDocument/2006/relationships/slideLayout" Target="../slideLayouts/slideLayout483.xml"/><Relationship Id="rId6" Type="http://schemas.openxmlformats.org/officeDocument/2006/relationships/slideLayout" Target="../slideLayouts/slideLayout488.xml"/><Relationship Id="rId5" Type="http://schemas.openxmlformats.org/officeDocument/2006/relationships/slideLayout" Target="../slideLayouts/slideLayout487.xml"/><Relationship Id="rId4" Type="http://schemas.openxmlformats.org/officeDocument/2006/relationships/slideLayout" Target="../slideLayouts/slideLayout48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26" Type="http://schemas.openxmlformats.org/officeDocument/2006/relationships/slideLayout" Target="../slideLayouts/slideLayout97.xml"/><Relationship Id="rId3" Type="http://schemas.openxmlformats.org/officeDocument/2006/relationships/slideLayout" Target="../slideLayouts/slideLayout74.xml"/><Relationship Id="rId21" Type="http://schemas.openxmlformats.org/officeDocument/2006/relationships/slideLayout" Target="../slideLayouts/slideLayout92.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theme" Target="../theme/theme3.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3" Type="http://schemas.openxmlformats.org/officeDocument/2006/relationships/slideLayout" Target="../slideLayouts/slideLayout101.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10" Type="http://schemas.openxmlformats.org/officeDocument/2006/relationships/slideLayout" Target="../slideLayouts/slideLayout108.xml"/><Relationship Id="rId19" Type="http://schemas.openxmlformats.org/officeDocument/2006/relationships/theme" Target="../theme/theme4.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18" Type="http://schemas.openxmlformats.org/officeDocument/2006/relationships/slideLayout" Target="../slideLayouts/slideLayout134.xml"/><Relationship Id="rId26" Type="http://schemas.openxmlformats.org/officeDocument/2006/relationships/slideLayout" Target="../slideLayouts/slideLayout142.xml"/><Relationship Id="rId3" Type="http://schemas.openxmlformats.org/officeDocument/2006/relationships/slideLayout" Target="../slideLayouts/slideLayout119.xml"/><Relationship Id="rId21" Type="http://schemas.openxmlformats.org/officeDocument/2006/relationships/slideLayout" Target="../slideLayouts/slideLayout137.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5" Type="http://schemas.openxmlformats.org/officeDocument/2006/relationships/slideLayout" Target="../slideLayouts/slideLayout141.xml"/><Relationship Id="rId2" Type="http://schemas.openxmlformats.org/officeDocument/2006/relationships/slideLayout" Target="../slideLayouts/slideLayout118.xml"/><Relationship Id="rId16" Type="http://schemas.openxmlformats.org/officeDocument/2006/relationships/slideLayout" Target="../slideLayouts/slideLayout132.xml"/><Relationship Id="rId20" Type="http://schemas.openxmlformats.org/officeDocument/2006/relationships/slideLayout" Target="../slideLayouts/slideLayout136.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24" Type="http://schemas.openxmlformats.org/officeDocument/2006/relationships/slideLayout" Target="../slideLayouts/slideLayout140.x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23" Type="http://schemas.openxmlformats.org/officeDocument/2006/relationships/slideLayout" Target="../slideLayouts/slideLayout139.xml"/><Relationship Id="rId10" Type="http://schemas.openxmlformats.org/officeDocument/2006/relationships/slideLayout" Target="../slideLayouts/slideLayout126.xml"/><Relationship Id="rId19" Type="http://schemas.openxmlformats.org/officeDocument/2006/relationships/slideLayout" Target="../slideLayouts/slideLayout135.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 Id="rId22" Type="http://schemas.openxmlformats.org/officeDocument/2006/relationships/slideLayout" Target="../slideLayouts/slideLayout138.xml"/><Relationship Id="rId27"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slideLayout" Target="../slideLayouts/slideLayout155.xml"/><Relationship Id="rId18" Type="http://schemas.openxmlformats.org/officeDocument/2006/relationships/slideLayout" Target="../slideLayouts/slideLayout160.xml"/><Relationship Id="rId3" Type="http://schemas.openxmlformats.org/officeDocument/2006/relationships/slideLayout" Target="../slideLayouts/slideLayout145.xml"/><Relationship Id="rId7" Type="http://schemas.openxmlformats.org/officeDocument/2006/relationships/slideLayout" Target="../slideLayouts/slideLayout149.xml"/><Relationship Id="rId12" Type="http://schemas.openxmlformats.org/officeDocument/2006/relationships/slideLayout" Target="../slideLayouts/slideLayout154.xml"/><Relationship Id="rId17" Type="http://schemas.openxmlformats.org/officeDocument/2006/relationships/slideLayout" Target="../slideLayouts/slideLayout159.xml"/><Relationship Id="rId2" Type="http://schemas.openxmlformats.org/officeDocument/2006/relationships/slideLayout" Target="../slideLayouts/slideLayout144.xml"/><Relationship Id="rId16" Type="http://schemas.openxmlformats.org/officeDocument/2006/relationships/slideLayout" Target="../slideLayouts/slideLayout158.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5" Type="http://schemas.openxmlformats.org/officeDocument/2006/relationships/slideLayout" Target="../slideLayouts/slideLayout147.xml"/><Relationship Id="rId15" Type="http://schemas.openxmlformats.org/officeDocument/2006/relationships/slideLayout" Target="../slideLayouts/slideLayout157.xml"/><Relationship Id="rId10" Type="http://schemas.openxmlformats.org/officeDocument/2006/relationships/slideLayout" Target="../slideLayouts/slideLayout152.xml"/><Relationship Id="rId19" Type="http://schemas.openxmlformats.org/officeDocument/2006/relationships/theme" Target="../theme/theme6.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slideLayout" Target="../slideLayouts/slideLayout173.xml"/><Relationship Id="rId18" Type="http://schemas.openxmlformats.org/officeDocument/2006/relationships/slideLayout" Target="../slideLayouts/slideLayout178.xml"/><Relationship Id="rId26" Type="http://schemas.openxmlformats.org/officeDocument/2006/relationships/slideLayout" Target="../slideLayouts/slideLayout186.xml"/><Relationship Id="rId3" Type="http://schemas.openxmlformats.org/officeDocument/2006/relationships/slideLayout" Target="../slideLayouts/slideLayout163.xml"/><Relationship Id="rId21" Type="http://schemas.openxmlformats.org/officeDocument/2006/relationships/slideLayout" Target="../slideLayouts/slideLayout181.xml"/><Relationship Id="rId7" Type="http://schemas.openxmlformats.org/officeDocument/2006/relationships/slideLayout" Target="../slideLayouts/slideLayout167.xml"/><Relationship Id="rId12" Type="http://schemas.openxmlformats.org/officeDocument/2006/relationships/slideLayout" Target="../slideLayouts/slideLayout172.xml"/><Relationship Id="rId17" Type="http://schemas.openxmlformats.org/officeDocument/2006/relationships/slideLayout" Target="../slideLayouts/slideLayout177.xml"/><Relationship Id="rId25" Type="http://schemas.openxmlformats.org/officeDocument/2006/relationships/slideLayout" Target="../slideLayouts/slideLayout185.xml"/><Relationship Id="rId2" Type="http://schemas.openxmlformats.org/officeDocument/2006/relationships/slideLayout" Target="../slideLayouts/slideLayout162.xml"/><Relationship Id="rId16" Type="http://schemas.openxmlformats.org/officeDocument/2006/relationships/slideLayout" Target="../slideLayouts/slideLayout176.xml"/><Relationship Id="rId20" Type="http://schemas.openxmlformats.org/officeDocument/2006/relationships/slideLayout" Target="../slideLayouts/slideLayout180.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24" Type="http://schemas.openxmlformats.org/officeDocument/2006/relationships/slideLayout" Target="../slideLayouts/slideLayout184.xml"/><Relationship Id="rId5" Type="http://schemas.openxmlformats.org/officeDocument/2006/relationships/slideLayout" Target="../slideLayouts/slideLayout165.xml"/><Relationship Id="rId15" Type="http://schemas.openxmlformats.org/officeDocument/2006/relationships/slideLayout" Target="../slideLayouts/slideLayout175.xml"/><Relationship Id="rId23" Type="http://schemas.openxmlformats.org/officeDocument/2006/relationships/slideLayout" Target="../slideLayouts/slideLayout183.xml"/><Relationship Id="rId10" Type="http://schemas.openxmlformats.org/officeDocument/2006/relationships/slideLayout" Target="../slideLayouts/slideLayout170.xml"/><Relationship Id="rId19" Type="http://schemas.openxmlformats.org/officeDocument/2006/relationships/slideLayout" Target="../slideLayouts/slideLayout179.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slideLayout" Target="../slideLayouts/slideLayout174.xml"/><Relationship Id="rId22" Type="http://schemas.openxmlformats.org/officeDocument/2006/relationships/slideLayout" Target="../slideLayouts/slideLayout182.xml"/><Relationship Id="rId27"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4.xml"/><Relationship Id="rId13" Type="http://schemas.openxmlformats.org/officeDocument/2006/relationships/slideLayout" Target="../slideLayouts/slideLayout199.xml"/><Relationship Id="rId18" Type="http://schemas.openxmlformats.org/officeDocument/2006/relationships/slideLayout" Target="../slideLayouts/slideLayout204.xml"/><Relationship Id="rId26" Type="http://schemas.openxmlformats.org/officeDocument/2006/relationships/slideLayout" Target="../slideLayouts/slideLayout212.xml"/><Relationship Id="rId3" Type="http://schemas.openxmlformats.org/officeDocument/2006/relationships/slideLayout" Target="../slideLayouts/slideLayout189.xml"/><Relationship Id="rId21" Type="http://schemas.openxmlformats.org/officeDocument/2006/relationships/slideLayout" Target="../slideLayouts/slideLayout207.xml"/><Relationship Id="rId7" Type="http://schemas.openxmlformats.org/officeDocument/2006/relationships/slideLayout" Target="../slideLayouts/slideLayout193.xml"/><Relationship Id="rId12" Type="http://schemas.openxmlformats.org/officeDocument/2006/relationships/slideLayout" Target="../slideLayouts/slideLayout198.xml"/><Relationship Id="rId17" Type="http://schemas.openxmlformats.org/officeDocument/2006/relationships/slideLayout" Target="../slideLayouts/slideLayout203.xml"/><Relationship Id="rId25" Type="http://schemas.openxmlformats.org/officeDocument/2006/relationships/slideLayout" Target="../slideLayouts/slideLayout211.xml"/><Relationship Id="rId2" Type="http://schemas.openxmlformats.org/officeDocument/2006/relationships/slideLayout" Target="../slideLayouts/slideLayout188.xml"/><Relationship Id="rId16" Type="http://schemas.openxmlformats.org/officeDocument/2006/relationships/slideLayout" Target="../slideLayouts/slideLayout202.xml"/><Relationship Id="rId20" Type="http://schemas.openxmlformats.org/officeDocument/2006/relationships/slideLayout" Target="../slideLayouts/slideLayout206.xml"/><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slideLayout" Target="../slideLayouts/slideLayout197.xml"/><Relationship Id="rId24" Type="http://schemas.openxmlformats.org/officeDocument/2006/relationships/slideLayout" Target="../slideLayouts/slideLayout210.xml"/><Relationship Id="rId5" Type="http://schemas.openxmlformats.org/officeDocument/2006/relationships/slideLayout" Target="../slideLayouts/slideLayout191.xml"/><Relationship Id="rId15" Type="http://schemas.openxmlformats.org/officeDocument/2006/relationships/slideLayout" Target="../slideLayouts/slideLayout201.xml"/><Relationship Id="rId23" Type="http://schemas.openxmlformats.org/officeDocument/2006/relationships/slideLayout" Target="../slideLayouts/slideLayout209.xml"/><Relationship Id="rId28" Type="http://schemas.openxmlformats.org/officeDocument/2006/relationships/theme" Target="../theme/theme8.xml"/><Relationship Id="rId10" Type="http://schemas.openxmlformats.org/officeDocument/2006/relationships/slideLayout" Target="../slideLayouts/slideLayout196.xml"/><Relationship Id="rId19" Type="http://schemas.openxmlformats.org/officeDocument/2006/relationships/slideLayout" Target="../slideLayouts/slideLayout205.xml"/><Relationship Id="rId4" Type="http://schemas.openxmlformats.org/officeDocument/2006/relationships/slideLayout" Target="../slideLayouts/slideLayout190.xml"/><Relationship Id="rId9" Type="http://schemas.openxmlformats.org/officeDocument/2006/relationships/slideLayout" Target="../slideLayouts/slideLayout195.xml"/><Relationship Id="rId14" Type="http://schemas.openxmlformats.org/officeDocument/2006/relationships/slideLayout" Target="../slideLayouts/slideLayout200.xml"/><Relationship Id="rId22" Type="http://schemas.openxmlformats.org/officeDocument/2006/relationships/slideLayout" Target="../slideLayouts/slideLayout208.xml"/><Relationship Id="rId27" Type="http://schemas.openxmlformats.org/officeDocument/2006/relationships/slideLayout" Target="../slideLayouts/slideLayout21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theme" Target="../theme/theme9.xml"/><Relationship Id="rId3" Type="http://schemas.openxmlformats.org/officeDocument/2006/relationships/slideLayout" Target="../slideLayouts/slideLayout216.xml"/><Relationship Id="rId7" Type="http://schemas.openxmlformats.org/officeDocument/2006/relationships/slideLayout" Target="../slideLayouts/slideLayout220.xml"/><Relationship Id="rId12" Type="http://schemas.openxmlformats.org/officeDocument/2006/relationships/slideLayout" Target="../slideLayouts/slideLayout225.xml"/><Relationship Id="rId2" Type="http://schemas.openxmlformats.org/officeDocument/2006/relationships/slideLayout" Target="../slideLayouts/slideLayout215.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5" Type="http://schemas.openxmlformats.org/officeDocument/2006/relationships/slideLayout" Target="../slideLayouts/slideLayout218.xml"/><Relationship Id="rId10" Type="http://schemas.openxmlformats.org/officeDocument/2006/relationships/slideLayout" Target="../slideLayouts/slideLayout223.xml"/><Relationship Id="rId4" Type="http://schemas.openxmlformats.org/officeDocument/2006/relationships/slideLayout" Target="../slideLayouts/slideLayout217.xml"/><Relationship Id="rId9" Type="http://schemas.openxmlformats.org/officeDocument/2006/relationships/slideLayout" Target="../slideLayouts/slideLayout2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3"/>
            <a:ext cx="11887199" cy="2294635"/>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88774496"/>
      </p:ext>
    </p:extLst>
  </p:cSld>
  <p:clrMap bg1="dk1" tx1="lt1" bg2="dk2" tx2="lt2" accent1="accent1" accent2="accent2" accent3="accent3" accent4="accent4" accent5="accent5" accent6="accent6" hlink="hlink" folHlink="folHlink"/>
  <p:sldLayoutIdLst>
    <p:sldLayoutId id="2147484547" r:id="rId1"/>
    <p:sldLayoutId id="2147484548" r:id="rId2"/>
    <p:sldLayoutId id="2147484549" r:id="rId3"/>
    <p:sldLayoutId id="2147484550" r:id="rId4"/>
    <p:sldLayoutId id="2147484551" r:id="rId5"/>
    <p:sldLayoutId id="2147484552" r:id="rId6"/>
    <p:sldLayoutId id="2147484553" r:id="rId7"/>
    <p:sldLayoutId id="2147484554" r:id="rId8"/>
    <p:sldLayoutId id="2147484555" r:id="rId9"/>
    <p:sldLayoutId id="2147484556" r:id="rId10"/>
    <p:sldLayoutId id="2147484557" r:id="rId11"/>
    <p:sldLayoutId id="2147484558" r:id="rId12"/>
    <p:sldLayoutId id="2147484559" r:id="rId13"/>
    <p:sldLayoutId id="2147484560" r:id="rId14"/>
    <p:sldLayoutId id="2147484561" r:id="rId15"/>
    <p:sldLayoutId id="2147484562" r:id="rId16"/>
    <p:sldLayoutId id="2147484563" r:id="rId17"/>
    <p:sldLayoutId id="2147484564" r:id="rId18"/>
    <p:sldLayoutId id="2147484565" r:id="rId19"/>
    <p:sldLayoutId id="2147484566" r:id="rId20"/>
    <p:sldLayoutId id="2147484567" r:id="rId21"/>
    <p:sldLayoutId id="2147484568" r:id="rId22"/>
    <p:sldLayoutId id="2147484569" r:id="rId23"/>
    <p:sldLayoutId id="2147484570" r:id="rId24"/>
    <p:sldLayoutId id="2147484573" r:id="rId25"/>
    <p:sldLayoutId id="2147484574" r:id="rId26"/>
    <p:sldLayoutId id="2147484575" r:id="rId27"/>
    <p:sldLayoutId id="2147484576" r:id="rId28"/>
    <p:sldLayoutId id="2147484577" r:id="rId29"/>
    <p:sldLayoutId id="2147484578" r:id="rId30"/>
    <p:sldLayoutId id="2147484579" r:id="rId31"/>
    <p:sldLayoutId id="2147484581" r:id="rId32"/>
    <p:sldLayoutId id="2147484582" r:id="rId33"/>
    <p:sldLayoutId id="2147484584" r:id="rId34"/>
    <p:sldLayoutId id="2147484585" r:id="rId35"/>
    <p:sldLayoutId id="2147484588" r:id="rId36"/>
    <p:sldLayoutId id="2147484590" r:id="rId37"/>
    <p:sldLayoutId id="2147484866" r:id="rId38"/>
    <p:sldLayoutId id="2147484867" r:id="rId39"/>
    <p:sldLayoutId id="2147484869" r:id="rId40"/>
  </p:sldLayoutIdLst>
  <p:transition>
    <p:fade/>
  </p:transition>
  <p:txStyles>
    <p:titleStyle>
      <a:lvl1pPr algn="l" defTabSz="932585"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43" marR="0" indent="-342843" algn="l" defTabSz="93258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102" marR="0" indent="-241260" algn="l" defTabSz="93258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67" marR="0" indent="-228562" algn="l" defTabSz="93258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28" marR="0" indent="-228562" algn="l" defTabSz="93258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089" marR="0" indent="-228562" algn="l" defTabSz="93258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611" indent="-233147" algn="l" defTabSz="93258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04" indent="-233147" algn="l" defTabSz="93258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98" indent="-233147" algn="l" defTabSz="93258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491" indent="-233147" algn="l" defTabSz="93258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85" rtl="0" eaLnBrk="1" latinLnBrk="0" hangingPunct="1">
        <a:defRPr sz="1801" kern="1200">
          <a:solidFill>
            <a:schemeClr val="tx1"/>
          </a:solidFill>
          <a:latin typeface="+mn-lt"/>
          <a:ea typeface="+mn-ea"/>
          <a:cs typeface="+mn-cs"/>
        </a:defRPr>
      </a:lvl1pPr>
      <a:lvl2pPr marL="466292" algn="l" defTabSz="932585" rtl="0" eaLnBrk="1" latinLnBrk="0" hangingPunct="1">
        <a:defRPr sz="1801" kern="1200">
          <a:solidFill>
            <a:schemeClr val="tx1"/>
          </a:solidFill>
          <a:latin typeface="+mn-lt"/>
          <a:ea typeface="+mn-ea"/>
          <a:cs typeface="+mn-cs"/>
        </a:defRPr>
      </a:lvl2pPr>
      <a:lvl3pPr marL="932585" algn="l" defTabSz="932585" rtl="0" eaLnBrk="1" latinLnBrk="0" hangingPunct="1">
        <a:defRPr sz="1801" kern="1200">
          <a:solidFill>
            <a:schemeClr val="tx1"/>
          </a:solidFill>
          <a:latin typeface="+mn-lt"/>
          <a:ea typeface="+mn-ea"/>
          <a:cs typeface="+mn-cs"/>
        </a:defRPr>
      </a:lvl3pPr>
      <a:lvl4pPr marL="1398879" algn="l" defTabSz="932585" rtl="0" eaLnBrk="1" latinLnBrk="0" hangingPunct="1">
        <a:defRPr sz="1801" kern="1200">
          <a:solidFill>
            <a:schemeClr val="tx1"/>
          </a:solidFill>
          <a:latin typeface="+mn-lt"/>
          <a:ea typeface="+mn-ea"/>
          <a:cs typeface="+mn-cs"/>
        </a:defRPr>
      </a:lvl4pPr>
      <a:lvl5pPr marL="1865172" algn="l" defTabSz="932585" rtl="0" eaLnBrk="1" latinLnBrk="0" hangingPunct="1">
        <a:defRPr sz="1801" kern="1200">
          <a:solidFill>
            <a:schemeClr val="tx1"/>
          </a:solidFill>
          <a:latin typeface="+mn-lt"/>
          <a:ea typeface="+mn-ea"/>
          <a:cs typeface="+mn-cs"/>
        </a:defRPr>
      </a:lvl5pPr>
      <a:lvl6pPr marL="2331466" algn="l" defTabSz="932585" rtl="0" eaLnBrk="1" latinLnBrk="0" hangingPunct="1">
        <a:defRPr sz="1801" kern="1200">
          <a:solidFill>
            <a:schemeClr val="tx1"/>
          </a:solidFill>
          <a:latin typeface="+mn-lt"/>
          <a:ea typeface="+mn-ea"/>
          <a:cs typeface="+mn-cs"/>
        </a:defRPr>
      </a:lvl6pPr>
      <a:lvl7pPr marL="2797758" algn="l" defTabSz="932585" rtl="0" eaLnBrk="1" latinLnBrk="0" hangingPunct="1">
        <a:defRPr sz="1801" kern="1200">
          <a:solidFill>
            <a:schemeClr val="tx1"/>
          </a:solidFill>
          <a:latin typeface="+mn-lt"/>
          <a:ea typeface="+mn-ea"/>
          <a:cs typeface="+mn-cs"/>
        </a:defRPr>
      </a:lvl7pPr>
      <a:lvl8pPr marL="3264050" algn="l" defTabSz="932585" rtl="0" eaLnBrk="1" latinLnBrk="0" hangingPunct="1">
        <a:defRPr sz="1801" kern="1200">
          <a:solidFill>
            <a:schemeClr val="tx1"/>
          </a:solidFill>
          <a:latin typeface="+mn-lt"/>
          <a:ea typeface="+mn-ea"/>
          <a:cs typeface="+mn-cs"/>
        </a:defRPr>
      </a:lvl8pPr>
      <a:lvl9pPr marL="3730344" algn="l" defTabSz="932585" rtl="0" eaLnBrk="1" latinLnBrk="0" hangingPunct="1">
        <a:defRPr sz="1801"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4" userDrawn="1">
          <p15:clr>
            <a:srgbClr val="5ACBF0"/>
          </p15:clr>
        </p15:guide>
        <p15:guide id="2" pos="235" userDrawn="1">
          <p15:clr>
            <a:srgbClr val="5ACBF0"/>
          </p15:clr>
        </p15:guide>
        <p15:guide id="3" pos="10419" userDrawn="1">
          <p15:clr>
            <a:srgbClr val="5ACBF0"/>
          </p15:clr>
        </p15:guide>
        <p15:guide id="4" orient="horz" pos="5737" userDrawn="1">
          <p15:clr>
            <a:srgbClr val="5ACBF0"/>
          </p15:clr>
        </p15:guide>
        <p15:guide id="5" pos="1019" userDrawn="1">
          <p15:clr>
            <a:srgbClr val="5ACBF0"/>
          </p15:clr>
        </p15:guide>
        <p15:guide id="6" pos="1802" userDrawn="1">
          <p15:clr>
            <a:srgbClr val="5ACBF0"/>
          </p15:clr>
        </p15:guide>
        <p15:guide id="7" pos="2585" userDrawn="1">
          <p15:clr>
            <a:srgbClr val="5ACBF0"/>
          </p15:clr>
        </p15:guide>
        <p15:guide id="8" pos="3369" userDrawn="1">
          <p15:clr>
            <a:srgbClr val="5ACBF0"/>
          </p15:clr>
        </p15:guide>
        <p15:guide id="9" pos="4152" userDrawn="1">
          <p15:clr>
            <a:srgbClr val="5ACBF0"/>
          </p15:clr>
        </p15:guide>
        <p15:guide id="10" pos="4936" userDrawn="1">
          <p15:clr>
            <a:srgbClr val="5ACBF0"/>
          </p15:clr>
        </p15:guide>
        <p15:guide id="11" pos="5719" userDrawn="1">
          <p15:clr>
            <a:srgbClr val="5ACBF0"/>
          </p15:clr>
        </p15:guide>
        <p15:guide id="12" pos="6502" userDrawn="1">
          <p15:clr>
            <a:srgbClr val="5ACBF0"/>
          </p15:clr>
        </p15:guide>
        <p15:guide id="13" pos="7286" userDrawn="1">
          <p15:clr>
            <a:srgbClr val="5ACBF0"/>
          </p15:clr>
        </p15:guide>
        <p15:guide id="14" pos="8069" userDrawn="1">
          <p15:clr>
            <a:srgbClr val="5ACBF0"/>
          </p15:clr>
        </p15:guide>
        <p15:guide id="15" pos="8853" userDrawn="1">
          <p15:clr>
            <a:srgbClr val="5ACBF0"/>
          </p15:clr>
        </p15:guide>
        <p15:guide id="16" pos="9636" userDrawn="1">
          <p15:clr>
            <a:srgbClr val="5ACBF0"/>
          </p15:clr>
        </p15:guide>
        <p15:guide id="17" orient="horz" pos="1038" userDrawn="1">
          <p15:clr>
            <a:srgbClr val="5ACBF0"/>
          </p15:clr>
        </p15:guide>
        <p15:guide id="18" orient="horz" pos="1821" userDrawn="1">
          <p15:clr>
            <a:srgbClr val="5ACBF0"/>
          </p15:clr>
        </p15:guide>
        <p15:guide id="19" orient="horz" pos="2604" userDrawn="1">
          <p15:clr>
            <a:srgbClr val="5ACBF0"/>
          </p15:clr>
        </p15:guide>
        <p15:guide id="20" orient="horz" pos="3387" userDrawn="1">
          <p15:clr>
            <a:srgbClr val="5ACBF0"/>
          </p15:clr>
        </p15:guide>
        <p15:guide id="21" orient="horz" pos="4171" userDrawn="1">
          <p15:clr>
            <a:srgbClr val="5ACBF0"/>
          </p15:clr>
        </p15:guide>
        <p15:guide id="22" orient="horz" pos="4954" userDrawn="1">
          <p15:clr>
            <a:srgbClr val="5ACBF0"/>
          </p15:clr>
        </p15:guide>
        <p15:guide id="23" pos="392" userDrawn="1">
          <p15:clr>
            <a:srgbClr val="C35EA4"/>
          </p15:clr>
        </p15:guide>
        <p15:guide id="24" pos="10263" userDrawn="1">
          <p15:clr>
            <a:srgbClr val="C35EA4"/>
          </p15:clr>
        </p15:guide>
        <p15:guide id="25" orient="horz" pos="411" userDrawn="1">
          <p15:clr>
            <a:srgbClr val="C35EA4"/>
          </p15:clr>
        </p15:guide>
        <p15:guide id="26" orient="horz" pos="5581" userDrawn="1">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2"/>
          <a:stretch>
            <a:fillRect/>
          </a:stretch>
        </p:blipFill>
        <p:spPr>
          <a:xfrm rot="5400000">
            <a:off x="9393899" y="3050515"/>
            <a:ext cx="6995160" cy="894134"/>
          </a:xfrm>
          <a:prstGeom prst="rect">
            <a:avLst/>
          </a:prstGeom>
        </p:spPr>
      </p:pic>
    </p:spTree>
    <p:extLst>
      <p:ext uri="{BB962C8B-B14F-4D97-AF65-F5344CB8AC3E}">
        <p14:creationId xmlns:p14="http://schemas.microsoft.com/office/powerpoint/2010/main" val="2287027723"/>
      </p:ext>
    </p:extLst>
  </p:cSld>
  <p:clrMap bg1="lt1" tx1="dk1" bg2="lt2" tx2="dk2" accent1="accent1" accent2="accent2" accent3="accent3" accent4="accent4" accent5="accent5" accent6="accent6" hlink="hlink" folHlink="folHlink"/>
  <p:sldLayoutIdLst>
    <p:sldLayoutId id="2147485053" r:id="rId1"/>
    <p:sldLayoutId id="2147485054" r:id="rId2"/>
    <p:sldLayoutId id="2147485055" r:id="rId3"/>
    <p:sldLayoutId id="2147485056" r:id="rId4"/>
    <p:sldLayoutId id="2147485057" r:id="rId5"/>
    <p:sldLayoutId id="2147485058" r:id="rId6"/>
    <p:sldLayoutId id="2147485059" r:id="rId7"/>
    <p:sldLayoutId id="2147485060" r:id="rId8"/>
    <p:sldLayoutId id="2147485061" r:id="rId9"/>
    <p:sldLayoutId id="2147485062" r:id="rId10"/>
    <p:sldLayoutId id="2147485063" r:id="rId11"/>
    <p:sldLayoutId id="2147485064" r:id="rId12"/>
    <p:sldLayoutId id="2147485065" r:id="rId13"/>
    <p:sldLayoutId id="2147485066" r:id="rId14"/>
    <p:sldLayoutId id="2147485067" r:id="rId15"/>
    <p:sldLayoutId id="2147485068" r:id="rId16"/>
    <p:sldLayoutId id="2147485069" r:id="rId17"/>
    <p:sldLayoutId id="2147485070" r:id="rId18"/>
    <p:sldLayoutId id="2147485073" r:id="rId19"/>
    <p:sldLayoutId id="2147485074" r:id="rId20"/>
    <p:sldLayoutId id="2147485075" r:id="rId21"/>
    <p:sldLayoutId id="2147485076" r:id="rId22"/>
    <p:sldLayoutId id="2147485077" r:id="rId23"/>
    <p:sldLayoutId id="2147485078" r:id="rId24"/>
    <p:sldLayoutId id="2147485079" r:id="rId25"/>
    <p:sldLayoutId id="2147485080" r:id="rId26"/>
    <p:sldLayoutId id="2147485081" r:id="rId27"/>
    <p:sldLayoutId id="2147485082" r:id="rId28"/>
    <p:sldLayoutId id="2147485083" r:id="rId29"/>
    <p:sldLayoutId id="2147485454" r:id="rId30"/>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457200" y="1220803"/>
            <a:ext cx="11704640" cy="211558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2"/>
          <p:cNvSpPr>
            <a:spLocks noGrp="1"/>
          </p:cNvSpPr>
          <p:nvPr>
            <p:ph type="sldNum" sz="quarter" idx="4"/>
          </p:nvPr>
        </p:nvSpPr>
        <p:spPr>
          <a:xfrm>
            <a:off x="11277174" y="6465577"/>
            <a:ext cx="754803" cy="364224"/>
          </a:xfrm>
          <a:prstGeom prst="rect">
            <a:avLst/>
          </a:prstGeom>
        </p:spPr>
        <p:txBody>
          <a:bodyPr vert="horz" lIns="0" tIns="0" rIns="0" bIns="0" rtlCol="0" anchor="ctr"/>
          <a:lstStyle>
            <a:lvl1pPr algn="r">
              <a:defRPr sz="1176">
                <a:solidFill>
                  <a:schemeClr val="tx2"/>
                </a:solidFill>
              </a:defRPr>
            </a:lvl1pPr>
          </a:lstStyle>
          <a:p>
            <a:pPr defTabSz="914191"/>
            <a:fld id="{840D8047-B893-4862-9D76-6DA481ED40D0}" type="slidenum">
              <a:rPr lang="en-IN" smtClean="0">
                <a:solidFill>
                  <a:srgbClr val="505050"/>
                </a:solidFill>
              </a:rPr>
              <a:pPr defTabSz="914191"/>
              <a:t>‹#›</a:t>
            </a:fld>
            <a:endParaRPr lang="en-IN" dirty="0">
              <a:solidFill>
                <a:srgbClr val="505050"/>
              </a:solidFill>
            </a:endParaRPr>
          </a:p>
        </p:txBody>
      </p:sp>
    </p:spTree>
    <p:extLst>
      <p:ext uri="{BB962C8B-B14F-4D97-AF65-F5344CB8AC3E}">
        <p14:creationId xmlns:p14="http://schemas.microsoft.com/office/powerpoint/2010/main" val="1306380139"/>
      </p:ext>
    </p:extLst>
  </p:cSld>
  <p:clrMap bg1="lt1" tx1="dk1" bg2="lt2" tx2="dk2" accent1="accent1" accent2="accent2" accent3="accent3" accent4="accent4" accent5="accent5" accent6="accent6" hlink="hlink" folHlink="folHlink"/>
  <p:sldLayoutIdLst>
    <p:sldLayoutId id="2147485086" r:id="rId1"/>
    <p:sldLayoutId id="2147485087" r:id="rId2"/>
    <p:sldLayoutId id="2147485088" r:id="rId3"/>
    <p:sldLayoutId id="2147485089" r:id="rId4"/>
    <p:sldLayoutId id="2147485090" r:id="rId5"/>
    <p:sldLayoutId id="2147485094" r:id="rId6"/>
    <p:sldLayoutId id="2147485095" r:id="rId7"/>
    <p:sldLayoutId id="2147485096" r:id="rId8"/>
    <p:sldLayoutId id="2147485097" r:id="rId9"/>
    <p:sldLayoutId id="2147485098" r:id="rId10"/>
    <p:sldLayoutId id="2147485099" r:id="rId11"/>
    <p:sldLayoutId id="2147485100" r:id="rId12"/>
    <p:sldLayoutId id="2147485101" r:id="rId13"/>
    <p:sldLayoutId id="2147485102" r:id="rId14"/>
    <p:sldLayoutId id="2147485103" r:id="rId15"/>
    <p:sldLayoutId id="2147485104" r:id="rId16"/>
    <p:sldLayoutId id="2147485105" r:id="rId17"/>
    <p:sldLayoutId id="2147485106" r:id="rId18"/>
    <p:sldLayoutId id="2147485107" r:id="rId19"/>
    <p:sldLayoutId id="2147485108" r:id="rId20"/>
    <p:sldLayoutId id="2147485109" r:id="rId21"/>
  </p:sldLayoutIdLst>
  <p:transition>
    <p:fade/>
  </p:transition>
  <p:hf hdr="0" ftr="0" dt="0"/>
  <p:txStyles>
    <p:titleStyle>
      <a:lvl1pPr algn="l" defTabSz="932384" rtl="0" eaLnBrk="1" latinLnBrk="0" hangingPunct="1">
        <a:lnSpc>
          <a:spcPct val="90000"/>
        </a:lnSpc>
        <a:spcBef>
          <a:spcPct val="0"/>
        </a:spcBef>
        <a:buNone/>
        <a:defRPr lang="en-US" sz="4399" b="0" kern="1200" cap="none" spc="-102" baseline="0" dirty="0" smtClean="0">
          <a:ln w="3175">
            <a:noFill/>
          </a:ln>
          <a:solidFill>
            <a:srgbClr val="002050"/>
          </a:solidFill>
          <a:effectLst/>
          <a:latin typeface="+mj-lt"/>
          <a:ea typeface="+mn-ea"/>
          <a:cs typeface="Segoe UI" pitchFamily="34" charset="0"/>
        </a:defRPr>
      </a:lvl1pPr>
    </p:titleStyle>
    <p:bodyStyle>
      <a:lvl1pPr marL="0" marR="0" indent="0" algn="l" defTabSz="932384" rtl="0" eaLnBrk="1" fontAlgn="auto" latinLnBrk="0" hangingPunct="1">
        <a:lnSpc>
          <a:spcPct val="90000"/>
        </a:lnSpc>
        <a:spcBef>
          <a:spcPct val="20000"/>
        </a:spcBef>
        <a:spcAft>
          <a:spcPts val="0"/>
        </a:spcAft>
        <a:buClrTx/>
        <a:buSzPct val="90000"/>
        <a:buFontTx/>
        <a:buNone/>
        <a:tabLst/>
        <a:defRPr sz="3599" kern="1200" spc="0" baseline="0">
          <a:solidFill>
            <a:schemeClr val="bg1">
              <a:lumMod val="50000"/>
            </a:schemeClr>
          </a:solidFill>
          <a:latin typeface="+mj-lt"/>
          <a:ea typeface="+mn-ea"/>
          <a:cs typeface="+mn-cs"/>
        </a:defRPr>
      </a:lvl1pPr>
      <a:lvl2pPr marL="342769" marR="0" indent="0" algn="l" defTabSz="932384" rtl="0" eaLnBrk="1" fontAlgn="auto" latinLnBrk="0" hangingPunct="1">
        <a:lnSpc>
          <a:spcPct val="90000"/>
        </a:lnSpc>
        <a:spcBef>
          <a:spcPct val="20000"/>
        </a:spcBef>
        <a:spcAft>
          <a:spcPts val="0"/>
        </a:spcAft>
        <a:buClrTx/>
        <a:buSzPct val="90000"/>
        <a:buFontTx/>
        <a:buNone/>
        <a:tabLst/>
        <a:defRPr sz="2448" kern="1200" spc="0" baseline="0">
          <a:solidFill>
            <a:schemeClr val="bg1">
              <a:lumMod val="50000"/>
            </a:schemeClr>
          </a:solidFill>
          <a:latin typeface="+mn-lt"/>
          <a:ea typeface="+mn-ea"/>
          <a:cs typeface="+mn-cs"/>
        </a:defRPr>
      </a:lvl2pPr>
      <a:lvl3pPr marL="571280" marR="0" indent="0" algn="l" defTabSz="932384" rtl="0" eaLnBrk="1" fontAlgn="auto" latinLnBrk="0" hangingPunct="1">
        <a:lnSpc>
          <a:spcPct val="90000"/>
        </a:lnSpc>
        <a:spcBef>
          <a:spcPct val="20000"/>
        </a:spcBef>
        <a:spcAft>
          <a:spcPts val="0"/>
        </a:spcAft>
        <a:buClrTx/>
        <a:buSzPct val="90000"/>
        <a:buFontTx/>
        <a:buNone/>
        <a:tabLst/>
        <a:defRPr sz="2040" kern="1200" spc="0" baseline="0">
          <a:solidFill>
            <a:schemeClr val="bg1">
              <a:lumMod val="50000"/>
            </a:schemeClr>
          </a:solidFill>
          <a:latin typeface="+mn-lt"/>
          <a:ea typeface="+mn-ea"/>
          <a:cs typeface="+mn-cs"/>
        </a:defRPr>
      </a:lvl3pPr>
      <a:lvl4pPr marL="799792" marR="0" indent="0" algn="l" defTabSz="932384" rtl="0" eaLnBrk="1" fontAlgn="auto" latinLnBrk="0" hangingPunct="1">
        <a:lnSpc>
          <a:spcPct val="90000"/>
        </a:lnSpc>
        <a:spcBef>
          <a:spcPct val="20000"/>
        </a:spcBef>
        <a:spcAft>
          <a:spcPts val="0"/>
        </a:spcAft>
        <a:buClrTx/>
        <a:buSzPct val="90000"/>
        <a:buFontTx/>
        <a:buNone/>
        <a:tabLst/>
        <a:defRPr sz="1836" kern="1200" spc="0" baseline="0">
          <a:solidFill>
            <a:schemeClr val="bg1">
              <a:lumMod val="50000"/>
            </a:schemeClr>
          </a:solidFill>
          <a:latin typeface="+mn-lt"/>
          <a:ea typeface="+mn-ea"/>
          <a:cs typeface="+mn-cs"/>
        </a:defRPr>
      </a:lvl4pPr>
      <a:lvl5pPr marL="1028304" marR="0" indent="0" algn="l" defTabSz="932384" rtl="0" eaLnBrk="1" fontAlgn="auto" latinLnBrk="0" hangingPunct="1">
        <a:lnSpc>
          <a:spcPct val="90000"/>
        </a:lnSpc>
        <a:spcBef>
          <a:spcPct val="20000"/>
        </a:spcBef>
        <a:spcAft>
          <a:spcPts val="0"/>
        </a:spcAft>
        <a:buClrTx/>
        <a:buSzPct val="90000"/>
        <a:buFontTx/>
        <a:buNone/>
        <a:tabLst/>
        <a:defRPr sz="1836" kern="1200" spc="0" baseline="0">
          <a:solidFill>
            <a:schemeClr val="bg1">
              <a:lumMod val="50000"/>
            </a:schemeClr>
          </a:soli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7565">
          <p15:clr>
            <a:srgbClr val="F26B43"/>
          </p15:clr>
        </p15:guide>
        <p15:guide id="2" orient="horz" pos="4026">
          <p15:clr>
            <a:srgbClr val="F26B43"/>
          </p15:clr>
        </p15:guide>
        <p15:guide id="3" orient="horz" pos="900">
          <p15:clr>
            <a:srgbClr val="F26B43"/>
          </p15:clr>
        </p15:guide>
        <p15:guide id="4" orient="horz" pos="792">
          <p15:clr>
            <a:srgbClr val="F26B43"/>
          </p15:clr>
        </p15:guide>
        <p15:guide id="5" orient="horz" pos="3936">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7"/>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3"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6"/>
          <a:stretch>
            <a:fillRect/>
          </a:stretch>
        </p:blipFill>
        <p:spPr>
          <a:xfrm rot="5400000">
            <a:off x="9393899" y="3050516"/>
            <a:ext cx="6995160" cy="894134"/>
          </a:xfrm>
          <a:prstGeom prst="rect">
            <a:avLst/>
          </a:prstGeom>
        </p:spPr>
      </p:pic>
    </p:spTree>
    <p:extLst>
      <p:ext uri="{BB962C8B-B14F-4D97-AF65-F5344CB8AC3E}">
        <p14:creationId xmlns:p14="http://schemas.microsoft.com/office/powerpoint/2010/main" val="3024036002"/>
      </p:ext>
    </p:extLst>
  </p:cSld>
  <p:clrMap bg1="lt1" tx1="dk1" bg2="lt2" tx2="dk2" accent1="accent1" accent2="accent2" accent3="accent3" accent4="accent4" accent5="accent5" accent6="accent6" hlink="hlink" folHlink="folHlink"/>
  <p:sldLayoutIdLst>
    <p:sldLayoutId id="2147485125" r:id="rId1"/>
    <p:sldLayoutId id="2147485126" r:id="rId2"/>
    <p:sldLayoutId id="2147485127" r:id="rId3"/>
    <p:sldLayoutId id="2147485128" r:id="rId4"/>
    <p:sldLayoutId id="2147485129" r:id="rId5"/>
    <p:sldLayoutId id="2147485130" r:id="rId6"/>
    <p:sldLayoutId id="2147485131" r:id="rId7"/>
    <p:sldLayoutId id="2147485132" r:id="rId8"/>
    <p:sldLayoutId id="2147485133" r:id="rId9"/>
    <p:sldLayoutId id="2147485134" r:id="rId10"/>
    <p:sldLayoutId id="2147485135" r:id="rId11"/>
    <p:sldLayoutId id="2147485136" r:id="rId12"/>
    <p:sldLayoutId id="2147485137" r:id="rId13"/>
    <p:sldLayoutId id="2147485138" r:id="rId14"/>
    <p:sldLayoutId id="2147485139" r:id="rId15"/>
    <p:sldLayoutId id="2147485140" r:id="rId16"/>
    <p:sldLayoutId id="2147485142" r:id="rId17"/>
    <p:sldLayoutId id="2147485143" r:id="rId18"/>
    <p:sldLayoutId id="2147485144" r:id="rId19"/>
    <p:sldLayoutId id="2147485145" r:id="rId20"/>
    <p:sldLayoutId id="2147485146" r:id="rId21"/>
    <p:sldLayoutId id="2147485147" r:id="rId22"/>
    <p:sldLayoutId id="2147485148" r:id="rId23"/>
    <p:sldLayoutId id="2147485149" r:id="rId24"/>
  </p:sldLayoutIdLst>
  <p:transition>
    <p:fade/>
  </p:transition>
  <p:txStyles>
    <p:titleStyle>
      <a:lvl1pPr algn="l" defTabSz="932205" rtl="0" eaLnBrk="1" latinLnBrk="0" hangingPunct="1">
        <a:lnSpc>
          <a:spcPct val="90000"/>
        </a:lnSpc>
        <a:spcBef>
          <a:spcPct val="0"/>
        </a:spcBef>
        <a:buNone/>
        <a:defRPr lang="en-US" sz="4797"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02" marR="0" indent="-342702" algn="l" defTabSz="932205" rtl="0" eaLnBrk="1" fontAlgn="auto" latinLnBrk="0" hangingPunct="1">
        <a:lnSpc>
          <a:spcPct val="90000"/>
        </a:lnSpc>
        <a:spcBef>
          <a:spcPct val="20000"/>
        </a:spcBef>
        <a:spcAft>
          <a:spcPts val="0"/>
        </a:spcAft>
        <a:buClrTx/>
        <a:buSzPct val="90000"/>
        <a:buFont typeface="Arial" pitchFamily="34" charset="0"/>
        <a:buChar char="•"/>
        <a:tabLst/>
        <a:defRPr sz="3997" kern="1200" spc="0" baseline="0">
          <a:gradFill>
            <a:gsLst>
              <a:gs pos="1250">
                <a:schemeClr val="tx1"/>
              </a:gs>
              <a:gs pos="100000">
                <a:schemeClr val="tx1"/>
              </a:gs>
            </a:gsLst>
            <a:lin ang="5400000" scaled="0"/>
          </a:gradFill>
          <a:latin typeface="+mj-lt"/>
          <a:ea typeface="+mn-ea"/>
          <a:cs typeface="+mn-cs"/>
        </a:defRPr>
      </a:lvl1pPr>
      <a:lvl2pPr marL="583863" marR="0" indent="-241159" algn="l" defTabSz="93220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638"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107"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576"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3563"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666"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769"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872"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205" rtl="0" eaLnBrk="1" latinLnBrk="0" hangingPunct="1">
        <a:defRPr sz="1800" kern="1200">
          <a:solidFill>
            <a:schemeClr val="tx1"/>
          </a:solidFill>
          <a:latin typeface="+mn-lt"/>
          <a:ea typeface="+mn-ea"/>
          <a:cs typeface="+mn-cs"/>
        </a:defRPr>
      </a:lvl1pPr>
      <a:lvl2pPr marL="466101" algn="l" defTabSz="932205" rtl="0" eaLnBrk="1" latinLnBrk="0" hangingPunct="1">
        <a:defRPr sz="1800" kern="1200">
          <a:solidFill>
            <a:schemeClr val="tx1"/>
          </a:solidFill>
          <a:latin typeface="+mn-lt"/>
          <a:ea typeface="+mn-ea"/>
          <a:cs typeface="+mn-cs"/>
        </a:defRPr>
      </a:lvl2pPr>
      <a:lvl3pPr marL="932205" algn="l" defTabSz="932205" rtl="0" eaLnBrk="1" latinLnBrk="0" hangingPunct="1">
        <a:defRPr sz="1800" kern="1200">
          <a:solidFill>
            <a:schemeClr val="tx1"/>
          </a:solidFill>
          <a:latin typeface="+mn-lt"/>
          <a:ea typeface="+mn-ea"/>
          <a:cs typeface="+mn-cs"/>
        </a:defRPr>
      </a:lvl3pPr>
      <a:lvl4pPr marL="1398307" algn="l" defTabSz="932205" rtl="0" eaLnBrk="1" latinLnBrk="0" hangingPunct="1">
        <a:defRPr sz="1800" kern="1200">
          <a:solidFill>
            <a:schemeClr val="tx1"/>
          </a:solidFill>
          <a:latin typeface="+mn-lt"/>
          <a:ea typeface="+mn-ea"/>
          <a:cs typeface="+mn-cs"/>
        </a:defRPr>
      </a:lvl4pPr>
      <a:lvl5pPr marL="1864410" algn="l" defTabSz="932205" rtl="0" eaLnBrk="1" latinLnBrk="0" hangingPunct="1">
        <a:defRPr sz="1800" kern="1200">
          <a:solidFill>
            <a:schemeClr val="tx1"/>
          </a:solidFill>
          <a:latin typeface="+mn-lt"/>
          <a:ea typeface="+mn-ea"/>
          <a:cs typeface="+mn-cs"/>
        </a:defRPr>
      </a:lvl5pPr>
      <a:lvl6pPr marL="2330512" algn="l" defTabSz="932205" rtl="0" eaLnBrk="1" latinLnBrk="0" hangingPunct="1">
        <a:defRPr sz="1800" kern="1200">
          <a:solidFill>
            <a:schemeClr val="tx1"/>
          </a:solidFill>
          <a:latin typeface="+mn-lt"/>
          <a:ea typeface="+mn-ea"/>
          <a:cs typeface="+mn-cs"/>
        </a:defRPr>
      </a:lvl6pPr>
      <a:lvl7pPr marL="2796615" algn="l" defTabSz="932205" rtl="0" eaLnBrk="1" latinLnBrk="0" hangingPunct="1">
        <a:defRPr sz="1800" kern="1200">
          <a:solidFill>
            <a:schemeClr val="tx1"/>
          </a:solidFill>
          <a:latin typeface="+mn-lt"/>
          <a:ea typeface="+mn-ea"/>
          <a:cs typeface="+mn-cs"/>
        </a:defRPr>
      </a:lvl7pPr>
      <a:lvl8pPr marL="3262716" algn="l" defTabSz="932205" rtl="0" eaLnBrk="1" latinLnBrk="0" hangingPunct="1">
        <a:defRPr sz="1800" kern="1200">
          <a:solidFill>
            <a:schemeClr val="tx1"/>
          </a:solidFill>
          <a:latin typeface="+mn-lt"/>
          <a:ea typeface="+mn-ea"/>
          <a:cs typeface="+mn-cs"/>
        </a:defRPr>
      </a:lvl8pPr>
      <a:lvl9pPr marL="3728821" algn="l" defTabSz="93220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1">
          <p15:clr>
            <a:srgbClr val="5ACBF0"/>
          </p15:clr>
        </p15:guide>
        <p15:guide id="2" pos="176">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94">
          <p15:clr>
            <a:srgbClr val="C35EA4"/>
          </p15:clr>
        </p15:guide>
        <p15:guide id="17" pos="756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8">
          <p15:clr>
            <a:srgbClr val="C35EA4"/>
          </p15:clr>
        </p15:guide>
        <p15:guide id="26" orient="horz" pos="4123">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5275"/>
            <a:ext cx="11888787"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2051" name="Text Placeholder 3"/>
          <p:cNvSpPr>
            <a:spLocks noGrp="1"/>
          </p:cNvSpPr>
          <p:nvPr>
            <p:ph type="body" idx="1"/>
          </p:nvPr>
        </p:nvSpPr>
        <p:spPr bwMode="auto">
          <a:xfrm>
            <a:off x="274638" y="1212850"/>
            <a:ext cx="11887200" cy="20923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57200" y="6565900"/>
            <a:ext cx="3937000" cy="136525"/>
          </a:xfrm>
          <a:prstGeom prst="rect">
            <a:avLst/>
          </a:prstGeom>
        </p:spPr>
        <p:txBody>
          <a:bodyPr vert="horz" lIns="0" tIns="0" rIns="91440" bIns="0" rtlCol="0" anchor="ctr"/>
          <a:lstStyle>
            <a:lvl1pPr marL="0" algn="l" defTabSz="932742" rtl="0" eaLnBrk="1" fontAlgn="auto" latinLnBrk="0" hangingPunct="1">
              <a:spcBef>
                <a:spcPts val="0"/>
              </a:spcBef>
              <a:spcAft>
                <a:spcPts val="0"/>
              </a:spcAft>
              <a:defRPr lang="en-US" sz="900" kern="1200" dirty="0" smtClean="0">
                <a:solidFill>
                  <a:srgbClr val="505050"/>
                </a:solidFill>
                <a:latin typeface="+mn-lt"/>
                <a:ea typeface="+mn-ea"/>
                <a:cs typeface="+mn-cs"/>
              </a:defRPr>
            </a:lvl1pPr>
          </a:lstStyle>
          <a:p>
            <a:pPr>
              <a:defRPr/>
            </a:pPr>
            <a:r>
              <a:rPr/>
              <a:t>Microsoft Confidential</a:t>
            </a:r>
          </a:p>
        </p:txBody>
      </p:sp>
      <p:sp>
        <p:nvSpPr>
          <p:cNvPr id="5" name="Slide Number Placeholder 4"/>
          <p:cNvSpPr>
            <a:spLocks noGrp="1"/>
          </p:cNvSpPr>
          <p:nvPr>
            <p:ph type="sldNum" sz="quarter" idx="4"/>
          </p:nvPr>
        </p:nvSpPr>
        <p:spPr>
          <a:xfrm>
            <a:off x="11595100" y="6565900"/>
            <a:ext cx="566738" cy="136525"/>
          </a:xfrm>
          <a:prstGeom prst="rect">
            <a:avLst/>
          </a:prstGeom>
        </p:spPr>
        <p:txBody>
          <a:bodyPr vert="horz" lIns="91440" tIns="0" rIns="0" bIns="0" rtlCol="0" anchor="ctr"/>
          <a:lstStyle>
            <a:lvl1pPr algn="r" defTabSz="932742" fontAlgn="auto">
              <a:spcBef>
                <a:spcPts val="0"/>
              </a:spcBef>
              <a:spcAft>
                <a:spcPts val="0"/>
              </a:spcAft>
              <a:defRPr lang="en-US" sz="900" b="0" kern="1200">
                <a:solidFill>
                  <a:srgbClr val="505050"/>
                </a:solidFill>
                <a:latin typeface="+mn-lt"/>
                <a:ea typeface="+mn-ea"/>
                <a:cs typeface="+mn-cs"/>
              </a:defRPr>
            </a:lvl1pPr>
          </a:lstStyle>
          <a:p>
            <a:pPr>
              <a:defRPr/>
            </a:pPr>
            <a:fld id="{75FAD755-3BD0-2447-A9DF-109DAABEFD99}" type="slidenum">
              <a:rPr/>
              <a:pPr>
                <a:defRPr/>
              </a:pPr>
              <a:t>‹#›</a:t>
            </a:fld>
            <a:endParaRPr dirty="0"/>
          </a:p>
        </p:txBody>
      </p:sp>
    </p:spTree>
    <p:extLst>
      <p:ext uri="{BB962C8B-B14F-4D97-AF65-F5344CB8AC3E}">
        <p14:creationId xmlns:p14="http://schemas.microsoft.com/office/powerpoint/2010/main" val="1749597524"/>
      </p:ext>
    </p:extLst>
  </p:cSld>
  <p:clrMap bg1="lt1" tx1="dk1" bg2="lt2" tx2="dk2" accent1="accent1" accent2="accent2" accent3="accent3" accent4="accent4" accent5="accent5" accent6="accent6" hlink="hlink" folHlink="folHlink"/>
  <p:sldLayoutIdLst>
    <p:sldLayoutId id="2147485161" r:id="rId1"/>
    <p:sldLayoutId id="2147485162" r:id="rId2"/>
    <p:sldLayoutId id="2147485163" r:id="rId3"/>
    <p:sldLayoutId id="2147485164" r:id="rId4"/>
    <p:sldLayoutId id="2147485165" r:id="rId5"/>
    <p:sldLayoutId id="2147485167" r:id="rId6"/>
  </p:sldLayoutIdLst>
  <p:transition>
    <p:fade/>
  </p:transition>
  <p:txStyles>
    <p:titleStyle>
      <a:lvl1pPr algn="l" defTabSz="931863" rtl="0" fontAlgn="base">
        <a:lnSpc>
          <a:spcPct val="90000"/>
        </a:lnSpc>
        <a:spcBef>
          <a:spcPct val="0"/>
        </a:spcBef>
        <a:spcAft>
          <a:spcPct val="0"/>
        </a:spcAft>
        <a:defRPr lang="en-US" sz="5400" kern="1200" spc="-102" dirty="0">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p:titleStyle>
    <p:bodyStyle>
      <a:lvl1pPr marL="342900" indent="-342900" algn="l" defTabSz="931863" rtl="0" fontAlgn="base">
        <a:lnSpc>
          <a:spcPct val="90000"/>
        </a:lnSpc>
        <a:spcBef>
          <a:spcPct val="20000"/>
        </a:spcBef>
        <a:spcAft>
          <a:spcPct val="0"/>
        </a:spcAft>
        <a:buSzPct val="90000"/>
        <a:buFont typeface="Arial" charset="0"/>
        <a:buChar char="•"/>
        <a:defRPr sz="4000" kern="1200">
          <a:solidFill>
            <a:schemeClr val="tx2"/>
          </a:solidFill>
          <a:latin typeface="+mj-lt"/>
          <a:ea typeface="ＭＳ Ｐゴシック" charset="0"/>
          <a:cs typeface="ＭＳ Ｐゴシック" charset="0"/>
        </a:defRPr>
      </a:lvl1pPr>
      <a:lvl2pPr marL="584200" indent="-241300" algn="l" defTabSz="931863" rtl="0" fontAlgn="base">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800100" indent="-228600" algn="l" defTabSz="931863" rtl="0" fontAlgn="base">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7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3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8"/>
            <a:ext cx="11889564" cy="917575"/>
          </a:xfrm>
          <a:prstGeom prst="rect">
            <a:avLst/>
          </a:prstGeom>
        </p:spPr>
        <p:txBody>
          <a:bodyPr vert="horz" wrap="square" lIns="146237" tIns="91399" rIns="146237" bIns="91399"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4"/>
            <a:ext cx="11887197" cy="2062020"/>
          </a:xfrm>
          <a:prstGeom prst="rect">
            <a:avLst/>
          </a:prstGeom>
        </p:spPr>
        <p:txBody>
          <a:bodyPr vert="horz" wrap="square" lIns="146237" tIns="91399" rIns="146237" bIns="91399"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2667531"/>
      </p:ext>
    </p:extLst>
  </p:cSld>
  <p:clrMap bg1="lt1" tx1="dk1" bg2="lt2" tx2="dk2" accent1="accent1" accent2="accent2" accent3="accent3" accent4="accent4" accent5="accent5" accent6="accent6" hlink="hlink" folHlink="folHlink"/>
  <p:sldLayoutIdLst>
    <p:sldLayoutId id="2147485233" r:id="rId1"/>
    <p:sldLayoutId id="2147485234" r:id="rId2"/>
    <p:sldLayoutId id="2147485235" r:id="rId3"/>
    <p:sldLayoutId id="2147485236" r:id="rId4"/>
    <p:sldLayoutId id="2147485237" r:id="rId5"/>
    <p:sldLayoutId id="2147485244" r:id="rId6"/>
    <p:sldLayoutId id="2147485245" r:id="rId7"/>
    <p:sldLayoutId id="2147485246" r:id="rId8"/>
    <p:sldLayoutId id="2147485247" r:id="rId9"/>
    <p:sldLayoutId id="2147485248" r:id="rId10"/>
    <p:sldLayoutId id="2147485249" r:id="rId11"/>
    <p:sldLayoutId id="2147485250" r:id="rId12"/>
    <p:sldLayoutId id="2147485251" r:id="rId13"/>
    <p:sldLayoutId id="2147485252" r:id="rId14"/>
    <p:sldLayoutId id="2147485253" r:id="rId15"/>
    <p:sldLayoutId id="2147485254" r:id="rId16"/>
    <p:sldLayoutId id="2147485255" r:id="rId17"/>
    <p:sldLayoutId id="2147485256" r:id="rId18"/>
    <p:sldLayoutId id="2147485257" r:id="rId19"/>
    <p:sldLayoutId id="2147485258" r:id="rId20"/>
    <p:sldLayoutId id="2147485259" r:id="rId21"/>
    <p:sldLayoutId id="2147485260" r:id="rId22"/>
    <p:sldLayoutId id="2147485261" r:id="rId23"/>
    <p:sldLayoutId id="2147485262" r:id="rId24"/>
    <p:sldLayoutId id="2147485263" r:id="rId25"/>
    <p:sldLayoutId id="2147485264" r:id="rId26"/>
    <p:sldLayoutId id="2147485265" r:id="rId27"/>
    <p:sldLayoutId id="2147485266" r:id="rId28"/>
    <p:sldLayoutId id="2147485267" r:id="rId29"/>
    <p:sldLayoutId id="2147485268" r:id="rId30"/>
    <p:sldLayoutId id="2147485269" r:id="rId31"/>
  </p:sldLayoutIdLst>
  <p:transition>
    <p:fade/>
  </p:transition>
  <p:hf hdr="0" ftr="0" dt="0"/>
  <p:txStyles>
    <p:titleStyle>
      <a:lvl1pPr algn="l" defTabSz="932305" rtl="0" eaLnBrk="1" latinLnBrk="0" hangingPunct="1">
        <a:lnSpc>
          <a:spcPct val="90000"/>
        </a:lnSpc>
        <a:spcBef>
          <a:spcPct val="0"/>
        </a:spcBef>
        <a:buNone/>
        <a:defRPr lang="en-US" sz="53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40" marR="0" indent="-342740" algn="l" defTabSz="932305"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83927" marR="0" indent="-241186" algn="l" defTabSz="93230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26" marR="0" indent="-228493" algn="l" defTabSz="932305" rtl="0" eaLnBrk="1" fontAlgn="auto" latinLnBrk="0" hangingPunct="1">
        <a:lnSpc>
          <a:spcPct val="90000"/>
        </a:lnSpc>
        <a:spcBef>
          <a:spcPct val="20000"/>
        </a:spcBef>
        <a:spcAft>
          <a:spcPts val="0"/>
        </a:spcAft>
        <a:buClrTx/>
        <a:buSzPct val="90000"/>
        <a:buFont typeface="Arial" pitchFamily="34" charset="0"/>
        <a:buChar char="•"/>
        <a:tabLst/>
        <a:defRPr sz="1900" kern="1200" spc="0" baseline="0">
          <a:gradFill>
            <a:gsLst>
              <a:gs pos="1250">
                <a:schemeClr val="tx1"/>
              </a:gs>
              <a:gs pos="100000">
                <a:schemeClr val="tx1"/>
              </a:gs>
            </a:gsLst>
            <a:lin ang="5400000" scaled="0"/>
          </a:gradFill>
          <a:latin typeface="+mn-lt"/>
          <a:ea typeface="+mn-ea"/>
          <a:cs typeface="+mn-cs"/>
        </a:defRPr>
      </a:lvl3pPr>
      <a:lvl4pPr marL="1028217" marR="0" indent="-228493" algn="l" defTabSz="9323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712" marR="0" indent="-228493" algn="l" defTabSz="9323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3838" indent="-233077" algn="l" defTabSz="932305" rtl="0" eaLnBrk="1" latinLnBrk="0" hangingPunct="1">
        <a:spcBef>
          <a:spcPct val="20000"/>
        </a:spcBef>
        <a:buFont typeface="Arial" pitchFamily="34" charset="0"/>
        <a:buChar char="•"/>
        <a:defRPr sz="1900" kern="1200">
          <a:solidFill>
            <a:schemeClr val="tx1"/>
          </a:solidFill>
          <a:latin typeface="+mn-lt"/>
          <a:ea typeface="+mn-ea"/>
          <a:cs typeface="+mn-cs"/>
        </a:defRPr>
      </a:lvl6pPr>
      <a:lvl7pPr marL="3029992" indent="-233077" algn="l" defTabSz="932305" rtl="0" eaLnBrk="1" latinLnBrk="0" hangingPunct="1">
        <a:spcBef>
          <a:spcPct val="20000"/>
        </a:spcBef>
        <a:buFont typeface="Arial" pitchFamily="34" charset="0"/>
        <a:buChar char="•"/>
        <a:defRPr sz="1900" kern="1200">
          <a:solidFill>
            <a:schemeClr val="tx1"/>
          </a:solidFill>
          <a:latin typeface="+mn-lt"/>
          <a:ea typeface="+mn-ea"/>
          <a:cs typeface="+mn-cs"/>
        </a:defRPr>
      </a:lvl7pPr>
      <a:lvl8pPr marL="3496144" indent="-233077" algn="l" defTabSz="932305" rtl="0" eaLnBrk="1" latinLnBrk="0" hangingPunct="1">
        <a:spcBef>
          <a:spcPct val="20000"/>
        </a:spcBef>
        <a:buFont typeface="Arial" pitchFamily="34" charset="0"/>
        <a:buChar char="•"/>
        <a:defRPr sz="1900" kern="1200">
          <a:solidFill>
            <a:schemeClr val="tx1"/>
          </a:solidFill>
          <a:latin typeface="+mn-lt"/>
          <a:ea typeface="+mn-ea"/>
          <a:cs typeface="+mn-cs"/>
        </a:defRPr>
      </a:lvl8pPr>
      <a:lvl9pPr marL="3962299" indent="-233077" algn="l" defTabSz="932305" rtl="0" eaLnBrk="1" latinLnBrk="0" hangingPunct="1">
        <a:spcBef>
          <a:spcPct val="20000"/>
        </a:spcBef>
        <a:buFont typeface="Arial" pitchFamily="34" charset="0"/>
        <a:buChar char="•"/>
        <a:defRPr sz="1900" kern="1200">
          <a:solidFill>
            <a:schemeClr val="tx1"/>
          </a:solidFill>
          <a:latin typeface="+mn-lt"/>
          <a:ea typeface="+mn-ea"/>
          <a:cs typeface="+mn-cs"/>
        </a:defRPr>
      </a:lvl9pPr>
    </p:bodyStyle>
    <p:otherStyle>
      <a:defPPr>
        <a:defRPr lang="en-US"/>
      </a:defPPr>
      <a:lvl1pPr marL="0" algn="l" defTabSz="932305" rtl="0" eaLnBrk="1" latinLnBrk="0" hangingPunct="1">
        <a:defRPr sz="1800" kern="1200">
          <a:solidFill>
            <a:schemeClr val="tx1"/>
          </a:solidFill>
          <a:latin typeface="+mn-lt"/>
          <a:ea typeface="+mn-ea"/>
          <a:cs typeface="+mn-cs"/>
        </a:defRPr>
      </a:lvl1pPr>
      <a:lvl2pPr marL="466153" algn="l" defTabSz="932305" rtl="0" eaLnBrk="1" latinLnBrk="0" hangingPunct="1">
        <a:defRPr sz="1800" kern="1200">
          <a:solidFill>
            <a:schemeClr val="tx1"/>
          </a:solidFill>
          <a:latin typeface="+mn-lt"/>
          <a:ea typeface="+mn-ea"/>
          <a:cs typeface="+mn-cs"/>
        </a:defRPr>
      </a:lvl2pPr>
      <a:lvl3pPr marL="932305" algn="l" defTabSz="932305" rtl="0" eaLnBrk="1" latinLnBrk="0" hangingPunct="1">
        <a:defRPr sz="1800" kern="1200">
          <a:solidFill>
            <a:schemeClr val="tx1"/>
          </a:solidFill>
          <a:latin typeface="+mn-lt"/>
          <a:ea typeface="+mn-ea"/>
          <a:cs typeface="+mn-cs"/>
        </a:defRPr>
      </a:lvl3pPr>
      <a:lvl4pPr marL="1398458" algn="l" defTabSz="932305" rtl="0" eaLnBrk="1" latinLnBrk="0" hangingPunct="1">
        <a:defRPr sz="1800" kern="1200">
          <a:solidFill>
            <a:schemeClr val="tx1"/>
          </a:solidFill>
          <a:latin typeface="+mn-lt"/>
          <a:ea typeface="+mn-ea"/>
          <a:cs typeface="+mn-cs"/>
        </a:defRPr>
      </a:lvl4pPr>
      <a:lvl5pPr marL="1864609" algn="l" defTabSz="932305" rtl="0" eaLnBrk="1" latinLnBrk="0" hangingPunct="1">
        <a:defRPr sz="1800" kern="1200">
          <a:solidFill>
            <a:schemeClr val="tx1"/>
          </a:solidFill>
          <a:latin typeface="+mn-lt"/>
          <a:ea typeface="+mn-ea"/>
          <a:cs typeface="+mn-cs"/>
        </a:defRPr>
      </a:lvl5pPr>
      <a:lvl6pPr marL="2330764" algn="l" defTabSz="932305" rtl="0" eaLnBrk="1" latinLnBrk="0" hangingPunct="1">
        <a:defRPr sz="1800" kern="1200">
          <a:solidFill>
            <a:schemeClr val="tx1"/>
          </a:solidFill>
          <a:latin typeface="+mn-lt"/>
          <a:ea typeface="+mn-ea"/>
          <a:cs typeface="+mn-cs"/>
        </a:defRPr>
      </a:lvl6pPr>
      <a:lvl7pPr marL="2796915" algn="l" defTabSz="932305" rtl="0" eaLnBrk="1" latinLnBrk="0" hangingPunct="1">
        <a:defRPr sz="1800" kern="1200">
          <a:solidFill>
            <a:schemeClr val="tx1"/>
          </a:solidFill>
          <a:latin typeface="+mn-lt"/>
          <a:ea typeface="+mn-ea"/>
          <a:cs typeface="+mn-cs"/>
        </a:defRPr>
      </a:lvl7pPr>
      <a:lvl8pPr marL="3263068" algn="l" defTabSz="932305" rtl="0" eaLnBrk="1" latinLnBrk="0" hangingPunct="1">
        <a:defRPr sz="1800" kern="1200">
          <a:solidFill>
            <a:schemeClr val="tx1"/>
          </a:solidFill>
          <a:latin typeface="+mn-lt"/>
          <a:ea typeface="+mn-ea"/>
          <a:cs typeface="+mn-cs"/>
        </a:defRPr>
      </a:lvl8pPr>
      <a:lvl9pPr marL="3729221" algn="l" defTabSz="932305"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92 G:45 B:145</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Mid Blue</a:t>
                </a:r>
              </a:p>
              <a:p>
                <a:pPr algn="l" defTabSz="932293" fontAlgn="base">
                  <a:lnSpc>
                    <a:spcPct val="100000"/>
                  </a:lnSpc>
                  <a:spcBef>
                    <a:spcPct val="0"/>
                  </a:spcBef>
                  <a:spcAft>
                    <a:spcPct val="0"/>
                  </a:spcAft>
                </a:pPr>
                <a:r>
                  <a:rPr lang="en-US" sz="500" kern="1200" baseline="0" dirty="0">
                    <a:gradFill>
                      <a:gsLst>
                        <a:gs pos="0">
                          <a:srgbClr val="FFFFFF"/>
                        </a:gs>
                        <a:gs pos="100000">
                          <a:srgbClr val="FFFFFF"/>
                        </a:gs>
                      </a:gsLst>
                      <a:lin ang="5400000" scaled="0"/>
                    </a:gradFill>
                    <a:latin typeface="+mn-lt"/>
                    <a:ea typeface="Segoe UI" pitchFamily="34" charset="0"/>
                    <a:cs typeface="Segoe UI" pitchFamily="34" charset="0"/>
                  </a:rPr>
                  <a:t>R:0 G:24 B:143</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98230">
                          <a:schemeClr val="tx1"/>
                        </a:gs>
                        <a:gs pos="73451">
                          <a:schemeClr val="tx1"/>
                        </a:gs>
                      </a:gsLst>
                      <a:lin ang="5400000" scaled="0"/>
                    </a:gradFill>
                    <a:latin typeface="+mn-lt"/>
                    <a:ea typeface="Segoe UI" pitchFamily="34" charset="0"/>
                    <a:cs typeface="Segoe UI" pitchFamily="34" charset="0"/>
                  </a:rPr>
                  <a:t>Yellow</a:t>
                </a:r>
              </a:p>
              <a:p>
                <a:pPr algn="l" defTabSz="932293" fontAlgn="base">
                  <a:lnSpc>
                    <a:spcPct val="100000"/>
                  </a:lnSpc>
                  <a:spcBef>
                    <a:spcPct val="0"/>
                  </a:spcBef>
                  <a:spcAft>
                    <a:spcPct val="0"/>
                  </a:spcAft>
                </a:pPr>
                <a:r>
                  <a:rPr lang="en-US" sz="500" dirty="0">
                    <a:gradFill>
                      <a:gsLst>
                        <a:gs pos="98230">
                          <a:schemeClr val="tx1"/>
                        </a:gs>
                        <a:gs pos="73451">
                          <a:schemeClr val="tx1"/>
                        </a:gs>
                      </a:gsLst>
                      <a:lin ang="5400000" scaled="0"/>
                    </a:gradFill>
                    <a:ea typeface="Segoe UI" pitchFamily="34" charset="0"/>
                    <a:cs typeface="Segoe UI" pitchFamily="34" charset="0"/>
                  </a:rPr>
                  <a:t>R:</a:t>
                </a:r>
                <a:r>
                  <a:rPr lang="en-US" sz="500" baseline="0" dirty="0">
                    <a:gradFill>
                      <a:gsLst>
                        <a:gs pos="98230">
                          <a:schemeClr val="tx1"/>
                        </a:gs>
                        <a:gs pos="73451">
                          <a:schemeClr val="tx1"/>
                        </a:gs>
                      </a:gsLst>
                      <a:lin ang="5400000" scaled="0"/>
                    </a:gradFill>
                    <a:ea typeface="Segoe UI" pitchFamily="34" charset="0"/>
                    <a:cs typeface="Segoe UI" pitchFamily="34" charset="0"/>
                  </a:rPr>
                  <a:t>255 G:185 B:0</a:t>
                </a:r>
                <a:endParaRPr lang="en-US" sz="500" dirty="0">
                  <a:gradFill>
                    <a:gsLst>
                      <a:gs pos="98230">
                        <a:schemeClr val="tx1"/>
                      </a:gs>
                      <a:gs pos="73451">
                        <a:schemeClr val="tx1"/>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3333448718"/>
      </p:ext>
    </p:extLst>
  </p:cSld>
  <p:clrMap bg1="lt1" tx1="dk1" bg2="lt2" tx2="dk2" accent1="accent1" accent2="accent2" accent3="accent3" accent4="accent4" accent5="accent5" accent6="accent6" hlink="hlink" folHlink="folHlink"/>
  <p:sldLayoutIdLst>
    <p:sldLayoutId id="2147485272" r:id="rId1"/>
    <p:sldLayoutId id="2147485273" r:id="rId2"/>
    <p:sldLayoutId id="2147485274" r:id="rId3"/>
    <p:sldLayoutId id="2147485275" r:id="rId4"/>
    <p:sldLayoutId id="2147485276" r:id="rId5"/>
    <p:sldLayoutId id="2147485277" r:id="rId6"/>
    <p:sldLayoutId id="2147485278" r:id="rId7"/>
    <p:sldLayoutId id="2147485279" r:id="rId8"/>
    <p:sldLayoutId id="2147485280" r:id="rId9"/>
    <p:sldLayoutId id="2147485281" r:id="rId10"/>
    <p:sldLayoutId id="2147485284" r:id="rId11"/>
    <p:sldLayoutId id="2147485285" r:id="rId12"/>
    <p:sldLayoutId id="2147485287" r:id="rId13"/>
    <p:sldLayoutId id="2147485288" r:id="rId14"/>
    <p:sldLayoutId id="2147485289" r:id="rId15"/>
    <p:sldLayoutId id="2147485290" r:id="rId16"/>
    <p:sldLayoutId id="2147485291" r:id="rId17"/>
    <p:sldLayoutId id="2147485292" r:id="rId18"/>
    <p:sldLayoutId id="2147485293" r:id="rId19"/>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6"/>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222697472"/>
      </p:ext>
    </p:extLst>
  </p:cSld>
  <p:clrMap bg1="lt1" tx1="dk1" bg2="lt2" tx2="dk2" accent1="accent1" accent2="accent2" accent3="accent3" accent4="accent4" accent5="accent5" accent6="accent6" hlink="hlink" folHlink="folHlink"/>
  <p:sldLayoutIdLst>
    <p:sldLayoutId id="2147485301" r:id="rId1"/>
    <p:sldLayoutId id="2147485302" r:id="rId2"/>
    <p:sldLayoutId id="2147485303" r:id="rId3"/>
    <p:sldLayoutId id="2147485304" r:id="rId4"/>
    <p:sldLayoutId id="2147485305" r:id="rId5"/>
    <p:sldLayoutId id="2147485306" r:id="rId6"/>
    <p:sldLayoutId id="2147485307" r:id="rId7"/>
    <p:sldLayoutId id="2147485308" r:id="rId8"/>
    <p:sldLayoutId id="2147485309" r:id="rId9"/>
    <p:sldLayoutId id="2147485310" r:id="rId10"/>
    <p:sldLayoutId id="2147485311" r:id="rId11"/>
    <p:sldLayoutId id="2147485312" r:id="rId12"/>
    <p:sldLayoutId id="2147485313" r:id="rId13"/>
    <p:sldLayoutId id="2147485314" r:id="rId14"/>
    <p:sldLayoutId id="2147485315" r:id="rId15"/>
    <p:sldLayoutId id="2147485316" r:id="rId16"/>
    <p:sldLayoutId id="2147485318" r:id="rId17"/>
    <p:sldLayoutId id="2147485319" r:id="rId18"/>
    <p:sldLayoutId id="2147485320" r:id="rId19"/>
    <p:sldLayoutId id="2147485321" r:id="rId20"/>
    <p:sldLayoutId id="2147485322" r:id="rId21"/>
    <p:sldLayoutId id="2147485323" r:id="rId22"/>
    <p:sldLayoutId id="2147485324" r:id="rId23"/>
    <p:sldLayoutId id="2147485325" r:id="rId2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296898"/>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94130857"/>
      </p:ext>
    </p:extLst>
  </p:cSld>
  <p:clrMap bg1="dk1" tx1="lt1" bg2="dk2" tx2="lt2" accent1="accent1" accent2="accent2" accent3="accent3" accent4="accent4" accent5="accent5" accent6="accent6" hlink="hlink" folHlink="folHlink"/>
  <p:sldLayoutIdLst>
    <p:sldLayoutId id="2147485327" r:id="rId1"/>
    <p:sldLayoutId id="2147485328" r:id="rId2"/>
    <p:sldLayoutId id="2147485329" r:id="rId3"/>
    <p:sldLayoutId id="2147485330" r:id="rId4"/>
    <p:sldLayoutId id="2147485331" r:id="rId5"/>
    <p:sldLayoutId id="2147485332" r:id="rId6"/>
    <p:sldLayoutId id="2147485333" r:id="rId7"/>
    <p:sldLayoutId id="2147485334" r:id="rId8"/>
    <p:sldLayoutId id="2147485335" r:id="rId9"/>
    <p:sldLayoutId id="2147485336" r:id="rId10"/>
    <p:sldLayoutId id="2147485337" r:id="rId11"/>
    <p:sldLayoutId id="2147485338" r:id="rId12"/>
    <p:sldLayoutId id="2147485339" r:id="rId13"/>
    <p:sldLayoutId id="2147485340" r:id="rId14"/>
    <p:sldLayoutId id="2147485341" r:id="rId15"/>
    <p:sldLayoutId id="2147485342" r:id="rId16"/>
    <p:sldLayoutId id="2147485343" r:id="rId17"/>
    <p:sldLayoutId id="2147485344" r:id="rId18"/>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0"/>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4800" name="think-cell Slide" r:id="rId11" imgW="270" imgH="270" progId="TCLayout.ActiveDocument.1">
                  <p:embed/>
                </p:oleObj>
              </mc:Choice>
              <mc:Fallback>
                <p:oleObj name="think-cell Slide" r:id="rId11" imgW="270" imgH="270" progId="TCLayout.ActiveDocument.1">
                  <p:embed/>
                  <p:pic>
                    <p:nvPicPr>
                      <p:cNvPr id="6" name="Object 5" hidden="1"/>
                      <p:cNvPicPr/>
                      <p:nvPr/>
                    </p:nvPicPr>
                    <p:blipFill>
                      <a:blip r:embed="rId12"/>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8288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457200" y="6692392"/>
            <a:ext cx="3937000" cy="137160"/>
          </a:xfrm>
          <a:prstGeom prst="rect">
            <a:avLst/>
          </a:prstGeom>
        </p:spPr>
        <p:txBody>
          <a:bodyPr vert="horz" lIns="0" tIns="0" rIns="91440" bIns="0" rtlCol="0" anchor="ctr"/>
          <a:lstStyle>
            <a:lvl1pPr marL="0" algn="l" defTabSz="932384" rtl="0" eaLnBrk="1" latinLnBrk="0" hangingPunct="1">
              <a:defRPr lang="en-US" sz="900" kern="1200">
                <a:solidFill>
                  <a:schemeClr val="tx2"/>
                </a:solidFill>
                <a:latin typeface="+mn-lt"/>
                <a:ea typeface="+mn-ea"/>
                <a:cs typeface="+mn-cs"/>
              </a:defRPr>
            </a:lvl1pPr>
          </a:lstStyle>
          <a:p>
            <a:r>
              <a:rPr>
                <a:solidFill>
                  <a:srgbClr val="505050"/>
                </a:solidFill>
              </a:rPr>
              <a:t>Microsoft Confidential</a:t>
            </a:r>
          </a:p>
        </p:txBody>
      </p:sp>
      <p:sp>
        <p:nvSpPr>
          <p:cNvPr id="5" name="Slide Number Placeholder 4"/>
          <p:cNvSpPr>
            <a:spLocks noGrp="1"/>
          </p:cNvSpPr>
          <p:nvPr>
            <p:ph type="sldNum" sz="quarter" idx="4"/>
          </p:nvPr>
        </p:nvSpPr>
        <p:spPr>
          <a:xfrm>
            <a:off x="11595101" y="6692392"/>
            <a:ext cx="566737" cy="137160"/>
          </a:xfrm>
          <a:prstGeom prst="rect">
            <a:avLst/>
          </a:prstGeom>
        </p:spPr>
        <p:txBody>
          <a:bodyPr vert="horz" lIns="91440" tIns="0" rIns="0" bIns="0" rtlCol="0" anchor="ctr"/>
          <a:lstStyle>
            <a:lvl1pPr algn="r">
              <a:defRPr lang="en-US" sz="900" b="0" kern="1200" smtClean="0">
                <a:solidFill>
                  <a:schemeClr val="tx2"/>
                </a:solidFill>
                <a:latin typeface="+mn-lt"/>
                <a:ea typeface="+mn-ea"/>
                <a:cs typeface="+mn-cs"/>
              </a:defRPr>
            </a:lvl1pPr>
          </a:lstStyle>
          <a:p>
            <a:pPr defTabSz="932384"/>
            <a:fld id="{27258FFF-F925-446B-8502-81C933981705}" type="slidenum">
              <a:rPr lang="en-US" smtClean="0">
                <a:solidFill>
                  <a:srgbClr val="505050"/>
                </a:solidFill>
              </a:rPr>
              <a:pPr defTabSz="932384"/>
              <a:t>‹#›</a:t>
            </a:fld>
            <a:endParaRPr lang="en-US">
              <a:solidFill>
                <a:srgbClr val="505050"/>
              </a:solidFill>
            </a:endParaRPr>
          </a:p>
        </p:txBody>
      </p:sp>
    </p:spTree>
    <p:extLst>
      <p:ext uri="{BB962C8B-B14F-4D97-AF65-F5344CB8AC3E}">
        <p14:creationId xmlns:p14="http://schemas.microsoft.com/office/powerpoint/2010/main" val="3191688243"/>
      </p:ext>
    </p:extLst>
  </p:cSld>
  <p:clrMap bg1="lt1" tx1="dk1" bg2="lt2" tx2="dk2" accent1="accent1" accent2="accent2" accent3="accent3" accent4="accent4" accent5="accent5" accent6="accent6" hlink="hlink" folHlink="folHlink"/>
  <p:sldLayoutIdLst>
    <p:sldLayoutId id="2147485348" r:id="rId1"/>
    <p:sldLayoutId id="2147485349" r:id="rId2"/>
    <p:sldLayoutId id="2147485350" r:id="rId3"/>
    <p:sldLayoutId id="2147485351" r:id="rId4"/>
    <p:sldLayoutId id="2147485352" r:id="rId5"/>
    <p:sldLayoutId id="2147485353" r:id="rId6"/>
    <p:sldLayoutId id="2147485354"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32384" rtl="0" eaLnBrk="1" latinLnBrk="0" hangingPunct="1">
        <a:lnSpc>
          <a:spcPct val="90000"/>
        </a:lnSpc>
        <a:spcBef>
          <a:spcPct val="0"/>
        </a:spcBef>
        <a:buNone/>
        <a:defRPr lang="en-US" sz="4488" b="0" kern="1200" cap="none" spc="-102" baseline="0" dirty="0" smtClean="0">
          <a:ln w="3175">
            <a:noFill/>
          </a:ln>
          <a:solidFill>
            <a:schemeClr val="tx2"/>
          </a:soli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solidFill>
            <a:schemeClr val="tx2"/>
          </a:soli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8"/>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6581844"/>
      </p:ext>
    </p:extLst>
  </p:cSld>
  <p:clrMap bg1="lt1" tx1="dk1" bg2="lt2" tx2="dk2" accent1="accent1" accent2="accent2" accent3="accent3" accent4="accent4" accent5="accent5" accent6="accent6" hlink="hlink" folHlink="folHlink"/>
  <p:sldLayoutIdLst>
    <p:sldLayoutId id="2147485362" r:id="rId1"/>
    <p:sldLayoutId id="2147485363" r:id="rId2"/>
    <p:sldLayoutId id="2147485364" r:id="rId3"/>
    <p:sldLayoutId id="2147485365" r:id="rId4"/>
    <p:sldLayoutId id="2147485366" r:id="rId5"/>
    <p:sldLayoutId id="2147485367" r:id="rId6"/>
    <p:sldLayoutId id="2147485368" r:id="rId7"/>
    <p:sldLayoutId id="2147485369" r:id="rId8"/>
    <p:sldLayoutId id="2147485370" r:id="rId9"/>
    <p:sldLayoutId id="2147485371" r:id="rId10"/>
    <p:sldLayoutId id="2147485372" r:id="rId11"/>
    <p:sldLayoutId id="2147485373" r:id="rId12"/>
    <p:sldLayoutId id="2147485374" r:id="rId13"/>
    <p:sldLayoutId id="2147485375" r:id="rId14"/>
    <p:sldLayoutId id="2147485376" r:id="rId15"/>
    <p:sldLayoutId id="2147485377" r:id="rId16"/>
    <p:sldLayoutId id="2147485378" r:id="rId17"/>
    <p:sldLayoutId id="2147485379" r:id="rId18"/>
    <p:sldLayoutId id="2147485382" r:id="rId19"/>
    <p:sldLayoutId id="2147485383" r:id="rId20"/>
    <p:sldLayoutId id="2147485384" r:id="rId21"/>
    <p:sldLayoutId id="2147485385" r:id="rId22"/>
    <p:sldLayoutId id="2147485386" r:id="rId23"/>
    <p:sldLayoutId id="2147485387" r:id="rId24"/>
    <p:sldLayoutId id="2147485388" r:id="rId25"/>
    <p:sldLayoutId id="2147485389" r:id="rId26"/>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1" y="295279"/>
            <a:ext cx="11889564" cy="917575"/>
          </a:xfrm>
          <a:prstGeom prst="rect">
            <a:avLst/>
          </a:prstGeom>
        </p:spPr>
        <p:txBody>
          <a:bodyPr vert="horz" wrap="square" lIns="143402" tIns="89626" rIns="143402" bIns="89626"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5"/>
            <a:ext cx="11887200" cy="2212748"/>
          </a:xfrm>
          <a:prstGeom prst="rect">
            <a:avLst/>
          </a:prstGeom>
        </p:spPr>
        <p:txBody>
          <a:bodyPr vert="horz" wrap="square" lIns="143402" tIns="89626" rIns="143402" bIns="89626"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30059893"/>
      </p:ext>
    </p:extLst>
  </p:cSld>
  <p:clrMap bg1="lt1" tx1="dk1" bg2="lt2" tx2="dk2" accent1="accent1" accent2="accent2" accent3="accent3" accent4="accent4" accent5="accent5" accent6="accent6" hlink="hlink" folHlink="folHlink"/>
  <p:sldLayoutIdLst>
    <p:sldLayoutId id="2147484592" r:id="rId1"/>
    <p:sldLayoutId id="2147484593" r:id="rId2"/>
    <p:sldLayoutId id="2147484594" r:id="rId3"/>
    <p:sldLayoutId id="2147484595" r:id="rId4"/>
    <p:sldLayoutId id="2147484596" r:id="rId5"/>
    <p:sldLayoutId id="2147484597" r:id="rId6"/>
    <p:sldLayoutId id="2147484598" r:id="rId7"/>
    <p:sldLayoutId id="2147484599" r:id="rId8"/>
    <p:sldLayoutId id="2147484600" r:id="rId9"/>
    <p:sldLayoutId id="2147484601" r:id="rId10"/>
    <p:sldLayoutId id="2147484602" r:id="rId11"/>
    <p:sldLayoutId id="2147484603" r:id="rId12"/>
    <p:sldLayoutId id="2147484604" r:id="rId13"/>
    <p:sldLayoutId id="2147484605" r:id="rId14"/>
    <p:sldLayoutId id="2147484606" r:id="rId15"/>
    <p:sldLayoutId id="2147484607" r:id="rId16"/>
    <p:sldLayoutId id="2147484608" r:id="rId17"/>
    <p:sldLayoutId id="2147484609" r:id="rId18"/>
    <p:sldLayoutId id="2147484610" r:id="rId19"/>
    <p:sldLayoutId id="2147484611" r:id="rId20"/>
    <p:sldLayoutId id="2147484612" r:id="rId21"/>
    <p:sldLayoutId id="2147484613" r:id="rId22"/>
    <p:sldLayoutId id="2147484614" r:id="rId23"/>
    <p:sldLayoutId id="2147484615" r:id="rId24"/>
    <p:sldLayoutId id="2147484616" r:id="rId25"/>
    <p:sldLayoutId id="2147484617" r:id="rId26"/>
    <p:sldLayoutId id="2147484618" r:id="rId27"/>
    <p:sldLayoutId id="2147484619" r:id="rId28"/>
    <p:sldLayoutId id="2147484621" r:id="rId29"/>
    <p:sldLayoutId id="2147484622" r:id="rId30"/>
    <p:sldLayoutId id="2147484623" r:id="rId31"/>
  </p:sldLayoutIdLst>
  <p:transition spd="med">
    <p:fade/>
  </p:transition>
  <p:txStyles>
    <p:titleStyle>
      <a:lvl1pPr algn="l" defTabSz="932452" rtl="0" eaLnBrk="1" latinLnBrk="0" hangingPunct="1">
        <a:lnSpc>
          <a:spcPct val="90000"/>
        </a:lnSpc>
        <a:spcBef>
          <a:spcPct val="0"/>
        </a:spcBef>
        <a:buNone/>
        <a:defRPr lang="en-US" sz="5406"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94" marR="0" indent="-342794" algn="l" defTabSz="932452" rtl="0" eaLnBrk="1" fontAlgn="auto" latinLnBrk="0" hangingPunct="1">
        <a:lnSpc>
          <a:spcPct val="90000"/>
        </a:lnSpc>
        <a:spcBef>
          <a:spcPct val="20000"/>
        </a:spcBef>
        <a:spcAft>
          <a:spcPts val="0"/>
        </a:spcAft>
        <a:buClrTx/>
        <a:buSzPct val="90000"/>
        <a:buFont typeface="Arial" pitchFamily="34" charset="0"/>
        <a:buChar char="•"/>
        <a:tabLst/>
        <a:defRPr sz="3978" kern="1200" spc="0" baseline="0">
          <a:gradFill>
            <a:gsLst>
              <a:gs pos="1250">
                <a:schemeClr val="tx1"/>
              </a:gs>
              <a:gs pos="100000">
                <a:schemeClr val="tx1"/>
              </a:gs>
            </a:gsLst>
            <a:lin ang="5400000" scaled="0"/>
          </a:gradFill>
          <a:latin typeface="+mj-lt"/>
          <a:ea typeface="+mn-ea"/>
          <a:cs typeface="+mn-cs"/>
        </a:defRPr>
      </a:lvl1pPr>
      <a:lvl2pPr marL="584019" marR="0" indent="-241225" algn="l" defTabSz="932452" rtl="0" eaLnBrk="1" fontAlgn="auto" latinLnBrk="0" hangingPunct="1">
        <a:lnSpc>
          <a:spcPct val="90000"/>
        </a:lnSpc>
        <a:spcBef>
          <a:spcPct val="20000"/>
        </a:spcBef>
        <a:spcAft>
          <a:spcPts val="0"/>
        </a:spcAft>
        <a:buClrTx/>
        <a:buSzPct val="90000"/>
        <a:buFont typeface="Arial" pitchFamily="34" charset="0"/>
        <a:buChar char="•"/>
        <a:tabLst/>
        <a:defRPr sz="2448" kern="1200" spc="0" baseline="0">
          <a:gradFill>
            <a:gsLst>
              <a:gs pos="1250">
                <a:schemeClr val="tx1"/>
              </a:gs>
              <a:gs pos="100000">
                <a:schemeClr val="tx1"/>
              </a:gs>
            </a:gsLst>
            <a:lin ang="5400000" scaled="0"/>
          </a:gradFill>
          <a:latin typeface="+mn-lt"/>
          <a:ea typeface="+mn-ea"/>
          <a:cs typeface="+mn-cs"/>
        </a:defRPr>
      </a:lvl2pPr>
      <a:lvl3pPr marL="799851" marR="0" indent="-228530" algn="l" defTabSz="932452"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3pPr>
      <a:lvl4pPr marL="1028381" marR="0" indent="-228530" algn="l" defTabSz="932452" rtl="0" eaLnBrk="1" fontAlgn="auto" latinLnBrk="0" hangingPunct="1">
        <a:lnSpc>
          <a:spcPct val="90000"/>
        </a:lnSpc>
        <a:spcBef>
          <a:spcPct val="20000"/>
        </a:spcBef>
        <a:spcAft>
          <a:spcPts val="0"/>
        </a:spcAft>
        <a:buClrTx/>
        <a:buSzPct val="90000"/>
        <a:buFont typeface="Arial" pitchFamily="34" charset="0"/>
        <a:buChar char="•"/>
        <a:tabLst/>
        <a:defRPr sz="1938" kern="1200" spc="0" baseline="0">
          <a:gradFill>
            <a:gsLst>
              <a:gs pos="1250">
                <a:schemeClr val="tx1"/>
              </a:gs>
              <a:gs pos="100000">
                <a:schemeClr val="tx1"/>
              </a:gs>
            </a:gsLst>
            <a:lin ang="5400000" scaled="0"/>
          </a:gradFill>
          <a:latin typeface="+mn-lt"/>
          <a:ea typeface="+mn-ea"/>
          <a:cs typeface="+mn-cs"/>
        </a:defRPr>
      </a:lvl4pPr>
      <a:lvl5pPr marL="1256909" marR="0" indent="-228530" algn="l" defTabSz="932452" rtl="0" eaLnBrk="1" fontAlgn="auto" latinLnBrk="0" hangingPunct="1">
        <a:lnSpc>
          <a:spcPct val="90000"/>
        </a:lnSpc>
        <a:spcBef>
          <a:spcPct val="20000"/>
        </a:spcBef>
        <a:spcAft>
          <a:spcPts val="0"/>
        </a:spcAft>
        <a:buClrTx/>
        <a:buSzPct val="90000"/>
        <a:buFont typeface="Arial" pitchFamily="34" charset="0"/>
        <a:buChar char="•"/>
        <a:tabLst/>
        <a:defRPr sz="1938" kern="1200" spc="0" baseline="0">
          <a:gradFill>
            <a:gsLst>
              <a:gs pos="1250">
                <a:schemeClr val="tx1"/>
              </a:gs>
              <a:gs pos="100000">
                <a:schemeClr val="tx1"/>
              </a:gs>
            </a:gsLst>
            <a:lin ang="5400000" scaled="0"/>
          </a:gradFill>
          <a:latin typeface="+mn-lt"/>
          <a:ea typeface="+mn-ea"/>
          <a:cs typeface="+mn-cs"/>
        </a:defRPr>
      </a:lvl5pPr>
      <a:lvl6pPr marL="2564241" indent="-233114" algn="l" defTabSz="932452"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469" indent="-233114" algn="l" defTabSz="932452"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6695" indent="-233114" algn="l" defTabSz="932452"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2921" indent="-233114" algn="l" defTabSz="932452"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452" rtl="0" eaLnBrk="1" latinLnBrk="0" hangingPunct="1">
        <a:defRPr sz="1938" kern="1200">
          <a:solidFill>
            <a:schemeClr val="tx1"/>
          </a:solidFill>
          <a:latin typeface="+mn-lt"/>
          <a:ea typeface="+mn-ea"/>
          <a:cs typeface="+mn-cs"/>
        </a:defRPr>
      </a:lvl1pPr>
      <a:lvl2pPr marL="466225" algn="l" defTabSz="932452" rtl="0" eaLnBrk="1" latinLnBrk="0" hangingPunct="1">
        <a:defRPr sz="1938" kern="1200">
          <a:solidFill>
            <a:schemeClr val="tx1"/>
          </a:solidFill>
          <a:latin typeface="+mn-lt"/>
          <a:ea typeface="+mn-ea"/>
          <a:cs typeface="+mn-cs"/>
        </a:defRPr>
      </a:lvl2pPr>
      <a:lvl3pPr marL="932452" algn="l" defTabSz="932452" rtl="0" eaLnBrk="1" latinLnBrk="0" hangingPunct="1">
        <a:defRPr sz="1938" kern="1200">
          <a:solidFill>
            <a:schemeClr val="tx1"/>
          </a:solidFill>
          <a:latin typeface="+mn-lt"/>
          <a:ea typeface="+mn-ea"/>
          <a:cs typeface="+mn-cs"/>
        </a:defRPr>
      </a:lvl3pPr>
      <a:lvl4pPr marL="1398678" algn="l" defTabSz="932452" rtl="0" eaLnBrk="1" latinLnBrk="0" hangingPunct="1">
        <a:defRPr sz="1938" kern="1200">
          <a:solidFill>
            <a:schemeClr val="tx1"/>
          </a:solidFill>
          <a:latin typeface="+mn-lt"/>
          <a:ea typeface="+mn-ea"/>
          <a:cs typeface="+mn-cs"/>
        </a:defRPr>
      </a:lvl4pPr>
      <a:lvl5pPr marL="1864903" algn="l" defTabSz="932452" rtl="0" eaLnBrk="1" latinLnBrk="0" hangingPunct="1">
        <a:defRPr sz="1938" kern="1200">
          <a:solidFill>
            <a:schemeClr val="tx1"/>
          </a:solidFill>
          <a:latin typeface="+mn-lt"/>
          <a:ea typeface="+mn-ea"/>
          <a:cs typeface="+mn-cs"/>
        </a:defRPr>
      </a:lvl5pPr>
      <a:lvl6pPr marL="2331130" algn="l" defTabSz="932452" rtl="0" eaLnBrk="1" latinLnBrk="0" hangingPunct="1">
        <a:defRPr sz="1938" kern="1200">
          <a:solidFill>
            <a:schemeClr val="tx1"/>
          </a:solidFill>
          <a:latin typeface="+mn-lt"/>
          <a:ea typeface="+mn-ea"/>
          <a:cs typeface="+mn-cs"/>
        </a:defRPr>
      </a:lvl6pPr>
      <a:lvl7pPr marL="2797355" algn="l" defTabSz="932452" rtl="0" eaLnBrk="1" latinLnBrk="0" hangingPunct="1">
        <a:defRPr sz="1938" kern="1200">
          <a:solidFill>
            <a:schemeClr val="tx1"/>
          </a:solidFill>
          <a:latin typeface="+mn-lt"/>
          <a:ea typeface="+mn-ea"/>
          <a:cs typeface="+mn-cs"/>
        </a:defRPr>
      </a:lvl7pPr>
      <a:lvl8pPr marL="3263580" algn="l" defTabSz="932452" rtl="0" eaLnBrk="1" latinLnBrk="0" hangingPunct="1">
        <a:defRPr sz="1938" kern="1200">
          <a:solidFill>
            <a:schemeClr val="tx1"/>
          </a:solidFill>
          <a:latin typeface="+mn-lt"/>
          <a:ea typeface="+mn-ea"/>
          <a:cs typeface="+mn-cs"/>
        </a:defRPr>
      </a:lvl8pPr>
      <a:lvl9pPr marL="3729809" algn="l" defTabSz="932452" rtl="0" eaLnBrk="1" latinLnBrk="0" hangingPunct="1">
        <a:defRPr sz="1938"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9"/>
          <a:stretch>
            <a:fillRect/>
          </a:stretch>
        </p:blipFill>
        <p:spPr>
          <a:xfrm rot="5400000">
            <a:off x="9393899" y="3050515"/>
            <a:ext cx="6995160" cy="894134"/>
          </a:xfrm>
          <a:prstGeom prst="rect">
            <a:avLst/>
          </a:prstGeom>
        </p:spPr>
      </p:pic>
    </p:spTree>
    <p:extLst>
      <p:ext uri="{BB962C8B-B14F-4D97-AF65-F5344CB8AC3E}">
        <p14:creationId xmlns:p14="http://schemas.microsoft.com/office/powerpoint/2010/main" val="734281621"/>
      </p:ext>
    </p:extLst>
  </p:cSld>
  <p:clrMap bg1="lt1" tx1="dk1" bg2="lt2" tx2="dk2" accent1="accent1" accent2="accent2" accent3="accent3" accent4="accent4" accent5="accent5" accent6="accent6" hlink="hlink" folHlink="folHlink"/>
  <p:sldLayoutIdLst>
    <p:sldLayoutId id="2147485391" r:id="rId1"/>
    <p:sldLayoutId id="2147485392" r:id="rId2"/>
    <p:sldLayoutId id="2147485393" r:id="rId3"/>
    <p:sldLayoutId id="2147485394" r:id="rId4"/>
    <p:sldLayoutId id="2147485395" r:id="rId5"/>
    <p:sldLayoutId id="2147485396" r:id="rId6"/>
    <p:sldLayoutId id="2147485397" r:id="rId7"/>
    <p:sldLayoutId id="2147485398" r:id="rId8"/>
    <p:sldLayoutId id="2147485399" r:id="rId9"/>
    <p:sldLayoutId id="2147485400" r:id="rId10"/>
    <p:sldLayoutId id="2147485401" r:id="rId11"/>
    <p:sldLayoutId id="2147485402" r:id="rId12"/>
    <p:sldLayoutId id="2147485403" r:id="rId13"/>
    <p:sldLayoutId id="2147485404" r:id="rId14"/>
    <p:sldLayoutId id="2147485405" r:id="rId15"/>
    <p:sldLayoutId id="2147485406" r:id="rId16"/>
    <p:sldLayoutId id="2147485407" r:id="rId17"/>
    <p:sldLayoutId id="2147485408" r:id="rId18"/>
    <p:sldLayoutId id="2147485409" r:id="rId19"/>
    <p:sldLayoutId id="2147485410" r:id="rId20"/>
    <p:sldLayoutId id="2147485411" r:id="rId21"/>
    <p:sldLayoutId id="2147485412" r:id="rId22"/>
    <p:sldLayoutId id="2147485413" r:id="rId23"/>
    <p:sldLayoutId id="2147485414" r:id="rId24"/>
    <p:sldLayoutId id="2147485415" r:id="rId25"/>
    <p:sldLayoutId id="2147485416" r:id="rId26"/>
    <p:sldLayoutId id="2147485417" r:id="rId27"/>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8"/>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4"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6"/>
          <a:stretch>
            <a:fillRect/>
          </a:stretch>
        </p:blipFill>
        <p:spPr>
          <a:xfrm rot="5400000">
            <a:off x="9393899" y="3050517"/>
            <a:ext cx="6995160" cy="894134"/>
          </a:xfrm>
          <a:prstGeom prst="rect">
            <a:avLst/>
          </a:prstGeom>
        </p:spPr>
      </p:pic>
    </p:spTree>
    <p:extLst>
      <p:ext uri="{BB962C8B-B14F-4D97-AF65-F5344CB8AC3E}">
        <p14:creationId xmlns:p14="http://schemas.microsoft.com/office/powerpoint/2010/main" val="2631828161"/>
      </p:ext>
    </p:extLst>
  </p:cSld>
  <p:clrMap bg1="lt1" tx1="dk1" bg2="lt2" tx2="dk2" accent1="accent1" accent2="accent2" accent3="accent3" accent4="accent4" accent5="accent5" accent6="accent6" hlink="hlink" folHlink="folHlink"/>
  <p:sldLayoutIdLst>
    <p:sldLayoutId id="2147485422" r:id="rId1"/>
    <p:sldLayoutId id="2147485423" r:id="rId2"/>
    <p:sldLayoutId id="2147485424" r:id="rId3"/>
    <p:sldLayoutId id="2147485425" r:id="rId4"/>
    <p:sldLayoutId id="2147485426" r:id="rId5"/>
    <p:sldLayoutId id="2147485427" r:id="rId6"/>
    <p:sldLayoutId id="2147485428" r:id="rId7"/>
    <p:sldLayoutId id="2147485429" r:id="rId8"/>
    <p:sldLayoutId id="2147485430" r:id="rId9"/>
    <p:sldLayoutId id="2147485431" r:id="rId10"/>
    <p:sldLayoutId id="2147485432" r:id="rId11"/>
    <p:sldLayoutId id="2147485433" r:id="rId12"/>
    <p:sldLayoutId id="2147485434" r:id="rId13"/>
    <p:sldLayoutId id="2147485435" r:id="rId14"/>
    <p:sldLayoutId id="2147485436" r:id="rId15"/>
    <p:sldLayoutId id="2147485437" r:id="rId16"/>
    <p:sldLayoutId id="2147485439" r:id="rId17"/>
    <p:sldLayoutId id="2147485440" r:id="rId18"/>
    <p:sldLayoutId id="2147485441" r:id="rId19"/>
    <p:sldLayoutId id="2147485442" r:id="rId20"/>
    <p:sldLayoutId id="2147485443" r:id="rId21"/>
    <p:sldLayoutId id="2147485444" r:id="rId22"/>
    <p:sldLayoutId id="2147485445" r:id="rId23"/>
    <p:sldLayoutId id="2147485446" r:id="rId24"/>
  </p:sldLayoutIdLst>
  <p:transition>
    <p:fade/>
  </p:transition>
  <p:txStyles>
    <p:titleStyle>
      <a:lvl1pPr algn="l" defTabSz="932026" rtl="0" eaLnBrk="1" latinLnBrk="0" hangingPunct="1">
        <a:lnSpc>
          <a:spcPct val="90000"/>
        </a:lnSpc>
        <a:spcBef>
          <a:spcPct val="0"/>
        </a:spcBef>
        <a:buNone/>
        <a:defRPr lang="en-US" sz="4796"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636" marR="0" indent="-342636" algn="l" defTabSz="932026" rtl="0" eaLnBrk="1" fontAlgn="auto" latinLnBrk="0" hangingPunct="1">
        <a:lnSpc>
          <a:spcPct val="90000"/>
        </a:lnSpc>
        <a:spcBef>
          <a:spcPct val="20000"/>
        </a:spcBef>
        <a:spcAft>
          <a:spcPts val="0"/>
        </a:spcAft>
        <a:buClrTx/>
        <a:buSzPct val="90000"/>
        <a:buFont typeface="Arial" pitchFamily="34" charset="0"/>
        <a:buChar char="•"/>
        <a:tabLst/>
        <a:defRPr sz="3996" kern="1200" spc="0" baseline="0">
          <a:gradFill>
            <a:gsLst>
              <a:gs pos="1250">
                <a:schemeClr val="tx1"/>
              </a:gs>
              <a:gs pos="100000">
                <a:schemeClr val="tx1"/>
              </a:gs>
            </a:gsLst>
            <a:lin ang="5400000" scaled="0"/>
          </a:gradFill>
          <a:latin typeface="+mj-lt"/>
          <a:ea typeface="+mn-ea"/>
          <a:cs typeface="+mn-cs"/>
        </a:defRPr>
      </a:lvl1pPr>
      <a:lvl2pPr marL="583751" marR="0" indent="-241113" algn="l" defTabSz="932026"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484" marR="0" indent="-228425" algn="l" defTabSz="932026"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7909" marR="0" indent="-228425" algn="l" defTabSz="932026"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334" marR="0" indent="-228425" algn="l" defTabSz="932026"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3071" indent="-233006" algn="l" defTabSz="93202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085" indent="-233006" algn="l" defTabSz="93202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097" indent="-233006" algn="l" defTabSz="93202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111" indent="-233006" algn="l" defTabSz="93202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026" rtl="0" eaLnBrk="1" latinLnBrk="0" hangingPunct="1">
        <a:defRPr sz="1800" kern="1200">
          <a:solidFill>
            <a:schemeClr val="tx1"/>
          </a:solidFill>
          <a:latin typeface="+mn-lt"/>
          <a:ea typeface="+mn-ea"/>
          <a:cs typeface="+mn-cs"/>
        </a:defRPr>
      </a:lvl1pPr>
      <a:lvl2pPr marL="466012" algn="l" defTabSz="932026" rtl="0" eaLnBrk="1" latinLnBrk="0" hangingPunct="1">
        <a:defRPr sz="1800" kern="1200">
          <a:solidFill>
            <a:schemeClr val="tx1"/>
          </a:solidFill>
          <a:latin typeface="+mn-lt"/>
          <a:ea typeface="+mn-ea"/>
          <a:cs typeface="+mn-cs"/>
        </a:defRPr>
      </a:lvl2pPr>
      <a:lvl3pPr marL="932026" algn="l" defTabSz="932026" rtl="0" eaLnBrk="1" latinLnBrk="0" hangingPunct="1">
        <a:defRPr sz="1800" kern="1200">
          <a:solidFill>
            <a:schemeClr val="tx1"/>
          </a:solidFill>
          <a:latin typeface="+mn-lt"/>
          <a:ea typeface="+mn-ea"/>
          <a:cs typeface="+mn-cs"/>
        </a:defRPr>
      </a:lvl3pPr>
      <a:lvl4pPr marL="1398038" algn="l" defTabSz="932026" rtl="0" eaLnBrk="1" latinLnBrk="0" hangingPunct="1">
        <a:defRPr sz="1800" kern="1200">
          <a:solidFill>
            <a:schemeClr val="tx1"/>
          </a:solidFill>
          <a:latin typeface="+mn-lt"/>
          <a:ea typeface="+mn-ea"/>
          <a:cs typeface="+mn-cs"/>
        </a:defRPr>
      </a:lvl4pPr>
      <a:lvl5pPr marL="1864052" algn="l" defTabSz="932026" rtl="0" eaLnBrk="1" latinLnBrk="0" hangingPunct="1">
        <a:defRPr sz="1800" kern="1200">
          <a:solidFill>
            <a:schemeClr val="tx1"/>
          </a:solidFill>
          <a:latin typeface="+mn-lt"/>
          <a:ea typeface="+mn-ea"/>
          <a:cs typeface="+mn-cs"/>
        </a:defRPr>
      </a:lvl5pPr>
      <a:lvl6pPr marL="2330065" algn="l" defTabSz="932026" rtl="0" eaLnBrk="1" latinLnBrk="0" hangingPunct="1">
        <a:defRPr sz="1800" kern="1200">
          <a:solidFill>
            <a:schemeClr val="tx1"/>
          </a:solidFill>
          <a:latin typeface="+mn-lt"/>
          <a:ea typeface="+mn-ea"/>
          <a:cs typeface="+mn-cs"/>
        </a:defRPr>
      </a:lvl6pPr>
      <a:lvl7pPr marL="2796078" algn="l" defTabSz="932026" rtl="0" eaLnBrk="1" latinLnBrk="0" hangingPunct="1">
        <a:defRPr sz="1800" kern="1200">
          <a:solidFill>
            <a:schemeClr val="tx1"/>
          </a:solidFill>
          <a:latin typeface="+mn-lt"/>
          <a:ea typeface="+mn-ea"/>
          <a:cs typeface="+mn-cs"/>
        </a:defRPr>
      </a:lvl7pPr>
      <a:lvl8pPr marL="3262089" algn="l" defTabSz="932026" rtl="0" eaLnBrk="1" latinLnBrk="0" hangingPunct="1">
        <a:defRPr sz="1800" kern="1200">
          <a:solidFill>
            <a:schemeClr val="tx1"/>
          </a:solidFill>
          <a:latin typeface="+mn-lt"/>
          <a:ea typeface="+mn-ea"/>
          <a:cs typeface="+mn-cs"/>
        </a:defRPr>
      </a:lvl8pPr>
      <a:lvl9pPr marL="3728105" algn="l" defTabSz="932026"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1">
          <p15:clr>
            <a:srgbClr val="5ACBF0"/>
          </p15:clr>
        </p15:guide>
        <p15:guide id="2" pos="176">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94">
          <p15:clr>
            <a:srgbClr val="C35EA4"/>
          </p15:clr>
        </p15:guide>
        <p15:guide id="17" pos="756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8">
          <p15:clr>
            <a:srgbClr val="C35EA4"/>
          </p15:clr>
        </p15:guide>
        <p15:guide id="26" orient="horz" pos="4123">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1" y="295278"/>
            <a:ext cx="11888787"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2051" name="Text Placeholder 3"/>
          <p:cNvSpPr>
            <a:spLocks noGrp="1"/>
          </p:cNvSpPr>
          <p:nvPr>
            <p:ph type="body" idx="1"/>
          </p:nvPr>
        </p:nvSpPr>
        <p:spPr bwMode="auto">
          <a:xfrm>
            <a:off x="274641" y="1212853"/>
            <a:ext cx="11887200" cy="2092325"/>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 uri="{FAA26D3D-D897-4be2-8F04-BA451C77F1D7}">
              <ma14:placeholderFlag xmlns:mc="http://schemas.openxmlformats.org/markup-compatibility/2006" xmlns:mv="urn:schemas-microsoft-com:mac:vml"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57200" y="6565903"/>
            <a:ext cx="3937000" cy="136525"/>
          </a:xfrm>
          <a:prstGeom prst="rect">
            <a:avLst/>
          </a:prstGeom>
        </p:spPr>
        <p:txBody>
          <a:bodyPr vert="horz" lIns="0" tIns="0" rIns="91440" bIns="0" rtlCol="0" anchor="ctr"/>
          <a:lstStyle>
            <a:lvl1pPr marL="0" algn="l" defTabSz="932205" rtl="0" eaLnBrk="1" fontAlgn="auto" latinLnBrk="0" hangingPunct="1">
              <a:spcBef>
                <a:spcPts val="0"/>
              </a:spcBef>
              <a:spcAft>
                <a:spcPts val="0"/>
              </a:spcAft>
              <a:defRPr lang="en-US" sz="900" kern="1200" dirty="0" smtClean="0">
                <a:solidFill>
                  <a:srgbClr val="505050"/>
                </a:solidFill>
                <a:latin typeface="+mn-lt"/>
                <a:ea typeface="+mn-ea"/>
                <a:cs typeface="+mn-cs"/>
              </a:defRPr>
            </a:lvl1pPr>
          </a:lstStyle>
          <a:p>
            <a:pPr>
              <a:defRPr/>
            </a:pPr>
            <a:r>
              <a:rPr/>
              <a:t>Microsoft Confidential</a:t>
            </a:r>
          </a:p>
        </p:txBody>
      </p:sp>
      <p:sp>
        <p:nvSpPr>
          <p:cNvPr id="5" name="Slide Number Placeholder 4"/>
          <p:cNvSpPr>
            <a:spLocks noGrp="1"/>
          </p:cNvSpPr>
          <p:nvPr>
            <p:ph type="sldNum" sz="quarter" idx="4"/>
          </p:nvPr>
        </p:nvSpPr>
        <p:spPr>
          <a:xfrm>
            <a:off x="11595103" y="6565903"/>
            <a:ext cx="566738" cy="136525"/>
          </a:xfrm>
          <a:prstGeom prst="rect">
            <a:avLst/>
          </a:prstGeom>
        </p:spPr>
        <p:txBody>
          <a:bodyPr vert="horz" lIns="91440" tIns="0" rIns="0" bIns="0" rtlCol="0" anchor="ctr"/>
          <a:lstStyle>
            <a:lvl1pPr algn="r" defTabSz="932205" fontAlgn="auto">
              <a:spcBef>
                <a:spcPts val="0"/>
              </a:spcBef>
              <a:spcAft>
                <a:spcPts val="0"/>
              </a:spcAft>
              <a:defRPr lang="en-US" sz="900" b="0" kern="1200">
                <a:solidFill>
                  <a:srgbClr val="505050"/>
                </a:solidFill>
                <a:latin typeface="+mn-lt"/>
                <a:ea typeface="+mn-ea"/>
                <a:cs typeface="+mn-cs"/>
              </a:defRPr>
            </a:lvl1pPr>
          </a:lstStyle>
          <a:p>
            <a:pPr>
              <a:defRPr/>
            </a:pPr>
            <a:fld id="{75FAD755-3BD0-2447-A9DF-109DAABEFD99}" type="slidenum">
              <a:rPr/>
              <a:pPr>
                <a:defRPr/>
              </a:pPr>
              <a:t>‹#›</a:t>
            </a:fld>
            <a:endParaRPr dirty="0"/>
          </a:p>
        </p:txBody>
      </p:sp>
    </p:spTree>
    <p:extLst>
      <p:ext uri="{BB962C8B-B14F-4D97-AF65-F5344CB8AC3E}">
        <p14:creationId xmlns:p14="http://schemas.microsoft.com/office/powerpoint/2010/main" val="692635557"/>
      </p:ext>
    </p:extLst>
  </p:cSld>
  <p:clrMap bg1="lt1" tx1="dk1" bg2="lt2" tx2="dk2" accent1="accent1" accent2="accent2" accent3="accent3" accent4="accent4" accent5="accent5" accent6="accent6" hlink="hlink" folHlink="folHlink"/>
  <p:sldLayoutIdLst>
    <p:sldLayoutId id="2147485448" r:id="rId1"/>
    <p:sldLayoutId id="2147485449" r:id="rId2"/>
    <p:sldLayoutId id="2147485450" r:id="rId3"/>
    <p:sldLayoutId id="2147485451" r:id="rId4"/>
    <p:sldLayoutId id="2147485452" r:id="rId5"/>
    <p:sldLayoutId id="2147485453" r:id="rId6"/>
  </p:sldLayoutIdLst>
  <p:transition>
    <p:fade/>
  </p:transition>
  <p:txStyles>
    <p:titleStyle>
      <a:lvl1pPr algn="l" defTabSz="931326" rtl="0" fontAlgn="base">
        <a:lnSpc>
          <a:spcPct val="90000"/>
        </a:lnSpc>
        <a:spcBef>
          <a:spcPct val="0"/>
        </a:spcBef>
        <a:spcAft>
          <a:spcPct val="0"/>
        </a:spcAft>
        <a:defRPr lang="en-US" sz="5397" kern="1200" spc="-102" dirty="0">
          <a:ln w="3175">
            <a:noFill/>
          </a:ln>
          <a:solidFill>
            <a:schemeClr val="tx2"/>
          </a:solidFill>
          <a:latin typeface="+mj-lt"/>
          <a:ea typeface="ＭＳ Ｐゴシック" charset="0"/>
          <a:cs typeface="Segoe UI" pitchFamily="34" charset="0"/>
        </a:defRPr>
      </a:lvl1pPr>
      <a:lvl2pPr algn="l" defTabSz="931326" rtl="0" fontAlgn="base">
        <a:lnSpc>
          <a:spcPct val="90000"/>
        </a:lnSpc>
        <a:spcBef>
          <a:spcPct val="0"/>
        </a:spcBef>
        <a:spcAft>
          <a:spcPct val="0"/>
        </a:spcAft>
        <a:defRPr sz="5397">
          <a:solidFill>
            <a:schemeClr val="tx2"/>
          </a:solidFill>
          <a:latin typeface="Segoe UI Light" charset="0"/>
          <a:ea typeface="ＭＳ Ｐゴシック" charset="0"/>
          <a:cs typeface="Segoe UI" charset="0"/>
        </a:defRPr>
      </a:lvl2pPr>
      <a:lvl3pPr algn="l" defTabSz="931326" rtl="0" fontAlgn="base">
        <a:lnSpc>
          <a:spcPct val="90000"/>
        </a:lnSpc>
        <a:spcBef>
          <a:spcPct val="0"/>
        </a:spcBef>
        <a:spcAft>
          <a:spcPct val="0"/>
        </a:spcAft>
        <a:defRPr sz="5397">
          <a:solidFill>
            <a:schemeClr val="tx2"/>
          </a:solidFill>
          <a:latin typeface="Segoe UI Light" charset="0"/>
          <a:ea typeface="ＭＳ Ｐゴシック" charset="0"/>
          <a:cs typeface="Segoe UI" charset="0"/>
        </a:defRPr>
      </a:lvl3pPr>
      <a:lvl4pPr algn="l" defTabSz="931326" rtl="0" fontAlgn="base">
        <a:lnSpc>
          <a:spcPct val="90000"/>
        </a:lnSpc>
        <a:spcBef>
          <a:spcPct val="0"/>
        </a:spcBef>
        <a:spcAft>
          <a:spcPct val="0"/>
        </a:spcAft>
        <a:defRPr sz="5397">
          <a:solidFill>
            <a:schemeClr val="tx2"/>
          </a:solidFill>
          <a:latin typeface="Segoe UI Light" charset="0"/>
          <a:ea typeface="ＭＳ Ｐゴシック" charset="0"/>
          <a:cs typeface="Segoe UI" charset="0"/>
        </a:defRPr>
      </a:lvl4pPr>
      <a:lvl5pPr algn="l" defTabSz="931326" rtl="0" fontAlgn="base">
        <a:lnSpc>
          <a:spcPct val="90000"/>
        </a:lnSpc>
        <a:spcBef>
          <a:spcPct val="0"/>
        </a:spcBef>
        <a:spcAft>
          <a:spcPct val="0"/>
        </a:spcAft>
        <a:defRPr sz="5397">
          <a:solidFill>
            <a:schemeClr val="tx2"/>
          </a:solidFill>
          <a:latin typeface="Segoe UI Light" charset="0"/>
          <a:ea typeface="ＭＳ Ｐゴシック" charset="0"/>
          <a:cs typeface="Segoe UI" charset="0"/>
        </a:defRPr>
      </a:lvl5pPr>
      <a:lvl6pPr marL="456937" algn="l" defTabSz="931326" rtl="0" fontAlgn="base">
        <a:lnSpc>
          <a:spcPct val="90000"/>
        </a:lnSpc>
        <a:spcBef>
          <a:spcPct val="0"/>
        </a:spcBef>
        <a:spcAft>
          <a:spcPct val="0"/>
        </a:spcAft>
        <a:defRPr sz="5397">
          <a:solidFill>
            <a:schemeClr val="tx2"/>
          </a:solidFill>
          <a:latin typeface="Segoe UI Light" charset="0"/>
          <a:ea typeface="ＭＳ Ｐゴシック" charset="0"/>
          <a:cs typeface="Segoe UI" charset="0"/>
        </a:defRPr>
      </a:lvl6pPr>
      <a:lvl7pPr marL="913873" algn="l" defTabSz="931326" rtl="0" fontAlgn="base">
        <a:lnSpc>
          <a:spcPct val="90000"/>
        </a:lnSpc>
        <a:spcBef>
          <a:spcPct val="0"/>
        </a:spcBef>
        <a:spcAft>
          <a:spcPct val="0"/>
        </a:spcAft>
        <a:defRPr sz="5397">
          <a:solidFill>
            <a:schemeClr val="tx2"/>
          </a:solidFill>
          <a:latin typeface="Segoe UI Light" charset="0"/>
          <a:ea typeface="ＭＳ Ｐゴシック" charset="0"/>
          <a:cs typeface="Segoe UI" charset="0"/>
        </a:defRPr>
      </a:lvl7pPr>
      <a:lvl8pPr marL="1370810" algn="l" defTabSz="931326" rtl="0" fontAlgn="base">
        <a:lnSpc>
          <a:spcPct val="90000"/>
        </a:lnSpc>
        <a:spcBef>
          <a:spcPct val="0"/>
        </a:spcBef>
        <a:spcAft>
          <a:spcPct val="0"/>
        </a:spcAft>
        <a:defRPr sz="5397">
          <a:solidFill>
            <a:schemeClr val="tx2"/>
          </a:solidFill>
          <a:latin typeface="Segoe UI Light" charset="0"/>
          <a:ea typeface="ＭＳ Ｐゴシック" charset="0"/>
          <a:cs typeface="Segoe UI" charset="0"/>
        </a:defRPr>
      </a:lvl8pPr>
      <a:lvl9pPr marL="1827746" algn="l" defTabSz="931326" rtl="0" fontAlgn="base">
        <a:lnSpc>
          <a:spcPct val="90000"/>
        </a:lnSpc>
        <a:spcBef>
          <a:spcPct val="0"/>
        </a:spcBef>
        <a:spcAft>
          <a:spcPct val="0"/>
        </a:spcAft>
        <a:defRPr sz="5397">
          <a:solidFill>
            <a:schemeClr val="tx2"/>
          </a:solidFill>
          <a:latin typeface="Segoe UI Light" charset="0"/>
          <a:ea typeface="ＭＳ Ｐゴシック" charset="0"/>
          <a:cs typeface="Segoe UI" charset="0"/>
        </a:defRPr>
      </a:lvl9pPr>
    </p:titleStyle>
    <p:bodyStyle>
      <a:lvl1pPr marL="342702" indent="-342702" algn="l" defTabSz="931326" rtl="0" fontAlgn="base">
        <a:lnSpc>
          <a:spcPct val="90000"/>
        </a:lnSpc>
        <a:spcBef>
          <a:spcPct val="20000"/>
        </a:spcBef>
        <a:spcAft>
          <a:spcPct val="0"/>
        </a:spcAft>
        <a:buSzPct val="90000"/>
        <a:buFont typeface="Arial" charset="0"/>
        <a:buChar char="•"/>
        <a:defRPr sz="3997" kern="1200">
          <a:solidFill>
            <a:schemeClr val="tx2"/>
          </a:solidFill>
          <a:latin typeface="+mj-lt"/>
          <a:ea typeface="ＭＳ Ｐゴシック" charset="0"/>
          <a:cs typeface="ＭＳ Ｐゴシック" charset="0"/>
        </a:defRPr>
      </a:lvl1pPr>
      <a:lvl2pPr marL="583863" indent="-241159" algn="l" defTabSz="931326" rtl="0" fontAlgn="base">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638" indent="-228469" algn="l" defTabSz="931326" rtl="0" fontAlgn="base">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107" indent="-228469" algn="l" defTabSz="931326"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6576" indent="-228469" algn="l" defTabSz="931326"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3563"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666"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769"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872"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205" rtl="0" eaLnBrk="1" latinLnBrk="0" hangingPunct="1">
        <a:defRPr sz="1800" kern="1200">
          <a:solidFill>
            <a:schemeClr val="tx1"/>
          </a:solidFill>
          <a:latin typeface="+mn-lt"/>
          <a:ea typeface="+mn-ea"/>
          <a:cs typeface="+mn-cs"/>
        </a:defRPr>
      </a:lvl1pPr>
      <a:lvl2pPr marL="466101" algn="l" defTabSz="932205" rtl="0" eaLnBrk="1" latinLnBrk="0" hangingPunct="1">
        <a:defRPr sz="1800" kern="1200">
          <a:solidFill>
            <a:schemeClr val="tx1"/>
          </a:solidFill>
          <a:latin typeface="+mn-lt"/>
          <a:ea typeface="+mn-ea"/>
          <a:cs typeface="+mn-cs"/>
        </a:defRPr>
      </a:lvl2pPr>
      <a:lvl3pPr marL="932205" algn="l" defTabSz="932205" rtl="0" eaLnBrk="1" latinLnBrk="0" hangingPunct="1">
        <a:defRPr sz="1800" kern="1200">
          <a:solidFill>
            <a:schemeClr val="tx1"/>
          </a:solidFill>
          <a:latin typeface="+mn-lt"/>
          <a:ea typeface="+mn-ea"/>
          <a:cs typeface="+mn-cs"/>
        </a:defRPr>
      </a:lvl3pPr>
      <a:lvl4pPr marL="1398307" algn="l" defTabSz="932205" rtl="0" eaLnBrk="1" latinLnBrk="0" hangingPunct="1">
        <a:defRPr sz="1800" kern="1200">
          <a:solidFill>
            <a:schemeClr val="tx1"/>
          </a:solidFill>
          <a:latin typeface="+mn-lt"/>
          <a:ea typeface="+mn-ea"/>
          <a:cs typeface="+mn-cs"/>
        </a:defRPr>
      </a:lvl4pPr>
      <a:lvl5pPr marL="1864410" algn="l" defTabSz="932205" rtl="0" eaLnBrk="1" latinLnBrk="0" hangingPunct="1">
        <a:defRPr sz="1800" kern="1200">
          <a:solidFill>
            <a:schemeClr val="tx1"/>
          </a:solidFill>
          <a:latin typeface="+mn-lt"/>
          <a:ea typeface="+mn-ea"/>
          <a:cs typeface="+mn-cs"/>
        </a:defRPr>
      </a:lvl5pPr>
      <a:lvl6pPr marL="2330512" algn="l" defTabSz="932205" rtl="0" eaLnBrk="1" latinLnBrk="0" hangingPunct="1">
        <a:defRPr sz="1800" kern="1200">
          <a:solidFill>
            <a:schemeClr val="tx1"/>
          </a:solidFill>
          <a:latin typeface="+mn-lt"/>
          <a:ea typeface="+mn-ea"/>
          <a:cs typeface="+mn-cs"/>
        </a:defRPr>
      </a:lvl6pPr>
      <a:lvl7pPr marL="2796615" algn="l" defTabSz="932205" rtl="0" eaLnBrk="1" latinLnBrk="0" hangingPunct="1">
        <a:defRPr sz="1800" kern="1200">
          <a:solidFill>
            <a:schemeClr val="tx1"/>
          </a:solidFill>
          <a:latin typeface="+mn-lt"/>
          <a:ea typeface="+mn-ea"/>
          <a:cs typeface="+mn-cs"/>
        </a:defRPr>
      </a:lvl7pPr>
      <a:lvl8pPr marL="3262716" algn="l" defTabSz="932205" rtl="0" eaLnBrk="1" latinLnBrk="0" hangingPunct="1">
        <a:defRPr sz="1800" kern="1200">
          <a:solidFill>
            <a:schemeClr val="tx1"/>
          </a:solidFill>
          <a:latin typeface="+mn-lt"/>
          <a:ea typeface="+mn-ea"/>
          <a:cs typeface="+mn-cs"/>
        </a:defRPr>
      </a:lvl8pPr>
      <a:lvl9pPr marL="3728821" algn="l" defTabSz="93220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296899"/>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2"/>
            <a:ext cx="11887197" cy="2294635"/>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681"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595103"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pPr defTabSz="932681"/>
            <a:fld id="{27258FFF-F925-446B-8502-81C933981705}" type="slidenum">
              <a:rPr lang="en-US" smtClean="0">
                <a:gradFill>
                  <a:gsLst>
                    <a:gs pos="2239">
                      <a:srgbClr val="505050"/>
                    </a:gs>
                    <a:gs pos="11940">
                      <a:srgbClr val="505050"/>
                    </a:gs>
                  </a:gsLst>
                  <a:lin ang="5400000" scaled="0"/>
                </a:gradFill>
              </a:rPr>
              <a:pPr defTabSz="932681"/>
              <a:t>‹#›</a:t>
            </a:fld>
            <a:endParaRPr lang="en-US">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3995997105"/>
      </p:ext>
    </p:extLst>
  </p:cSld>
  <p:clrMap bg1="lt1" tx1="dk1" bg2="lt2" tx2="dk2" accent1="accent1" accent2="accent2" accent3="accent3" accent4="accent4" accent5="accent5" accent6="accent6" hlink="hlink" folHlink="folHlink"/>
  <p:sldLayoutIdLst>
    <p:sldLayoutId id="2147484748" r:id="rId1"/>
    <p:sldLayoutId id="2147484749" r:id="rId2"/>
    <p:sldLayoutId id="2147484750" r:id="rId3"/>
    <p:sldLayoutId id="2147484751" r:id="rId4"/>
    <p:sldLayoutId id="2147484752" r:id="rId5"/>
    <p:sldLayoutId id="2147484753" r:id="rId6"/>
    <p:sldLayoutId id="2147484754" r:id="rId7"/>
    <p:sldLayoutId id="2147484755" r:id="rId8"/>
    <p:sldLayoutId id="2147484756" r:id="rId9"/>
    <p:sldLayoutId id="2147484757" r:id="rId10"/>
    <p:sldLayoutId id="2147484758" r:id="rId11"/>
    <p:sldLayoutId id="2147484759" r:id="rId12"/>
    <p:sldLayoutId id="2147484760" r:id="rId13"/>
    <p:sldLayoutId id="2147484761" r:id="rId14"/>
    <p:sldLayoutId id="2147484762" r:id="rId15"/>
    <p:sldLayoutId id="2147484763" r:id="rId16"/>
    <p:sldLayoutId id="2147484764" r:id="rId17"/>
    <p:sldLayoutId id="2147484765" r:id="rId18"/>
    <p:sldLayoutId id="2147484766" r:id="rId19"/>
    <p:sldLayoutId id="2147484767" r:id="rId20"/>
    <p:sldLayoutId id="2147484768" r:id="rId21"/>
    <p:sldLayoutId id="2147484769" r:id="rId22"/>
    <p:sldLayoutId id="2147484770" r:id="rId23"/>
    <p:sldLayoutId id="2147484771" r:id="rId24"/>
    <p:sldLayoutId id="2147484772" r:id="rId25"/>
    <p:sldLayoutId id="2147484773" r:id="rId26"/>
    <p:sldLayoutId id="2147484882" r:id="rId27"/>
  </p:sldLayoutIdLst>
  <p:transition>
    <p:fade/>
  </p:transition>
  <p:hf sldNum="0" hdr="0" dt="0"/>
  <p:txStyles>
    <p:titleStyle>
      <a:lvl1pPr algn="l" defTabSz="932681"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77" marR="0" indent="-342877" algn="l" defTabSz="932681"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161" marR="0" indent="-241284" algn="l" defTabSz="932681"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048" marR="0" indent="-228586" algn="l" defTabSz="932681"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632" marR="0" indent="-228586" algn="l" defTabSz="932681"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218" marR="0" indent="-228586" algn="l" defTabSz="932681"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872" indent="-233171" algn="l" defTabSz="93268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213" indent="-233171" algn="l" defTabSz="93268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54" indent="-233171" algn="l" defTabSz="93268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95" indent="-233171" algn="l" defTabSz="93268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81" rtl="0" eaLnBrk="1" latinLnBrk="0" hangingPunct="1">
        <a:defRPr sz="1801" kern="1200">
          <a:solidFill>
            <a:schemeClr val="tx1"/>
          </a:solidFill>
          <a:latin typeface="+mn-lt"/>
          <a:ea typeface="+mn-ea"/>
          <a:cs typeface="+mn-cs"/>
        </a:defRPr>
      </a:lvl1pPr>
      <a:lvl2pPr marL="466341" algn="l" defTabSz="932681" rtl="0" eaLnBrk="1" latinLnBrk="0" hangingPunct="1">
        <a:defRPr sz="1801" kern="1200">
          <a:solidFill>
            <a:schemeClr val="tx1"/>
          </a:solidFill>
          <a:latin typeface="+mn-lt"/>
          <a:ea typeface="+mn-ea"/>
          <a:cs typeface="+mn-cs"/>
        </a:defRPr>
      </a:lvl2pPr>
      <a:lvl3pPr marL="932681" algn="l" defTabSz="932681" rtl="0" eaLnBrk="1" latinLnBrk="0" hangingPunct="1">
        <a:defRPr sz="1801" kern="1200">
          <a:solidFill>
            <a:schemeClr val="tx1"/>
          </a:solidFill>
          <a:latin typeface="+mn-lt"/>
          <a:ea typeface="+mn-ea"/>
          <a:cs typeface="+mn-cs"/>
        </a:defRPr>
      </a:lvl3pPr>
      <a:lvl4pPr marL="1399022" algn="l" defTabSz="932681" rtl="0" eaLnBrk="1" latinLnBrk="0" hangingPunct="1">
        <a:defRPr sz="1801" kern="1200">
          <a:solidFill>
            <a:schemeClr val="tx1"/>
          </a:solidFill>
          <a:latin typeface="+mn-lt"/>
          <a:ea typeface="+mn-ea"/>
          <a:cs typeface="+mn-cs"/>
        </a:defRPr>
      </a:lvl4pPr>
      <a:lvl5pPr marL="1865361" algn="l" defTabSz="932681" rtl="0" eaLnBrk="1" latinLnBrk="0" hangingPunct="1">
        <a:defRPr sz="1801" kern="1200">
          <a:solidFill>
            <a:schemeClr val="tx1"/>
          </a:solidFill>
          <a:latin typeface="+mn-lt"/>
          <a:ea typeface="+mn-ea"/>
          <a:cs typeface="+mn-cs"/>
        </a:defRPr>
      </a:lvl5pPr>
      <a:lvl6pPr marL="2331704" algn="l" defTabSz="932681" rtl="0" eaLnBrk="1" latinLnBrk="0" hangingPunct="1">
        <a:defRPr sz="1801" kern="1200">
          <a:solidFill>
            <a:schemeClr val="tx1"/>
          </a:solidFill>
          <a:latin typeface="+mn-lt"/>
          <a:ea typeface="+mn-ea"/>
          <a:cs typeface="+mn-cs"/>
        </a:defRPr>
      </a:lvl6pPr>
      <a:lvl7pPr marL="2798043" algn="l" defTabSz="932681" rtl="0" eaLnBrk="1" latinLnBrk="0" hangingPunct="1">
        <a:defRPr sz="1801" kern="1200">
          <a:solidFill>
            <a:schemeClr val="tx1"/>
          </a:solidFill>
          <a:latin typeface="+mn-lt"/>
          <a:ea typeface="+mn-ea"/>
          <a:cs typeface="+mn-cs"/>
        </a:defRPr>
      </a:lvl7pPr>
      <a:lvl8pPr marL="3264383" algn="l" defTabSz="932681" rtl="0" eaLnBrk="1" latinLnBrk="0" hangingPunct="1">
        <a:defRPr sz="1801" kern="1200">
          <a:solidFill>
            <a:schemeClr val="tx1"/>
          </a:solidFill>
          <a:latin typeface="+mn-lt"/>
          <a:ea typeface="+mn-ea"/>
          <a:cs typeface="+mn-cs"/>
        </a:defRPr>
      </a:lvl8pPr>
      <a:lvl9pPr marL="3730725" algn="l" defTabSz="932681" rtl="0" eaLnBrk="1" latinLnBrk="0" hangingPunct="1">
        <a:defRPr sz="1801"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4" userDrawn="1">
          <p15:clr>
            <a:srgbClr val="5ACBF0"/>
          </p15:clr>
        </p15:guide>
        <p15:guide id="2" orient="horz" pos="1038" userDrawn="1">
          <p15:clr>
            <a:srgbClr val="A4A3A4"/>
          </p15:clr>
        </p15:guide>
        <p15:guide id="3" orient="horz" pos="1821" userDrawn="1">
          <p15:clr>
            <a:srgbClr val="A4A3A4"/>
          </p15:clr>
        </p15:guide>
        <p15:guide id="4" orient="horz" pos="2604" userDrawn="1">
          <p15:clr>
            <a:srgbClr val="A4A3A4"/>
          </p15:clr>
        </p15:guide>
        <p15:guide id="5" orient="horz" pos="3387" userDrawn="1">
          <p15:clr>
            <a:srgbClr val="A4A3A4"/>
          </p15:clr>
        </p15:guide>
        <p15:guide id="6" orient="horz" pos="4171" userDrawn="1">
          <p15:clr>
            <a:srgbClr val="A4A3A4"/>
          </p15:clr>
        </p15:guide>
        <p15:guide id="7" orient="horz" pos="4954" userDrawn="1">
          <p15:clr>
            <a:srgbClr val="A4A3A4"/>
          </p15:clr>
        </p15:guide>
        <p15:guide id="8" orient="horz" pos="5737" userDrawn="1">
          <p15:clr>
            <a:srgbClr val="5ACBF0"/>
          </p15:clr>
        </p15:guide>
        <p15:guide id="9" pos="1019" userDrawn="1">
          <p15:clr>
            <a:srgbClr val="A4A3A4"/>
          </p15:clr>
        </p15:guide>
        <p15:guide id="10" pos="1802" userDrawn="1">
          <p15:clr>
            <a:srgbClr val="A4A3A4"/>
          </p15:clr>
        </p15:guide>
        <p15:guide id="11" pos="2585" userDrawn="1">
          <p15:clr>
            <a:srgbClr val="A4A3A4"/>
          </p15:clr>
        </p15:guide>
        <p15:guide id="12" pos="3369" userDrawn="1">
          <p15:clr>
            <a:srgbClr val="A4A3A4"/>
          </p15:clr>
        </p15:guide>
        <p15:guide id="13" pos="4152" userDrawn="1">
          <p15:clr>
            <a:srgbClr val="A4A3A4"/>
          </p15:clr>
        </p15:guide>
        <p15:guide id="14" pos="4936" userDrawn="1">
          <p15:clr>
            <a:srgbClr val="A4A3A4"/>
          </p15:clr>
        </p15:guide>
        <p15:guide id="15" pos="5719" userDrawn="1">
          <p15:clr>
            <a:srgbClr val="A4A3A4"/>
          </p15:clr>
        </p15:guide>
        <p15:guide id="16" pos="6502" userDrawn="1">
          <p15:clr>
            <a:srgbClr val="A4A3A4"/>
          </p15:clr>
        </p15:guide>
        <p15:guide id="17" pos="7286" userDrawn="1">
          <p15:clr>
            <a:srgbClr val="A4A3A4"/>
          </p15:clr>
        </p15:guide>
        <p15:guide id="18" pos="8069" userDrawn="1">
          <p15:clr>
            <a:srgbClr val="A4A3A4"/>
          </p15:clr>
        </p15:guide>
        <p15:guide id="19" pos="8853" userDrawn="1">
          <p15:clr>
            <a:srgbClr val="A4A3A4"/>
          </p15:clr>
        </p15:guide>
        <p15:guide id="20" pos="9636" userDrawn="1">
          <p15:clr>
            <a:srgbClr val="A4A3A4"/>
          </p15:clr>
        </p15:guide>
        <p15:guide id="21" pos="10419" userDrawn="1">
          <p15:clr>
            <a:srgbClr val="5ACBF0"/>
          </p15:clr>
        </p15:guide>
        <p15:guide id="22" pos="235" userDrawn="1">
          <p15:clr>
            <a:srgbClr val="5ACBF0"/>
          </p15:clr>
        </p15:guide>
        <p15:guide id="23" userDrawn="1">
          <p15:clr>
            <a:srgbClr val="F26B43"/>
          </p15:clr>
        </p15:guide>
        <p15:guide id="24" pos="10655" userDrawn="1">
          <p15:clr>
            <a:srgbClr val="F26B43"/>
          </p15:clr>
        </p15:guide>
        <p15:guide id="25" orient="horz" pos="5992" userDrawn="1">
          <p15:clr>
            <a:srgbClr val="F26B43"/>
          </p15:clr>
        </p15:guide>
        <p15:guide id="26" orient="horz"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296899"/>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2"/>
            <a:ext cx="11887197" cy="229463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33557622"/>
      </p:ext>
    </p:extLst>
  </p:cSld>
  <p:clrMap bg1="dk1" tx1="lt1" bg2="dk2" tx2="lt2" accent1="accent1" accent2="accent2" accent3="accent3" accent4="accent4" accent5="accent5" accent6="accent6" hlink="hlink" folHlink="folHlink"/>
  <p:sldLayoutIdLst>
    <p:sldLayoutId id="2147484887" r:id="rId1"/>
    <p:sldLayoutId id="2147484888" r:id="rId2"/>
    <p:sldLayoutId id="2147484889" r:id="rId3"/>
    <p:sldLayoutId id="2147484890" r:id="rId4"/>
    <p:sldLayoutId id="2147484891" r:id="rId5"/>
    <p:sldLayoutId id="2147484892" r:id="rId6"/>
    <p:sldLayoutId id="2147484893" r:id="rId7"/>
    <p:sldLayoutId id="2147484894" r:id="rId8"/>
    <p:sldLayoutId id="2147484895" r:id="rId9"/>
    <p:sldLayoutId id="2147484896" r:id="rId10"/>
    <p:sldLayoutId id="2147484897" r:id="rId11"/>
    <p:sldLayoutId id="2147484898" r:id="rId12"/>
    <p:sldLayoutId id="2147484899" r:id="rId13"/>
    <p:sldLayoutId id="2147484900" r:id="rId14"/>
    <p:sldLayoutId id="2147484901" r:id="rId15"/>
    <p:sldLayoutId id="2147484902" r:id="rId16"/>
    <p:sldLayoutId id="2147484903" r:id="rId17"/>
    <p:sldLayoutId id="2147484904" r:id="rId18"/>
  </p:sldLayoutIdLst>
  <p:transition>
    <p:fade/>
  </p:transition>
  <p:txStyles>
    <p:titleStyle>
      <a:lvl1pPr algn="l" defTabSz="932681"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877" marR="0" indent="-342877" algn="l" defTabSz="932681"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161" marR="0" indent="-241284" algn="l" defTabSz="932681"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048" marR="0" indent="-228586" algn="l" defTabSz="932681"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632" marR="0" indent="-228586" algn="l" defTabSz="932681"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218" marR="0" indent="-228586" algn="l" defTabSz="932681"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872" indent="-233171" algn="l" defTabSz="93268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213" indent="-233171" algn="l" defTabSz="93268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54" indent="-233171" algn="l" defTabSz="93268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95" indent="-233171" algn="l" defTabSz="93268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81" rtl="0" eaLnBrk="1" latinLnBrk="0" hangingPunct="1">
        <a:defRPr sz="1801" kern="1200">
          <a:solidFill>
            <a:schemeClr val="tx1"/>
          </a:solidFill>
          <a:latin typeface="+mn-lt"/>
          <a:ea typeface="+mn-ea"/>
          <a:cs typeface="+mn-cs"/>
        </a:defRPr>
      </a:lvl1pPr>
      <a:lvl2pPr marL="466341" algn="l" defTabSz="932681" rtl="0" eaLnBrk="1" latinLnBrk="0" hangingPunct="1">
        <a:defRPr sz="1801" kern="1200">
          <a:solidFill>
            <a:schemeClr val="tx1"/>
          </a:solidFill>
          <a:latin typeface="+mn-lt"/>
          <a:ea typeface="+mn-ea"/>
          <a:cs typeface="+mn-cs"/>
        </a:defRPr>
      </a:lvl2pPr>
      <a:lvl3pPr marL="932681" algn="l" defTabSz="932681" rtl="0" eaLnBrk="1" latinLnBrk="0" hangingPunct="1">
        <a:defRPr sz="1801" kern="1200">
          <a:solidFill>
            <a:schemeClr val="tx1"/>
          </a:solidFill>
          <a:latin typeface="+mn-lt"/>
          <a:ea typeface="+mn-ea"/>
          <a:cs typeface="+mn-cs"/>
        </a:defRPr>
      </a:lvl3pPr>
      <a:lvl4pPr marL="1399022" algn="l" defTabSz="932681" rtl="0" eaLnBrk="1" latinLnBrk="0" hangingPunct="1">
        <a:defRPr sz="1801" kern="1200">
          <a:solidFill>
            <a:schemeClr val="tx1"/>
          </a:solidFill>
          <a:latin typeface="+mn-lt"/>
          <a:ea typeface="+mn-ea"/>
          <a:cs typeface="+mn-cs"/>
        </a:defRPr>
      </a:lvl4pPr>
      <a:lvl5pPr marL="1865361" algn="l" defTabSz="932681" rtl="0" eaLnBrk="1" latinLnBrk="0" hangingPunct="1">
        <a:defRPr sz="1801" kern="1200">
          <a:solidFill>
            <a:schemeClr val="tx1"/>
          </a:solidFill>
          <a:latin typeface="+mn-lt"/>
          <a:ea typeface="+mn-ea"/>
          <a:cs typeface="+mn-cs"/>
        </a:defRPr>
      </a:lvl5pPr>
      <a:lvl6pPr marL="2331704" algn="l" defTabSz="932681" rtl="0" eaLnBrk="1" latinLnBrk="0" hangingPunct="1">
        <a:defRPr sz="1801" kern="1200">
          <a:solidFill>
            <a:schemeClr val="tx1"/>
          </a:solidFill>
          <a:latin typeface="+mn-lt"/>
          <a:ea typeface="+mn-ea"/>
          <a:cs typeface="+mn-cs"/>
        </a:defRPr>
      </a:lvl6pPr>
      <a:lvl7pPr marL="2798043" algn="l" defTabSz="932681" rtl="0" eaLnBrk="1" latinLnBrk="0" hangingPunct="1">
        <a:defRPr sz="1801" kern="1200">
          <a:solidFill>
            <a:schemeClr val="tx1"/>
          </a:solidFill>
          <a:latin typeface="+mn-lt"/>
          <a:ea typeface="+mn-ea"/>
          <a:cs typeface="+mn-cs"/>
        </a:defRPr>
      </a:lvl7pPr>
      <a:lvl8pPr marL="3264383" algn="l" defTabSz="932681" rtl="0" eaLnBrk="1" latinLnBrk="0" hangingPunct="1">
        <a:defRPr sz="1801" kern="1200">
          <a:solidFill>
            <a:schemeClr val="tx1"/>
          </a:solidFill>
          <a:latin typeface="+mn-lt"/>
          <a:ea typeface="+mn-ea"/>
          <a:cs typeface="+mn-cs"/>
        </a:defRPr>
      </a:lvl8pPr>
      <a:lvl9pPr marL="3730725" algn="l" defTabSz="932681" rtl="0" eaLnBrk="1" latinLnBrk="0" hangingPunct="1">
        <a:defRPr sz="1801"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296899"/>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2"/>
            <a:ext cx="11887197" cy="2294635"/>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681"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595103"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578149591"/>
      </p:ext>
    </p:extLst>
  </p:cSld>
  <p:clrMap bg1="lt1" tx1="dk1" bg2="lt2" tx2="dk2" accent1="accent1" accent2="accent2" accent3="accent3" accent4="accent4" accent5="accent5" accent6="accent6" hlink="hlink" folHlink="folHlink"/>
  <p:sldLayoutIdLst>
    <p:sldLayoutId id="2147484906" r:id="rId1"/>
    <p:sldLayoutId id="2147484907" r:id="rId2"/>
    <p:sldLayoutId id="2147484908" r:id="rId3"/>
    <p:sldLayoutId id="2147484909" r:id="rId4"/>
    <p:sldLayoutId id="2147484910" r:id="rId5"/>
    <p:sldLayoutId id="2147484911" r:id="rId6"/>
    <p:sldLayoutId id="2147484912" r:id="rId7"/>
    <p:sldLayoutId id="2147484913" r:id="rId8"/>
    <p:sldLayoutId id="2147484914" r:id="rId9"/>
    <p:sldLayoutId id="2147484915" r:id="rId10"/>
    <p:sldLayoutId id="2147484916" r:id="rId11"/>
    <p:sldLayoutId id="2147484917" r:id="rId12"/>
    <p:sldLayoutId id="2147484918" r:id="rId13"/>
    <p:sldLayoutId id="2147484919" r:id="rId14"/>
    <p:sldLayoutId id="2147484920" r:id="rId15"/>
    <p:sldLayoutId id="2147484921" r:id="rId16"/>
    <p:sldLayoutId id="2147484922" r:id="rId17"/>
    <p:sldLayoutId id="2147484923" r:id="rId18"/>
    <p:sldLayoutId id="2147484924" r:id="rId19"/>
    <p:sldLayoutId id="2147484925" r:id="rId20"/>
    <p:sldLayoutId id="2147484926" r:id="rId21"/>
    <p:sldLayoutId id="2147484927" r:id="rId22"/>
    <p:sldLayoutId id="2147484928" r:id="rId23"/>
    <p:sldLayoutId id="2147484929" r:id="rId24"/>
    <p:sldLayoutId id="2147484930" r:id="rId25"/>
    <p:sldLayoutId id="2147484931" r:id="rId26"/>
  </p:sldLayoutIdLst>
  <p:transition>
    <p:fade/>
  </p:transition>
  <p:hf sldNum="0" hdr="0" dt="0"/>
  <p:txStyles>
    <p:titleStyle>
      <a:lvl1pPr algn="l" defTabSz="932681"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77" marR="0" indent="-342877" algn="l" defTabSz="932681"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161" marR="0" indent="-241284" algn="l" defTabSz="932681"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048" marR="0" indent="-228586" algn="l" defTabSz="932681"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632" marR="0" indent="-228586" algn="l" defTabSz="932681"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218" marR="0" indent="-228586" algn="l" defTabSz="932681"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872" indent="-233171" algn="l" defTabSz="93268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213" indent="-233171" algn="l" defTabSz="93268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54" indent="-233171" algn="l" defTabSz="93268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95" indent="-233171" algn="l" defTabSz="93268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81" rtl="0" eaLnBrk="1" latinLnBrk="0" hangingPunct="1">
        <a:defRPr sz="1801" kern="1200">
          <a:solidFill>
            <a:schemeClr val="tx1"/>
          </a:solidFill>
          <a:latin typeface="+mn-lt"/>
          <a:ea typeface="+mn-ea"/>
          <a:cs typeface="+mn-cs"/>
        </a:defRPr>
      </a:lvl1pPr>
      <a:lvl2pPr marL="466341" algn="l" defTabSz="932681" rtl="0" eaLnBrk="1" latinLnBrk="0" hangingPunct="1">
        <a:defRPr sz="1801" kern="1200">
          <a:solidFill>
            <a:schemeClr val="tx1"/>
          </a:solidFill>
          <a:latin typeface="+mn-lt"/>
          <a:ea typeface="+mn-ea"/>
          <a:cs typeface="+mn-cs"/>
        </a:defRPr>
      </a:lvl2pPr>
      <a:lvl3pPr marL="932681" algn="l" defTabSz="932681" rtl="0" eaLnBrk="1" latinLnBrk="0" hangingPunct="1">
        <a:defRPr sz="1801" kern="1200">
          <a:solidFill>
            <a:schemeClr val="tx1"/>
          </a:solidFill>
          <a:latin typeface="+mn-lt"/>
          <a:ea typeface="+mn-ea"/>
          <a:cs typeface="+mn-cs"/>
        </a:defRPr>
      </a:lvl3pPr>
      <a:lvl4pPr marL="1399022" algn="l" defTabSz="932681" rtl="0" eaLnBrk="1" latinLnBrk="0" hangingPunct="1">
        <a:defRPr sz="1801" kern="1200">
          <a:solidFill>
            <a:schemeClr val="tx1"/>
          </a:solidFill>
          <a:latin typeface="+mn-lt"/>
          <a:ea typeface="+mn-ea"/>
          <a:cs typeface="+mn-cs"/>
        </a:defRPr>
      </a:lvl4pPr>
      <a:lvl5pPr marL="1865361" algn="l" defTabSz="932681" rtl="0" eaLnBrk="1" latinLnBrk="0" hangingPunct="1">
        <a:defRPr sz="1801" kern="1200">
          <a:solidFill>
            <a:schemeClr val="tx1"/>
          </a:solidFill>
          <a:latin typeface="+mn-lt"/>
          <a:ea typeface="+mn-ea"/>
          <a:cs typeface="+mn-cs"/>
        </a:defRPr>
      </a:lvl5pPr>
      <a:lvl6pPr marL="2331704" algn="l" defTabSz="932681" rtl="0" eaLnBrk="1" latinLnBrk="0" hangingPunct="1">
        <a:defRPr sz="1801" kern="1200">
          <a:solidFill>
            <a:schemeClr val="tx1"/>
          </a:solidFill>
          <a:latin typeface="+mn-lt"/>
          <a:ea typeface="+mn-ea"/>
          <a:cs typeface="+mn-cs"/>
        </a:defRPr>
      </a:lvl6pPr>
      <a:lvl7pPr marL="2798043" algn="l" defTabSz="932681" rtl="0" eaLnBrk="1" latinLnBrk="0" hangingPunct="1">
        <a:defRPr sz="1801" kern="1200">
          <a:solidFill>
            <a:schemeClr val="tx1"/>
          </a:solidFill>
          <a:latin typeface="+mn-lt"/>
          <a:ea typeface="+mn-ea"/>
          <a:cs typeface="+mn-cs"/>
        </a:defRPr>
      </a:lvl7pPr>
      <a:lvl8pPr marL="3264383" algn="l" defTabSz="932681" rtl="0" eaLnBrk="1" latinLnBrk="0" hangingPunct="1">
        <a:defRPr sz="1801" kern="1200">
          <a:solidFill>
            <a:schemeClr val="tx1"/>
          </a:solidFill>
          <a:latin typeface="+mn-lt"/>
          <a:ea typeface="+mn-ea"/>
          <a:cs typeface="+mn-cs"/>
        </a:defRPr>
      </a:lvl8pPr>
      <a:lvl9pPr marL="3730725" algn="l" defTabSz="932681" rtl="0" eaLnBrk="1" latinLnBrk="0" hangingPunct="1">
        <a:defRPr sz="1801"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605147"/>
      </p:ext>
    </p:extLst>
  </p:cSld>
  <p:clrMap bg1="dk1" tx1="lt1" bg2="dk2" tx2="lt2" accent1="accent1" accent2="accent2" accent3="accent3" accent4="accent4" accent5="accent5" accent6="accent6" hlink="hlink" folHlink="folHlink"/>
  <p:sldLayoutIdLst>
    <p:sldLayoutId id="2147484933" r:id="rId1"/>
    <p:sldLayoutId id="2147484934" r:id="rId2"/>
    <p:sldLayoutId id="2147484935" r:id="rId3"/>
    <p:sldLayoutId id="2147484936" r:id="rId4"/>
    <p:sldLayoutId id="2147484937" r:id="rId5"/>
    <p:sldLayoutId id="2147484938" r:id="rId6"/>
    <p:sldLayoutId id="2147484939" r:id="rId7"/>
    <p:sldLayoutId id="2147484940" r:id="rId8"/>
    <p:sldLayoutId id="2147484941" r:id="rId9"/>
    <p:sldLayoutId id="2147484942" r:id="rId10"/>
    <p:sldLayoutId id="2147484943" r:id="rId11"/>
    <p:sldLayoutId id="2147484944" r:id="rId12"/>
    <p:sldLayoutId id="2147484945" r:id="rId13"/>
    <p:sldLayoutId id="2147484946" r:id="rId14"/>
    <p:sldLayoutId id="2147484947" r:id="rId15"/>
    <p:sldLayoutId id="2147484948" r:id="rId16"/>
    <p:sldLayoutId id="2147484949" r:id="rId17"/>
    <p:sldLayoutId id="2147484950" r:id="rId1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595101"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052961662"/>
      </p:ext>
    </p:extLst>
  </p:cSld>
  <p:clrMap bg1="lt1" tx1="dk1" bg2="lt2" tx2="dk2" accent1="accent1" accent2="accent2" accent3="accent3" accent4="accent4" accent5="accent5" accent6="accent6" hlink="hlink" folHlink="folHlink"/>
  <p:sldLayoutIdLst>
    <p:sldLayoutId id="2147484952" r:id="rId1"/>
    <p:sldLayoutId id="2147484953" r:id="rId2"/>
    <p:sldLayoutId id="2147484954" r:id="rId3"/>
    <p:sldLayoutId id="2147484955" r:id="rId4"/>
    <p:sldLayoutId id="2147484956" r:id="rId5"/>
    <p:sldLayoutId id="2147484957" r:id="rId6"/>
    <p:sldLayoutId id="2147484958" r:id="rId7"/>
    <p:sldLayoutId id="2147484959" r:id="rId8"/>
    <p:sldLayoutId id="2147484960" r:id="rId9"/>
    <p:sldLayoutId id="2147484961" r:id="rId10"/>
    <p:sldLayoutId id="2147484962" r:id="rId11"/>
    <p:sldLayoutId id="2147484963" r:id="rId12"/>
    <p:sldLayoutId id="2147484964" r:id="rId13"/>
    <p:sldLayoutId id="2147484965" r:id="rId14"/>
    <p:sldLayoutId id="2147484966" r:id="rId15"/>
    <p:sldLayoutId id="2147484967" r:id="rId16"/>
    <p:sldLayoutId id="2147484968" r:id="rId17"/>
    <p:sldLayoutId id="2147484969" r:id="rId18"/>
    <p:sldLayoutId id="2147484970" r:id="rId19"/>
    <p:sldLayoutId id="2147484971" r:id="rId20"/>
    <p:sldLayoutId id="2147484972" r:id="rId21"/>
    <p:sldLayoutId id="2147484973" r:id="rId22"/>
    <p:sldLayoutId id="2147484974" r:id="rId23"/>
    <p:sldLayoutId id="2147484975" r:id="rId24"/>
    <p:sldLayoutId id="2147484976" r:id="rId25"/>
    <p:sldLayoutId id="2147484977" r:id="rId26"/>
  </p:sldLayoutIdLst>
  <p:transition>
    <p:fade/>
  </p:transition>
  <p:hf sldNum="0" hd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296898"/>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563"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595101"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pPr defTabSz="932563"/>
            <a:fld id="{27258FFF-F925-446B-8502-81C933981705}" type="slidenum">
              <a:rPr>
                <a:gradFill>
                  <a:gsLst>
                    <a:gs pos="2239">
                      <a:srgbClr val="505050"/>
                    </a:gs>
                    <a:gs pos="11940">
                      <a:srgbClr val="505050"/>
                    </a:gs>
                  </a:gsLst>
                  <a:lin ang="5400000" scaled="0"/>
                </a:gradFill>
              </a:rPr>
              <a:pPr defTabSz="932563"/>
              <a:t>‹#›</a:t>
            </a:fld>
            <a:endParaRPr>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1083228385"/>
      </p:ext>
    </p:extLst>
  </p:cSld>
  <p:clrMap bg1="lt1" tx1="dk1" bg2="lt2" tx2="dk2" accent1="accent1" accent2="accent2" accent3="accent3" accent4="accent4" accent5="accent5" accent6="accent6" hlink="hlink" folHlink="folHlink"/>
  <p:sldLayoutIdLst>
    <p:sldLayoutId id="2147485006" r:id="rId1"/>
    <p:sldLayoutId id="2147485007" r:id="rId2"/>
    <p:sldLayoutId id="2147485008" r:id="rId3"/>
    <p:sldLayoutId id="2147485009" r:id="rId4"/>
    <p:sldLayoutId id="2147485010" r:id="rId5"/>
    <p:sldLayoutId id="2147485011" r:id="rId6"/>
    <p:sldLayoutId id="2147485012" r:id="rId7"/>
    <p:sldLayoutId id="2147485013" r:id="rId8"/>
    <p:sldLayoutId id="2147485014" r:id="rId9"/>
    <p:sldLayoutId id="2147485015" r:id="rId10"/>
    <p:sldLayoutId id="2147485016" r:id="rId11"/>
    <p:sldLayoutId id="2147485017" r:id="rId12"/>
    <p:sldLayoutId id="2147485018" r:id="rId13"/>
    <p:sldLayoutId id="2147485019" r:id="rId14"/>
    <p:sldLayoutId id="2147485020" r:id="rId15"/>
    <p:sldLayoutId id="2147485021" r:id="rId16"/>
    <p:sldLayoutId id="2147485022" r:id="rId17"/>
    <p:sldLayoutId id="2147485023" r:id="rId18"/>
    <p:sldLayoutId id="2147485024" r:id="rId19"/>
    <p:sldLayoutId id="2147485025" r:id="rId20"/>
    <p:sldLayoutId id="2147485026" r:id="rId21"/>
    <p:sldLayoutId id="2147485027" r:id="rId22"/>
    <p:sldLayoutId id="2147485028" r:id="rId23"/>
    <p:sldLayoutId id="2147485029" r:id="rId24"/>
    <p:sldLayoutId id="2147485030" r:id="rId25"/>
    <p:sldLayoutId id="2147485031" r:id="rId26"/>
    <p:sldLayoutId id="2147485032" r:id="rId27"/>
  </p:sldLayoutIdLst>
  <p:transition spd="slow">
    <p:push dir="u"/>
  </p:transition>
  <p:hf sldNum="0" hdr="0" dt="0"/>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D084A3BA-9E8D-4B2F-B2B0-4E170D3C4FBB}" type="datetimeFigureOut">
              <a:rPr lang="en-US" smtClean="0"/>
              <a:t>6/10/2016</a:t>
            </a:fld>
            <a:endParaRPr lang="en-US" dirty="0"/>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A3350D5A-C1CC-4DD8-A522-066598D94E07}" type="slidenum">
              <a:rPr lang="en-US" smtClean="0"/>
              <a:t>‹#›</a:t>
            </a:fld>
            <a:endParaRPr lang="en-US" dirty="0"/>
          </a:p>
        </p:txBody>
      </p:sp>
    </p:spTree>
    <p:extLst>
      <p:ext uri="{BB962C8B-B14F-4D97-AF65-F5344CB8AC3E}">
        <p14:creationId xmlns:p14="http://schemas.microsoft.com/office/powerpoint/2010/main" val="2582421111"/>
      </p:ext>
    </p:extLst>
  </p:cSld>
  <p:clrMap bg1="lt1" tx1="dk1" bg2="lt2" tx2="dk2" accent1="accent1" accent2="accent2" accent3="accent3" accent4="accent4" accent5="accent5" accent6="accent6" hlink="hlink" folHlink="folHlink"/>
  <p:sldLayoutIdLst>
    <p:sldLayoutId id="2147485034" r:id="rId1"/>
    <p:sldLayoutId id="2147485035" r:id="rId2"/>
    <p:sldLayoutId id="2147485036" r:id="rId3"/>
    <p:sldLayoutId id="2147485037" r:id="rId4"/>
    <p:sldLayoutId id="2147485038" r:id="rId5"/>
    <p:sldLayoutId id="2147485039" r:id="rId6"/>
    <p:sldLayoutId id="2147485040" r:id="rId7"/>
    <p:sldLayoutId id="2147485041" r:id="rId8"/>
    <p:sldLayoutId id="2147485042" r:id="rId9"/>
    <p:sldLayoutId id="2147485043" r:id="rId10"/>
    <p:sldLayoutId id="2147485044" r:id="rId11"/>
    <p:sldLayoutId id="2147485045" r:id="rId12"/>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xml"/><Relationship Id="rId1" Type="http://schemas.openxmlformats.org/officeDocument/2006/relationships/slideLayout" Target="../slideLayouts/slideLayout38.xml"/><Relationship Id="rId4" Type="http://schemas.openxmlformats.org/officeDocument/2006/relationships/image" Target="../media/image33.png"/></Relationships>
</file>

<file path=ppt/slides/_rels/slide10.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notesSlide" Target="../notesSlides/notesSlide8.xml"/><Relationship Id="rId1" Type="http://schemas.openxmlformats.org/officeDocument/2006/relationships/slideLayout" Target="../slideLayouts/slideLayout175.xml"/><Relationship Id="rId6" Type="http://schemas.openxmlformats.org/officeDocument/2006/relationships/image" Target="../media/image48.emf"/><Relationship Id="rId5" Type="http://schemas.openxmlformats.org/officeDocument/2006/relationships/image" Target="../media/image47.emf"/><Relationship Id="rId4" Type="http://schemas.openxmlformats.org/officeDocument/2006/relationships/image" Target="../media/image46.emf"/></Relationships>
</file>

<file path=ppt/slides/_rels/slide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9.xml"/><Relationship Id="rId1" Type="http://schemas.openxmlformats.org/officeDocument/2006/relationships/slideLayout" Target="../slideLayouts/slideLayout175.xml"/><Relationship Id="rId6" Type="http://schemas.openxmlformats.org/officeDocument/2006/relationships/image" Target="../media/image48.emf"/><Relationship Id="rId5" Type="http://schemas.openxmlformats.org/officeDocument/2006/relationships/image" Target="../media/image46.emf"/><Relationship Id="rId4" Type="http://schemas.openxmlformats.org/officeDocument/2006/relationships/image" Target="../media/image47.emf"/></Relationships>
</file>

<file path=ppt/slides/_rels/slide12.xml.rels><?xml version="1.0" encoding="UTF-8" standalone="yes"?>
<Relationships xmlns="http://schemas.openxmlformats.org/package/2006/relationships"><Relationship Id="rId8" Type="http://schemas.openxmlformats.org/officeDocument/2006/relationships/image" Target="../media/image51.emf"/><Relationship Id="rId3" Type="http://schemas.openxmlformats.org/officeDocument/2006/relationships/image" Target="../media/image47.emf"/><Relationship Id="rId7" Type="http://schemas.openxmlformats.org/officeDocument/2006/relationships/image" Target="../media/image50.emf"/><Relationship Id="rId2" Type="http://schemas.openxmlformats.org/officeDocument/2006/relationships/notesSlide" Target="../notesSlides/notesSlide10.xml"/><Relationship Id="rId1" Type="http://schemas.openxmlformats.org/officeDocument/2006/relationships/slideLayout" Target="../slideLayouts/slideLayout175.xml"/><Relationship Id="rId6" Type="http://schemas.openxmlformats.org/officeDocument/2006/relationships/image" Target="../media/image49.emf"/><Relationship Id="rId11" Type="http://schemas.openxmlformats.org/officeDocument/2006/relationships/image" Target="../media/image54.emf"/><Relationship Id="rId5" Type="http://schemas.openxmlformats.org/officeDocument/2006/relationships/image" Target="../media/image48.emf"/><Relationship Id="rId10" Type="http://schemas.openxmlformats.org/officeDocument/2006/relationships/image" Target="../media/image53.emf"/><Relationship Id="rId4" Type="http://schemas.openxmlformats.org/officeDocument/2006/relationships/image" Target="../media/image46.emf"/><Relationship Id="rId9" Type="http://schemas.openxmlformats.org/officeDocument/2006/relationships/image" Target="../media/image52.emf"/></Relationships>
</file>

<file path=ppt/slides/_rels/slide13.xml.rels><?xml version="1.0" encoding="UTF-8" standalone="yes"?>
<Relationships xmlns="http://schemas.openxmlformats.org/package/2006/relationships"><Relationship Id="rId3" Type="http://schemas.openxmlformats.org/officeDocument/2006/relationships/image" Target="../media/image55.emf"/><Relationship Id="rId7" Type="http://schemas.openxmlformats.org/officeDocument/2006/relationships/image" Target="../media/image48.emf"/><Relationship Id="rId2" Type="http://schemas.openxmlformats.org/officeDocument/2006/relationships/notesSlide" Target="../notesSlides/notesSlide11.xml"/><Relationship Id="rId1" Type="http://schemas.openxmlformats.org/officeDocument/2006/relationships/slideLayout" Target="../slideLayouts/slideLayout175.xml"/><Relationship Id="rId6" Type="http://schemas.openxmlformats.org/officeDocument/2006/relationships/image" Target="../media/image46.emf"/><Relationship Id="rId5" Type="http://schemas.openxmlformats.org/officeDocument/2006/relationships/image" Target="../media/image47.emf"/><Relationship Id="rId4" Type="http://schemas.openxmlformats.org/officeDocument/2006/relationships/image" Target="../media/image56.emf"/></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9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6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99.xml"/></Relationships>
</file>

<file path=ppt/slides/_rels/slide17.xml.rels><?xml version="1.0" encoding="UTF-8" standalone="yes"?>
<Relationships xmlns="http://schemas.openxmlformats.org/package/2006/relationships"><Relationship Id="rId3" Type="http://schemas.openxmlformats.org/officeDocument/2006/relationships/image" Target="../media/image57.emf"/><Relationship Id="rId7" Type="http://schemas.openxmlformats.org/officeDocument/2006/relationships/image" Target="../media/image36.emf"/><Relationship Id="rId2" Type="http://schemas.openxmlformats.org/officeDocument/2006/relationships/notesSlide" Target="../notesSlides/notesSlide15.xml"/><Relationship Id="rId1" Type="http://schemas.openxmlformats.org/officeDocument/2006/relationships/slideLayout" Target="../slideLayouts/slideLayout401.xml"/><Relationship Id="rId6" Type="http://schemas.openxmlformats.org/officeDocument/2006/relationships/image" Target="../media/image60.emf"/><Relationship Id="rId5" Type="http://schemas.openxmlformats.org/officeDocument/2006/relationships/image" Target="../media/image59.emf"/><Relationship Id="rId4" Type="http://schemas.openxmlformats.org/officeDocument/2006/relationships/image" Target="../media/image58.emf"/></Relationships>
</file>

<file path=ppt/slides/_rels/slide18.xml.rels><?xml version="1.0" encoding="UTF-8" standalone="yes"?>
<Relationships xmlns="http://schemas.openxmlformats.org/package/2006/relationships"><Relationship Id="rId8" Type="http://schemas.openxmlformats.org/officeDocument/2006/relationships/image" Target="../media/image66.png"/><Relationship Id="rId13" Type="http://schemas.openxmlformats.org/officeDocument/2006/relationships/image" Target="../media/image71.png"/><Relationship Id="rId3" Type="http://schemas.openxmlformats.org/officeDocument/2006/relationships/image" Target="../media/image61.png"/><Relationship Id="rId7" Type="http://schemas.openxmlformats.org/officeDocument/2006/relationships/image" Target="../media/image65.png"/><Relationship Id="rId12" Type="http://schemas.openxmlformats.org/officeDocument/2006/relationships/image" Target="../media/image70.png"/><Relationship Id="rId17" Type="http://schemas.openxmlformats.org/officeDocument/2006/relationships/image" Target="../media/image75.png"/><Relationship Id="rId2" Type="http://schemas.openxmlformats.org/officeDocument/2006/relationships/notesSlide" Target="../notesSlides/notesSlide16.xml"/><Relationship Id="rId16" Type="http://schemas.openxmlformats.org/officeDocument/2006/relationships/image" Target="../media/image74.png"/><Relationship Id="rId1" Type="http://schemas.openxmlformats.org/officeDocument/2006/relationships/slideLayout" Target="../slideLayouts/slideLayout414.xml"/><Relationship Id="rId6" Type="http://schemas.openxmlformats.org/officeDocument/2006/relationships/image" Target="../media/image64.png"/><Relationship Id="rId11" Type="http://schemas.openxmlformats.org/officeDocument/2006/relationships/image" Target="../media/image69.png"/><Relationship Id="rId5" Type="http://schemas.openxmlformats.org/officeDocument/2006/relationships/image" Target="../media/image63.png"/><Relationship Id="rId15" Type="http://schemas.openxmlformats.org/officeDocument/2006/relationships/image" Target="../media/image73.png"/><Relationship Id="rId10" Type="http://schemas.openxmlformats.org/officeDocument/2006/relationships/image" Target="../media/image68.png"/><Relationship Id="rId4" Type="http://schemas.openxmlformats.org/officeDocument/2006/relationships/image" Target="../media/image62.png"/><Relationship Id="rId9" Type="http://schemas.openxmlformats.org/officeDocument/2006/relationships/image" Target="../media/image67.png"/><Relationship Id="rId14" Type="http://schemas.openxmlformats.org/officeDocument/2006/relationships/image" Target="../media/image72.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xml"/><Relationship Id="rId1" Type="http://schemas.openxmlformats.org/officeDocument/2006/relationships/slideLayout" Target="../slideLayouts/slideLayout39.xml"/></Relationships>
</file>

<file path=ppt/slides/_rels/slide20.xml.rels><?xml version="1.0" encoding="UTF-8" standalone="yes"?>
<Relationships xmlns="http://schemas.openxmlformats.org/package/2006/relationships"><Relationship Id="rId3" Type="http://schemas.openxmlformats.org/officeDocument/2006/relationships/image" Target="../media/image76.emf"/><Relationship Id="rId7" Type="http://schemas.openxmlformats.org/officeDocument/2006/relationships/image" Target="../media/image79.emf"/><Relationship Id="rId2" Type="http://schemas.openxmlformats.org/officeDocument/2006/relationships/notesSlide" Target="../notesSlides/notesSlide17.xml"/><Relationship Id="rId1" Type="http://schemas.openxmlformats.org/officeDocument/2006/relationships/slideLayout" Target="../slideLayouts/slideLayout234.xml"/><Relationship Id="rId6" Type="http://schemas.openxmlformats.org/officeDocument/2006/relationships/image" Target="../media/image78.emf"/><Relationship Id="rId5" Type="http://schemas.openxmlformats.org/officeDocument/2006/relationships/image" Target="../media/image38.emf"/><Relationship Id="rId4" Type="http://schemas.openxmlformats.org/officeDocument/2006/relationships/image" Target="../media/image77.emf"/></Relationships>
</file>

<file path=ppt/slides/_rels/slide21.xml.rels><?xml version="1.0" encoding="UTF-8" standalone="yes"?>
<Relationships xmlns="http://schemas.openxmlformats.org/package/2006/relationships"><Relationship Id="rId3" Type="http://schemas.openxmlformats.org/officeDocument/2006/relationships/image" Target="../media/image76.emf"/><Relationship Id="rId7" Type="http://schemas.openxmlformats.org/officeDocument/2006/relationships/image" Target="../media/image79.emf"/><Relationship Id="rId2" Type="http://schemas.openxmlformats.org/officeDocument/2006/relationships/notesSlide" Target="../notesSlides/notesSlide18.xml"/><Relationship Id="rId1" Type="http://schemas.openxmlformats.org/officeDocument/2006/relationships/slideLayout" Target="../slideLayouts/slideLayout234.xml"/><Relationship Id="rId6" Type="http://schemas.openxmlformats.org/officeDocument/2006/relationships/image" Target="../media/image78.emf"/><Relationship Id="rId5" Type="http://schemas.openxmlformats.org/officeDocument/2006/relationships/image" Target="../media/image38.emf"/><Relationship Id="rId4" Type="http://schemas.openxmlformats.org/officeDocument/2006/relationships/image" Target="../media/image77.emf"/></Relationships>
</file>

<file path=ppt/slides/_rels/slide22.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90.png"/><Relationship Id="rId3" Type="http://schemas.openxmlformats.org/officeDocument/2006/relationships/image" Target="../media/image80.png"/><Relationship Id="rId7" Type="http://schemas.openxmlformats.org/officeDocument/2006/relationships/image" Target="../media/image84.png"/><Relationship Id="rId12" Type="http://schemas.openxmlformats.org/officeDocument/2006/relationships/image" Target="../media/image89.png"/><Relationship Id="rId2" Type="http://schemas.openxmlformats.org/officeDocument/2006/relationships/notesSlide" Target="../notesSlides/notesSlide19.xml"/><Relationship Id="rId1" Type="http://schemas.openxmlformats.org/officeDocument/2006/relationships/slideLayout" Target="../slideLayouts/slideLayout255.xml"/><Relationship Id="rId6" Type="http://schemas.openxmlformats.org/officeDocument/2006/relationships/image" Target="../media/image83.png"/><Relationship Id="rId11" Type="http://schemas.openxmlformats.org/officeDocument/2006/relationships/image" Target="../media/image88.png"/><Relationship Id="rId5" Type="http://schemas.openxmlformats.org/officeDocument/2006/relationships/image" Target="../media/image82.png"/><Relationship Id="rId15" Type="http://schemas.openxmlformats.org/officeDocument/2006/relationships/image" Target="../media/image92.png"/><Relationship Id="rId10" Type="http://schemas.openxmlformats.org/officeDocument/2006/relationships/image" Target="../media/image87.png"/><Relationship Id="rId4" Type="http://schemas.openxmlformats.org/officeDocument/2006/relationships/image" Target="../media/image81.emf"/><Relationship Id="rId9" Type="http://schemas.openxmlformats.org/officeDocument/2006/relationships/image" Target="../media/image86.png"/><Relationship Id="rId14" Type="http://schemas.openxmlformats.org/officeDocument/2006/relationships/image" Target="../media/image91.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24.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0.xml"/><Relationship Id="rId1" Type="http://schemas.openxmlformats.org/officeDocument/2006/relationships/slideLayout" Target="../slideLayouts/slideLayout234.xml"/></Relationships>
</file>

<file path=ppt/slides/_rels/slide25.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21.xml"/><Relationship Id="rId1" Type="http://schemas.openxmlformats.org/officeDocument/2006/relationships/slideLayout" Target="../slideLayouts/slideLayout234.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34.xml"/><Relationship Id="rId1" Type="http://schemas.openxmlformats.org/officeDocument/2006/relationships/tags" Target="../tags/tag5.xml"/><Relationship Id="rId6" Type="http://schemas.openxmlformats.org/officeDocument/2006/relationships/image" Target="../media/image96.png"/><Relationship Id="rId5" Type="http://schemas.openxmlformats.org/officeDocument/2006/relationships/hyperlink" Target="https://youtu.be/TSdicQh0dTI" TargetMode="External"/><Relationship Id="rId4" Type="http://schemas.openxmlformats.org/officeDocument/2006/relationships/image" Target="../media/image95.png"/></Relationships>
</file>

<file path=ppt/slides/_rels/slide27.xml.rels><?xml version="1.0" encoding="UTF-8" standalone="yes"?>
<Relationships xmlns="http://schemas.openxmlformats.org/package/2006/relationships"><Relationship Id="rId8" Type="http://schemas.openxmlformats.org/officeDocument/2006/relationships/image" Target="../media/image101.jpeg"/><Relationship Id="rId3" Type="http://schemas.openxmlformats.org/officeDocument/2006/relationships/hyperlink" Target="http://www.bismart.com/" TargetMode="External"/><Relationship Id="rId7" Type="http://schemas.openxmlformats.org/officeDocument/2006/relationships/image" Target="../media/image100.png"/><Relationship Id="rId2" Type="http://schemas.openxmlformats.org/officeDocument/2006/relationships/notesSlide" Target="../notesSlides/notesSlide23.xml"/><Relationship Id="rId1" Type="http://schemas.openxmlformats.org/officeDocument/2006/relationships/slideLayout" Target="../slideLayouts/slideLayout131.xml"/><Relationship Id="rId6" Type="http://schemas.openxmlformats.org/officeDocument/2006/relationships/image" Target="../media/image99.jpeg"/><Relationship Id="rId5" Type="http://schemas.openxmlformats.org/officeDocument/2006/relationships/image" Target="../media/image98.jpeg"/><Relationship Id="rId4" Type="http://schemas.openxmlformats.org/officeDocument/2006/relationships/image" Target="../media/image97.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86.xml"/></Relationships>
</file>

<file path=ppt/slides/_rels/slide2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hyperlink" Target="http://www.powerbi.com/" TargetMode="External"/><Relationship Id="rId1" Type="http://schemas.openxmlformats.org/officeDocument/2006/relationships/slideLayout" Target="../slideLayouts/slideLayout15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8.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01.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373.xml"/><Relationship Id="rId7" Type="http://schemas.openxmlformats.org/officeDocument/2006/relationships/image" Target="../media/image102.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7.emf"/><Relationship Id="rId5" Type="http://schemas.openxmlformats.org/officeDocument/2006/relationships/oleObject" Target="../embeddings/oleObject5.bin"/><Relationship Id="rId4" Type="http://schemas.openxmlformats.org/officeDocument/2006/relationships/notesSlide" Target="../notesSlides/notesSlide26.xml"/></Relationships>
</file>

<file path=ppt/slides/_rels/slide34.xml.rels><?xml version="1.0" encoding="UTF-8" standalone="yes"?>
<Relationships xmlns="http://schemas.openxmlformats.org/package/2006/relationships"><Relationship Id="rId3" Type="http://schemas.openxmlformats.org/officeDocument/2006/relationships/image" Target="../media/image103.emf"/><Relationship Id="rId2" Type="http://schemas.openxmlformats.org/officeDocument/2006/relationships/notesSlide" Target="../notesSlides/notesSlide27.xml"/><Relationship Id="rId1" Type="http://schemas.openxmlformats.org/officeDocument/2006/relationships/slideLayout" Target="../slideLayouts/slideLayout86.xml"/></Relationships>
</file>

<file path=ppt/slides/_rels/slide3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8.xml"/><Relationship Id="rId1" Type="http://schemas.openxmlformats.org/officeDocument/2006/relationships/slideLayout" Target="../slideLayouts/slideLayout86.xml"/><Relationship Id="rId4" Type="http://schemas.openxmlformats.org/officeDocument/2006/relationships/image" Target="../media/image103.emf"/></Relationships>
</file>

<file path=ppt/slides/_rels/slide36.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29.xml"/><Relationship Id="rId1" Type="http://schemas.openxmlformats.org/officeDocument/2006/relationships/slideLayout" Target="../slideLayouts/slideLayout225.xml"/></Relationships>
</file>

<file path=ppt/slides/_rels/slide37.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notesSlide" Target="../notesSlides/notesSlide30.xml"/><Relationship Id="rId1" Type="http://schemas.openxmlformats.org/officeDocument/2006/relationships/slideLayout" Target="../slideLayouts/slideLayout23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99.xml"/></Relationships>
</file>

<file path=ppt/slides/_rels/slide39.xml.rels><?xml version="1.0" encoding="UTF-8" standalone="yes"?>
<Relationships xmlns="http://schemas.openxmlformats.org/package/2006/relationships"><Relationship Id="rId8" Type="http://schemas.openxmlformats.org/officeDocument/2006/relationships/image" Target="../media/image111.png"/><Relationship Id="rId13" Type="http://schemas.openxmlformats.org/officeDocument/2006/relationships/image" Target="../media/image116.png"/><Relationship Id="rId3" Type="http://schemas.openxmlformats.org/officeDocument/2006/relationships/image" Target="../media/image106.png"/><Relationship Id="rId7" Type="http://schemas.openxmlformats.org/officeDocument/2006/relationships/image" Target="../media/image110.png"/><Relationship Id="rId12" Type="http://schemas.openxmlformats.org/officeDocument/2006/relationships/image" Target="../media/image115.png"/><Relationship Id="rId2" Type="http://schemas.openxmlformats.org/officeDocument/2006/relationships/notesSlide" Target="../notesSlides/notesSlide32.xml"/><Relationship Id="rId1" Type="http://schemas.openxmlformats.org/officeDocument/2006/relationships/slideLayout" Target="../slideLayouts/slideLayout399.xml"/><Relationship Id="rId6" Type="http://schemas.openxmlformats.org/officeDocument/2006/relationships/image" Target="../media/image109.png"/><Relationship Id="rId11" Type="http://schemas.openxmlformats.org/officeDocument/2006/relationships/image" Target="../media/image114.png"/><Relationship Id="rId5" Type="http://schemas.openxmlformats.org/officeDocument/2006/relationships/image" Target="../media/image108.png"/><Relationship Id="rId10" Type="http://schemas.openxmlformats.org/officeDocument/2006/relationships/image" Target="../media/image113.png"/><Relationship Id="rId4" Type="http://schemas.openxmlformats.org/officeDocument/2006/relationships/image" Target="../media/image107.png"/><Relationship Id="rId9" Type="http://schemas.openxmlformats.org/officeDocument/2006/relationships/image" Target="../media/image112.png"/><Relationship Id="rId14" Type="http://schemas.openxmlformats.org/officeDocument/2006/relationships/image" Target="../media/image117.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30.xml"/></Relationships>
</file>

<file path=ppt/slides/_rels/slide40.xml.rels><?xml version="1.0" encoding="UTF-8" standalone="yes"?>
<Relationships xmlns="http://schemas.openxmlformats.org/package/2006/relationships"><Relationship Id="rId8" Type="http://schemas.openxmlformats.org/officeDocument/2006/relationships/image" Target="../media/image123.png"/><Relationship Id="rId3" Type="http://schemas.openxmlformats.org/officeDocument/2006/relationships/image" Target="../media/image118.png"/><Relationship Id="rId7" Type="http://schemas.openxmlformats.org/officeDocument/2006/relationships/image" Target="../media/image122.png"/><Relationship Id="rId2" Type="http://schemas.openxmlformats.org/officeDocument/2006/relationships/notesSlide" Target="../notesSlides/notesSlide33.xml"/><Relationship Id="rId1" Type="http://schemas.openxmlformats.org/officeDocument/2006/relationships/slideLayout" Target="../slideLayouts/slideLayout399.xml"/><Relationship Id="rId6" Type="http://schemas.openxmlformats.org/officeDocument/2006/relationships/image" Target="../media/image121.png"/><Relationship Id="rId11" Type="http://schemas.openxmlformats.org/officeDocument/2006/relationships/image" Target="../media/image117.png"/><Relationship Id="rId5" Type="http://schemas.openxmlformats.org/officeDocument/2006/relationships/image" Target="../media/image120.png"/><Relationship Id="rId10" Type="http://schemas.openxmlformats.org/officeDocument/2006/relationships/image" Target="../media/image116.png"/><Relationship Id="rId4" Type="http://schemas.openxmlformats.org/officeDocument/2006/relationships/image" Target="../media/image119.png"/><Relationship Id="rId9" Type="http://schemas.openxmlformats.org/officeDocument/2006/relationships/image" Target="../media/image124.png"/></Relationships>
</file>

<file path=ppt/slides/_rels/slide41.xml.rels><?xml version="1.0" encoding="UTF-8" standalone="yes"?>
<Relationships xmlns="http://schemas.openxmlformats.org/package/2006/relationships"><Relationship Id="rId8" Type="http://schemas.openxmlformats.org/officeDocument/2006/relationships/image" Target="../media/image113.png"/><Relationship Id="rId3" Type="http://schemas.openxmlformats.org/officeDocument/2006/relationships/image" Target="../media/image108.png"/><Relationship Id="rId7" Type="http://schemas.openxmlformats.org/officeDocument/2006/relationships/image" Target="../media/image125.png"/><Relationship Id="rId12" Type="http://schemas.openxmlformats.org/officeDocument/2006/relationships/image" Target="../media/image117.png"/><Relationship Id="rId2" Type="http://schemas.openxmlformats.org/officeDocument/2006/relationships/notesSlide" Target="../notesSlides/notesSlide34.xml"/><Relationship Id="rId1" Type="http://schemas.openxmlformats.org/officeDocument/2006/relationships/slideLayout" Target="../slideLayouts/slideLayout399.xml"/><Relationship Id="rId6" Type="http://schemas.openxmlformats.org/officeDocument/2006/relationships/image" Target="../media/image111.png"/><Relationship Id="rId11" Type="http://schemas.openxmlformats.org/officeDocument/2006/relationships/image" Target="../media/image116.png"/><Relationship Id="rId5" Type="http://schemas.openxmlformats.org/officeDocument/2006/relationships/image" Target="../media/image110.png"/><Relationship Id="rId10" Type="http://schemas.openxmlformats.org/officeDocument/2006/relationships/image" Target="../media/image127.png"/><Relationship Id="rId4" Type="http://schemas.openxmlformats.org/officeDocument/2006/relationships/image" Target="../media/image109.png"/><Relationship Id="rId9" Type="http://schemas.openxmlformats.org/officeDocument/2006/relationships/image" Target="../media/image126.png"/></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456.xml"/><Relationship Id="rId7" Type="http://schemas.openxmlformats.org/officeDocument/2006/relationships/image" Target="../media/image128.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27.emf"/><Relationship Id="rId5" Type="http://schemas.openxmlformats.org/officeDocument/2006/relationships/oleObject" Target="../embeddings/oleObject6.bin"/><Relationship Id="rId4" Type="http://schemas.openxmlformats.org/officeDocument/2006/relationships/notesSlide" Target="../notesSlides/notesSlide35.xml"/></Relationships>
</file>

<file path=ppt/slides/_rels/slide43.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36.xml"/><Relationship Id="rId1" Type="http://schemas.openxmlformats.org/officeDocument/2006/relationships/slideLayout" Target="../slideLayouts/slideLayout456.xml"/><Relationship Id="rId4" Type="http://schemas.openxmlformats.org/officeDocument/2006/relationships/image" Target="../media/image130.png"/></Relationships>
</file>

<file path=ppt/slides/_rels/slide44.xml.rels><?xml version="1.0" encoding="UTF-8" standalone="yes"?>
<Relationships xmlns="http://schemas.openxmlformats.org/package/2006/relationships"><Relationship Id="rId8" Type="http://schemas.openxmlformats.org/officeDocument/2006/relationships/image" Target="../media/image64.png"/><Relationship Id="rId13" Type="http://schemas.openxmlformats.org/officeDocument/2006/relationships/image" Target="../media/image69.png"/><Relationship Id="rId18" Type="http://schemas.openxmlformats.org/officeDocument/2006/relationships/image" Target="../media/image74.png"/><Relationship Id="rId3" Type="http://schemas.openxmlformats.org/officeDocument/2006/relationships/image" Target="../media/image131.png"/><Relationship Id="rId7" Type="http://schemas.openxmlformats.org/officeDocument/2006/relationships/image" Target="../media/image63.png"/><Relationship Id="rId12" Type="http://schemas.openxmlformats.org/officeDocument/2006/relationships/image" Target="../media/image68.png"/><Relationship Id="rId17" Type="http://schemas.openxmlformats.org/officeDocument/2006/relationships/image" Target="../media/image73.png"/><Relationship Id="rId2" Type="http://schemas.openxmlformats.org/officeDocument/2006/relationships/notesSlide" Target="../notesSlides/notesSlide37.xml"/><Relationship Id="rId16" Type="http://schemas.openxmlformats.org/officeDocument/2006/relationships/image" Target="../media/image72.png"/><Relationship Id="rId1" Type="http://schemas.openxmlformats.org/officeDocument/2006/relationships/slideLayout" Target="../slideLayouts/slideLayout414.xml"/><Relationship Id="rId6" Type="http://schemas.openxmlformats.org/officeDocument/2006/relationships/image" Target="../media/image62.png"/><Relationship Id="rId11" Type="http://schemas.openxmlformats.org/officeDocument/2006/relationships/image" Target="../media/image67.png"/><Relationship Id="rId5" Type="http://schemas.openxmlformats.org/officeDocument/2006/relationships/image" Target="../media/image61.png"/><Relationship Id="rId15" Type="http://schemas.openxmlformats.org/officeDocument/2006/relationships/image" Target="../media/image71.png"/><Relationship Id="rId10" Type="http://schemas.openxmlformats.org/officeDocument/2006/relationships/image" Target="../media/image66.png"/><Relationship Id="rId19" Type="http://schemas.openxmlformats.org/officeDocument/2006/relationships/image" Target="../media/image75.png"/><Relationship Id="rId4" Type="http://schemas.openxmlformats.org/officeDocument/2006/relationships/image" Target="../media/image132.png"/><Relationship Id="rId9" Type="http://schemas.openxmlformats.org/officeDocument/2006/relationships/image" Target="../media/image65.png"/><Relationship Id="rId14" Type="http://schemas.openxmlformats.org/officeDocument/2006/relationships/image" Target="../media/image70.png"/></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488.xml"/><Relationship Id="rId7" Type="http://schemas.openxmlformats.org/officeDocument/2006/relationships/image" Target="../media/image102.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27.emf"/><Relationship Id="rId5" Type="http://schemas.openxmlformats.org/officeDocument/2006/relationships/oleObject" Target="../embeddings/oleObject7.bin"/><Relationship Id="rId4" Type="http://schemas.openxmlformats.org/officeDocument/2006/relationships/notesSlide" Target="../notesSlides/notesSlide38.xml"/></Relationships>
</file>

<file path=ppt/slides/_rels/slide46.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slideLayout" Target="../slideLayouts/slideLayout461.xml"/><Relationship Id="rId18" Type="http://schemas.openxmlformats.org/officeDocument/2006/relationships/image" Target="../media/image136.emf"/><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image" Target="../media/image135.emf"/><Relationship Id="rId2" Type="http://schemas.openxmlformats.org/officeDocument/2006/relationships/tags" Target="../tags/tag10.xml"/><Relationship Id="rId16" Type="http://schemas.openxmlformats.org/officeDocument/2006/relationships/image" Target="../media/image134.png"/><Relationship Id="rId1" Type="http://schemas.openxmlformats.org/officeDocument/2006/relationships/tags" Target="../tags/tag9.xml"/><Relationship Id="rId6" Type="http://schemas.openxmlformats.org/officeDocument/2006/relationships/tags" Target="../tags/tag14.xml"/><Relationship Id="rId11" Type="http://schemas.openxmlformats.org/officeDocument/2006/relationships/tags" Target="../tags/tag19.xml"/><Relationship Id="rId5" Type="http://schemas.openxmlformats.org/officeDocument/2006/relationships/tags" Target="../tags/tag13.xml"/><Relationship Id="rId15" Type="http://schemas.openxmlformats.org/officeDocument/2006/relationships/image" Target="../media/image133.png"/><Relationship Id="rId10" Type="http://schemas.openxmlformats.org/officeDocument/2006/relationships/tags" Target="../tags/tag18.xml"/><Relationship Id="rId19" Type="http://schemas.openxmlformats.org/officeDocument/2006/relationships/image" Target="../media/image137.emf"/><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notesSlide" Target="../notesSlides/notesSlide39.xml"/></Relationships>
</file>

<file path=ppt/slides/_rels/slide5.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5.xml"/><Relationship Id="rId1" Type="http://schemas.openxmlformats.org/officeDocument/2006/relationships/slideLayout" Target="../slideLayouts/slideLayout356.xml"/></Relationships>
</file>

<file path=ppt/slides/_rels/slide6.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36.emf"/><Relationship Id="rId1" Type="http://schemas.openxmlformats.org/officeDocument/2006/relationships/slideLayout" Target="../slideLayouts/slideLayout366.xml"/><Relationship Id="rId4" Type="http://schemas.openxmlformats.org/officeDocument/2006/relationships/image" Target="../media/image38.emf"/></Relationships>
</file>

<file path=ppt/slides/_rels/slide7.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6.xml"/><Relationship Id="rId1" Type="http://schemas.openxmlformats.org/officeDocument/2006/relationships/slideLayout" Target="../slideLayouts/slideLayout366.xml"/><Relationship Id="rId4" Type="http://schemas.openxmlformats.org/officeDocument/2006/relationships/image" Target="../media/image40.png"/></Relationships>
</file>

<file path=ppt/slides/_rels/slide8.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7.xml"/><Relationship Id="rId1" Type="http://schemas.openxmlformats.org/officeDocument/2006/relationships/slideLayout" Target="../slideLayouts/slideLayout86.xml"/><Relationship Id="rId6" Type="http://schemas.openxmlformats.org/officeDocument/2006/relationships/image" Target="../media/image44.emf"/><Relationship Id="rId5" Type="http://schemas.openxmlformats.org/officeDocument/2006/relationships/image" Target="../media/image43.emf"/><Relationship Id="rId4" Type="http://schemas.openxmlformats.org/officeDocument/2006/relationships/image" Target="../media/image42.em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60325" y="6626"/>
            <a:ext cx="12496800" cy="7010400"/>
          </a:xfrm>
          <a:prstGeom prst="rect">
            <a:avLst/>
          </a:prstGeom>
        </p:spPr>
      </p:pic>
      <p:sp>
        <p:nvSpPr>
          <p:cNvPr id="7" name="Rectangle 6"/>
          <p:cNvSpPr/>
          <p:nvPr/>
        </p:nvSpPr>
        <p:spPr bwMode="auto">
          <a:xfrm>
            <a:off x="275481" y="724759"/>
            <a:ext cx="5485622" cy="5485622"/>
          </a:xfrm>
          <a:prstGeom prst="rect">
            <a:avLst/>
          </a:prstGeom>
          <a:solidFill>
            <a:srgbClr val="F2C811">
              <a:alpha val="9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8" name="Title 1"/>
          <p:cNvSpPr txBox="1">
            <a:spLocks/>
          </p:cNvSpPr>
          <p:nvPr/>
        </p:nvSpPr>
        <p:spPr>
          <a:xfrm>
            <a:off x="485985" y="1999451"/>
            <a:ext cx="4619416" cy="2179777"/>
          </a:xfrm>
          <a:prstGeom prst="rect">
            <a:avLst/>
          </a:prstGeom>
        </p:spPr>
        <p:txBody>
          <a:bodyPr lIns="146283" tIns="91427" rIns="146283" bIns="91427"/>
          <a:lstStyle>
            <a:lvl1pPr algn="l" defTabSz="932742" rtl="0" eaLnBrk="1" latinLnBrk="0" hangingPunct="1">
              <a:lnSpc>
                <a:spcPct val="90000"/>
              </a:lnSpc>
              <a:spcBef>
                <a:spcPct val="0"/>
              </a:spcBef>
              <a:buNone/>
              <a:defRPr lang="en-US" sz="6000" b="0" kern="1200" cap="none" spc="-102" baseline="0">
                <a:ln w="3175">
                  <a:noFill/>
                </a:ln>
                <a:solidFill>
                  <a:schemeClr val="bg1"/>
                </a:solidFill>
                <a:effectLst/>
                <a:latin typeface="+mj-lt"/>
                <a:ea typeface="+mn-ea"/>
                <a:cs typeface="Segoe UI" pitchFamily="34" charset="0"/>
              </a:defRPr>
            </a:lvl1pPr>
          </a:lstStyle>
          <a:p>
            <a:r>
              <a:rPr lang="en-US" sz="4400" dirty="0">
                <a:solidFill>
                  <a:schemeClr val="tx2">
                    <a:lumMod val="10000"/>
                  </a:schemeClr>
                </a:solidFill>
              </a:rPr>
              <a:t>Embracing the Hybrid Cloud using Power BI in CSP</a:t>
            </a:r>
          </a:p>
        </p:txBody>
      </p:sp>
      <p:pic>
        <p:nvPicPr>
          <p:cNvPr id="10" name="Picture 9"/>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39241" y="920346"/>
            <a:ext cx="1303938" cy="285724"/>
          </a:xfrm>
          <a:prstGeom prst="rect">
            <a:avLst/>
          </a:prstGeom>
        </p:spPr>
      </p:pic>
      <p:sp>
        <p:nvSpPr>
          <p:cNvPr id="11" name="Title 1"/>
          <p:cNvSpPr txBox="1">
            <a:spLocks/>
          </p:cNvSpPr>
          <p:nvPr/>
        </p:nvSpPr>
        <p:spPr>
          <a:xfrm>
            <a:off x="561641" y="3071331"/>
            <a:ext cx="4930976" cy="1284123"/>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solidFill>
                  <a:schemeClr val="tx2"/>
                </a:solidFill>
                <a:effectLst/>
                <a:latin typeface="+mj-lt"/>
                <a:ea typeface="+mn-ea"/>
                <a:cs typeface="Segoe UI" pitchFamily="34" charset="0"/>
              </a:defRPr>
            </a:lvl1pPr>
          </a:lstStyle>
          <a:p>
            <a:endParaRPr lang="en-US" sz="2800" dirty="0">
              <a:solidFill>
                <a:schemeClr val="bg1"/>
              </a:solidFill>
            </a:endParaRPr>
          </a:p>
        </p:txBody>
      </p:sp>
      <p:sp>
        <p:nvSpPr>
          <p:cNvPr id="12" name="Title 1"/>
          <p:cNvSpPr txBox="1">
            <a:spLocks/>
          </p:cNvSpPr>
          <p:nvPr/>
        </p:nvSpPr>
        <p:spPr>
          <a:xfrm>
            <a:off x="552804" y="4143212"/>
            <a:ext cx="4930976" cy="1284123"/>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solidFill>
                  <a:schemeClr val="tx2"/>
                </a:solidFill>
                <a:effectLst/>
                <a:latin typeface="+mj-lt"/>
                <a:ea typeface="+mn-ea"/>
                <a:cs typeface="Segoe UI" pitchFamily="34" charset="0"/>
              </a:defRPr>
            </a:lvl1pPr>
          </a:lstStyle>
          <a:p>
            <a:r>
              <a:rPr lang="en-US" sz="2720" dirty="0">
                <a:solidFill>
                  <a:schemeClr val="tx2">
                    <a:lumMod val="10000"/>
                  </a:schemeClr>
                </a:solidFill>
              </a:rPr>
              <a:t>Name</a:t>
            </a:r>
            <a:br>
              <a:rPr lang="en-US" sz="2720" dirty="0">
                <a:solidFill>
                  <a:schemeClr val="tx2">
                    <a:lumMod val="10000"/>
                  </a:schemeClr>
                </a:solidFill>
              </a:rPr>
            </a:br>
            <a:r>
              <a:rPr lang="en-US" sz="2720" dirty="0">
                <a:solidFill>
                  <a:schemeClr val="tx2">
                    <a:lumMod val="10000"/>
                  </a:schemeClr>
                </a:solidFill>
              </a:rPr>
              <a:t>Role</a:t>
            </a:r>
          </a:p>
          <a:p>
            <a:r>
              <a:rPr lang="en-US" sz="2720" dirty="0">
                <a:solidFill>
                  <a:schemeClr val="tx2">
                    <a:lumMod val="10000"/>
                  </a:schemeClr>
                </a:solidFill>
              </a:rPr>
              <a:t>Group</a:t>
            </a:r>
          </a:p>
        </p:txBody>
      </p:sp>
    </p:spTree>
    <p:extLst>
      <p:ext uri="{BB962C8B-B14F-4D97-AF65-F5344CB8AC3E}">
        <p14:creationId xmlns:p14="http://schemas.microsoft.com/office/powerpoint/2010/main" val="1754452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nvSpPr>
        <p:spPr bwMode="auto">
          <a:xfrm>
            <a:off x="8268293" y="1927425"/>
            <a:ext cx="3787757" cy="4465236"/>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4" name="Rectangle 33"/>
          <p:cNvSpPr/>
          <p:nvPr/>
        </p:nvSpPr>
        <p:spPr bwMode="auto">
          <a:xfrm>
            <a:off x="4353406" y="1927425"/>
            <a:ext cx="3787757" cy="4465236"/>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8" name="Rectangle 47" hidden="1"/>
          <p:cNvSpPr/>
          <p:nvPr/>
        </p:nvSpPr>
        <p:spPr bwMode="auto">
          <a:xfrm>
            <a:off x="0" y="1739899"/>
            <a:ext cx="12436475" cy="52546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2" name="Rectangle 61"/>
          <p:cNvSpPr/>
          <p:nvPr/>
        </p:nvSpPr>
        <p:spPr bwMode="auto">
          <a:xfrm>
            <a:off x="398819" y="1927425"/>
            <a:ext cx="3787757" cy="4465236"/>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3" name="Picture 2" hidden="1"/>
          <p:cNvPicPr>
            <a:picLocks noChangeAspect="1"/>
          </p:cNvPicPr>
          <p:nvPr/>
        </p:nvPicPr>
        <p:blipFill>
          <a:blip r:embed="rId3"/>
          <a:stretch>
            <a:fillRect/>
          </a:stretch>
        </p:blipFill>
        <p:spPr>
          <a:xfrm>
            <a:off x="5645407" y="2885021"/>
            <a:ext cx="1137663" cy="1066913"/>
          </a:xfrm>
          <a:prstGeom prst="rect">
            <a:avLst/>
          </a:prstGeom>
        </p:spPr>
      </p:pic>
      <p:sp>
        <p:nvSpPr>
          <p:cNvPr id="51" name="TextBox 50" hidden="1"/>
          <p:cNvSpPr txBox="1"/>
          <p:nvPr/>
        </p:nvSpPr>
        <p:spPr>
          <a:xfrm>
            <a:off x="7478845" y="4607279"/>
            <a:ext cx="2303510" cy="891142"/>
          </a:xfrm>
          <a:prstGeom prst="rect">
            <a:avLst/>
          </a:prstGeom>
          <a:noFill/>
        </p:spPr>
        <p:txBody>
          <a:bodyPr wrap="square" lIns="0" tIns="0" rIns="0" bIns="0" rtlCol="0" anchor="ctr" anchorCtr="0">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dirty="0">
                <a:ln>
                  <a:noFill/>
                </a:ln>
                <a:solidFill>
                  <a:schemeClr val="bg1"/>
                </a:solidFill>
                <a:effectLst/>
                <a:uLnTx/>
                <a:uFillTx/>
              </a:rPr>
              <a:t>Get started with </a:t>
            </a:r>
            <a:br>
              <a:rPr kumimoji="0" lang="en-US" sz="1600" b="0" i="0" u="none" strike="noStrike" kern="0" cap="none" spc="0" normalizeH="0" baseline="0" noProof="0" dirty="0">
                <a:ln>
                  <a:noFill/>
                </a:ln>
                <a:solidFill>
                  <a:schemeClr val="bg1"/>
                </a:solidFill>
                <a:effectLst/>
                <a:uLnTx/>
                <a:uFillTx/>
              </a:rPr>
            </a:br>
            <a:r>
              <a:rPr kumimoji="0" lang="en-US" sz="1600" b="0" i="0" u="none" strike="noStrike" kern="0" cap="none" spc="0" normalizeH="0" baseline="0" noProof="0" dirty="0">
                <a:ln>
                  <a:noFill/>
                </a:ln>
                <a:solidFill>
                  <a:schemeClr val="bg1"/>
                </a:solidFill>
                <a:effectLst/>
                <a:uLnTx/>
                <a:uFillTx/>
              </a:rPr>
              <a:t>Azure quickly </a:t>
            </a:r>
            <a:br>
              <a:rPr kumimoji="0" lang="en-US" sz="1600" b="0" i="0" u="none" strike="noStrike" kern="0" cap="none" spc="0" normalizeH="0" baseline="0" noProof="0" dirty="0">
                <a:ln>
                  <a:noFill/>
                </a:ln>
                <a:solidFill>
                  <a:schemeClr val="bg1"/>
                </a:solidFill>
                <a:effectLst/>
                <a:uLnTx/>
                <a:uFillTx/>
              </a:rPr>
            </a:br>
            <a:r>
              <a:rPr kumimoji="0" lang="en-US" sz="1600" b="0" i="0" u="none" strike="noStrike" kern="0" cap="none" spc="0" normalizeH="0" baseline="0" noProof="0" dirty="0">
                <a:ln>
                  <a:noFill/>
                </a:ln>
                <a:solidFill>
                  <a:schemeClr val="bg1"/>
                </a:solidFill>
                <a:effectLst/>
                <a:uLnTx/>
                <a:uFillTx/>
              </a:rPr>
              <a:t>and easily</a:t>
            </a:r>
          </a:p>
        </p:txBody>
      </p:sp>
      <p:sp>
        <p:nvSpPr>
          <p:cNvPr id="40" name="Title 1"/>
          <p:cNvSpPr>
            <a:spLocks noGrp="1"/>
          </p:cNvSpPr>
          <p:nvPr>
            <p:ph type="title"/>
          </p:nvPr>
        </p:nvSpPr>
        <p:spPr>
          <a:xfrm>
            <a:off x="274320" y="296897"/>
            <a:ext cx="11889564" cy="917575"/>
          </a:xfrm>
        </p:spPr>
        <p:txBody>
          <a:bodyPr/>
          <a:lstStyle/>
          <a:p>
            <a:r>
              <a:rPr lang="en-US" dirty="0">
                <a:solidFill>
                  <a:schemeClr val="tx1">
                    <a:lumMod val="50000"/>
                  </a:schemeClr>
                </a:solidFill>
              </a:rPr>
              <a:t>Leverage Power BI capabilities</a:t>
            </a:r>
          </a:p>
        </p:txBody>
      </p:sp>
      <p:sp>
        <p:nvSpPr>
          <p:cNvPr id="41" name="Title 1"/>
          <p:cNvSpPr txBox="1">
            <a:spLocks/>
          </p:cNvSpPr>
          <p:nvPr/>
        </p:nvSpPr>
        <p:spPr>
          <a:xfrm>
            <a:off x="274320" y="1058826"/>
            <a:ext cx="11889564" cy="519717"/>
          </a:xfrm>
          <a:prstGeom prst="rect">
            <a:avLst/>
          </a:prstGeom>
        </p:spPr>
        <p:txBody>
          <a:bodyPr vert="horz" wrap="square" lIns="155448" tIns="91440" rIns="146304" bIns="91440"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102" normalizeH="0" baseline="0" noProof="0" dirty="0">
                <a:ln w="3175">
                  <a:noFill/>
                </a:ln>
                <a:solidFill>
                  <a:schemeClr val="tx1">
                    <a:lumMod val="50000"/>
                  </a:schemeClr>
                </a:solidFill>
                <a:effectLst/>
                <a:uLnTx/>
                <a:uFillTx/>
                <a:ea typeface="+mn-ea"/>
                <a:cs typeface="Segoe UI" pitchFamily="34" charset="0"/>
              </a:rPr>
              <a:t>Via the Cloud Solution Provider (CSP) program</a:t>
            </a:r>
          </a:p>
        </p:txBody>
      </p:sp>
      <p:sp>
        <p:nvSpPr>
          <p:cNvPr id="11" name="TextBox 10"/>
          <p:cNvSpPr txBox="1"/>
          <p:nvPr/>
        </p:nvSpPr>
        <p:spPr>
          <a:xfrm>
            <a:off x="750500" y="4912986"/>
            <a:ext cx="3084394" cy="891142"/>
          </a:xfrm>
          <a:prstGeom prst="rect">
            <a:avLst/>
          </a:prstGeom>
          <a:noFill/>
        </p:spPr>
        <p:txBody>
          <a:bodyPr wrap="square" lIns="0" tIns="0" rIns="0" bIns="0" rtlCol="0" anchor="t" anchorCtr="0">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dirty="0">
                <a:ln>
                  <a:noFill/>
                </a:ln>
                <a:solidFill>
                  <a:schemeClr val="tx1">
                    <a:lumMod val="50000"/>
                  </a:schemeClr>
                </a:solidFill>
                <a:effectLst/>
                <a:uLnTx/>
                <a:uFillTx/>
              </a:rPr>
              <a:t>Visualize and</a:t>
            </a:r>
            <a:r>
              <a:rPr kumimoji="0" lang="en-US" sz="1600" b="0" i="0" u="none" strike="noStrike" kern="0" cap="none" spc="0" normalizeH="0" noProof="0" dirty="0">
                <a:ln>
                  <a:noFill/>
                </a:ln>
                <a:solidFill>
                  <a:schemeClr val="tx1">
                    <a:lumMod val="50000"/>
                  </a:schemeClr>
                </a:solidFill>
                <a:effectLst/>
                <a:uLnTx/>
                <a:uFillTx/>
              </a:rPr>
              <a:t> analyze data with greater speed and efficiency, a</a:t>
            </a:r>
            <a:r>
              <a:rPr kumimoji="0" lang="en-US" sz="1600" b="0" i="0" u="none" strike="noStrike" kern="0" cap="none" spc="0" normalizeH="0" baseline="0" noProof="0" dirty="0">
                <a:ln>
                  <a:noFill/>
                </a:ln>
                <a:solidFill>
                  <a:schemeClr val="tx1">
                    <a:lumMod val="50000"/>
                  </a:schemeClr>
                </a:solidFill>
                <a:effectLst/>
                <a:uLnTx/>
                <a:uFillTx/>
              </a:rPr>
              <a:t>nd experience your data in new ways</a:t>
            </a:r>
          </a:p>
        </p:txBody>
      </p:sp>
      <p:sp>
        <p:nvSpPr>
          <p:cNvPr id="37" name="TextBox 36"/>
          <p:cNvSpPr txBox="1"/>
          <p:nvPr/>
        </p:nvSpPr>
        <p:spPr>
          <a:xfrm>
            <a:off x="1241329" y="2263582"/>
            <a:ext cx="2102737" cy="717740"/>
          </a:xfrm>
          <a:prstGeom prst="rect">
            <a:avLst/>
          </a:prstGeom>
          <a:noFill/>
        </p:spPr>
        <p:txBody>
          <a:bodyPr wrap="square" lIns="0" tIns="0" rIns="0" bIns="0" rtlCol="0" anchor="t" anchorCtr="0">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2200" b="0" i="0" u="none" strike="noStrike" kern="0" cap="none" spc="0" normalizeH="0" baseline="0" noProof="0" dirty="0">
                <a:ln>
                  <a:noFill/>
                </a:ln>
                <a:solidFill>
                  <a:schemeClr val="tx1">
                    <a:lumMod val="50000"/>
                  </a:schemeClr>
                </a:solidFill>
                <a:effectLst/>
                <a:uLnTx/>
                <a:uFillTx/>
                <a:latin typeface="Segoe UI Light"/>
              </a:rPr>
              <a:t>Get the most </a:t>
            </a:r>
            <a:br>
              <a:rPr lang="en-US" sz="2200" kern="0" dirty="0">
                <a:solidFill>
                  <a:schemeClr val="tx1">
                    <a:lumMod val="50000"/>
                  </a:schemeClr>
                </a:solidFill>
                <a:latin typeface="Segoe UI Light"/>
              </a:rPr>
            </a:br>
            <a:r>
              <a:rPr kumimoji="0" lang="en-US" sz="2200" b="0" i="0" u="none" strike="noStrike" kern="0" cap="none" spc="0" normalizeH="0" baseline="0" noProof="0" dirty="0">
                <a:ln>
                  <a:noFill/>
                </a:ln>
                <a:solidFill>
                  <a:schemeClr val="tx1">
                    <a:lumMod val="50000"/>
                  </a:schemeClr>
                </a:solidFill>
                <a:effectLst/>
                <a:uLnTx/>
                <a:uFillTx/>
                <a:latin typeface="Segoe UI Light"/>
              </a:rPr>
              <a:t>out of data</a:t>
            </a:r>
          </a:p>
        </p:txBody>
      </p:sp>
      <p:cxnSp>
        <p:nvCxnSpPr>
          <p:cNvPr id="25" name="Straight Connector 24"/>
          <p:cNvCxnSpPr/>
          <p:nvPr/>
        </p:nvCxnSpPr>
        <p:spPr>
          <a:xfrm>
            <a:off x="1407326" y="4666245"/>
            <a:ext cx="1770743" cy="0"/>
          </a:xfrm>
          <a:prstGeom prst="line">
            <a:avLst/>
          </a:prstGeom>
          <a:ln w="9525">
            <a:solidFill>
              <a:schemeClr val="tx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4606279" y="4903950"/>
            <a:ext cx="3248143" cy="891141"/>
          </a:xfrm>
          <a:prstGeom prst="rect">
            <a:avLst/>
          </a:prstGeom>
          <a:noFill/>
        </p:spPr>
        <p:txBody>
          <a:bodyPr wrap="square" lIns="0" tIns="0" rIns="0" bIns="0" rtlCol="0" anchor="t" anchorCtr="0">
            <a:noAutofit/>
          </a:bodyPr>
          <a:lstStyle/>
          <a:p>
            <a:pPr lvl="0" algn="ctr" defTabSz="914400">
              <a:spcAft>
                <a:spcPts val="600"/>
              </a:spcAft>
              <a:defRPr/>
            </a:pPr>
            <a:r>
              <a:rPr lang="en-US" sz="1600" kern="0" dirty="0">
                <a:solidFill>
                  <a:schemeClr val="tx1">
                    <a:lumMod val="50000"/>
                  </a:schemeClr>
                </a:solidFill>
              </a:rPr>
              <a:t>Create value-added solutions for your customer’s data, offering   real-time BI that unlocks new business opportunities</a:t>
            </a:r>
          </a:p>
        </p:txBody>
      </p:sp>
      <p:sp>
        <p:nvSpPr>
          <p:cNvPr id="16" name="TextBox 15"/>
          <p:cNvSpPr txBox="1"/>
          <p:nvPr/>
        </p:nvSpPr>
        <p:spPr>
          <a:xfrm>
            <a:off x="4268201" y="2274861"/>
            <a:ext cx="3924299" cy="677108"/>
          </a:xfrm>
          <a:prstGeom prst="rect">
            <a:avLst/>
          </a:prstGeom>
          <a:noFill/>
        </p:spPr>
        <p:txBody>
          <a:bodyPr wrap="square" lIns="0" tIns="0" rIns="0" bIns="0" rtlCol="0" anchor="ctr">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2200" b="0" i="0" u="none" strike="noStrike" kern="0" cap="none" spc="0" normalizeH="0" baseline="0" noProof="0" dirty="0">
                <a:ln>
                  <a:noFill/>
                </a:ln>
                <a:solidFill>
                  <a:schemeClr val="tx1">
                    <a:lumMod val="50000"/>
                  </a:schemeClr>
                </a:solidFill>
                <a:effectLst/>
                <a:uLnTx/>
                <a:uFillTx/>
                <a:latin typeface="+mj-lt"/>
              </a:rPr>
              <a:t>Unlock New </a:t>
            </a:r>
            <a:br>
              <a:rPr kumimoji="0" lang="en-US" sz="2200" b="0" i="0" u="none" strike="noStrike" kern="0" cap="none" spc="0" normalizeH="0" baseline="0" noProof="0" dirty="0">
                <a:ln>
                  <a:noFill/>
                </a:ln>
                <a:solidFill>
                  <a:schemeClr val="tx1">
                    <a:lumMod val="50000"/>
                  </a:schemeClr>
                </a:solidFill>
                <a:effectLst/>
                <a:uLnTx/>
                <a:uFillTx/>
                <a:latin typeface="+mj-lt"/>
              </a:rPr>
            </a:br>
            <a:r>
              <a:rPr kumimoji="0" lang="en-US" sz="2200" b="0" i="0" u="none" strike="noStrike" kern="0" cap="none" spc="0" normalizeH="0" baseline="0" noProof="0" dirty="0">
                <a:ln>
                  <a:noFill/>
                </a:ln>
                <a:solidFill>
                  <a:schemeClr val="tx1">
                    <a:lumMod val="50000"/>
                  </a:schemeClr>
                </a:solidFill>
                <a:effectLst/>
                <a:uLnTx/>
                <a:uFillTx/>
                <a:latin typeface="+mj-lt"/>
              </a:rPr>
              <a:t>Opportunities</a:t>
            </a:r>
          </a:p>
        </p:txBody>
      </p:sp>
      <p:cxnSp>
        <p:nvCxnSpPr>
          <p:cNvPr id="42" name="Straight Connector 41"/>
          <p:cNvCxnSpPr/>
          <p:nvPr/>
        </p:nvCxnSpPr>
        <p:spPr>
          <a:xfrm>
            <a:off x="5344979" y="4657208"/>
            <a:ext cx="1770743" cy="0"/>
          </a:xfrm>
          <a:prstGeom prst="line">
            <a:avLst/>
          </a:prstGeom>
          <a:ln w="9525">
            <a:solidFill>
              <a:schemeClr val="tx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8633610" y="4913019"/>
            <a:ext cx="3057122" cy="873002"/>
          </a:xfrm>
          <a:prstGeom prst="rect">
            <a:avLst/>
          </a:prstGeom>
          <a:noFill/>
        </p:spPr>
        <p:txBody>
          <a:bodyPr wrap="square" lIns="0" tIns="0" rIns="0" bIns="0" rtlCol="0" anchor="t" anchorCtr="0">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dirty="0">
                <a:ln>
                  <a:noFill/>
                </a:ln>
                <a:solidFill>
                  <a:schemeClr val="tx1">
                    <a:lumMod val="50000"/>
                  </a:schemeClr>
                </a:solidFill>
                <a:effectLst/>
                <a:uLnTx/>
                <a:uFillTx/>
              </a:rPr>
              <a:t>Grow your business by adding </a:t>
            </a:r>
            <a:r>
              <a:rPr lang="en-US" sz="1600" kern="0" dirty="0">
                <a:solidFill>
                  <a:schemeClr val="tx1">
                    <a:lumMod val="50000"/>
                  </a:schemeClr>
                </a:solidFill>
              </a:rPr>
              <a:t>Business Intelligence to your portfolio </a:t>
            </a:r>
            <a:r>
              <a:rPr kumimoji="0" lang="en-US" sz="1600" b="0" i="0" u="none" strike="noStrike" kern="0" cap="none" spc="0" normalizeH="0" baseline="0" noProof="0" dirty="0">
                <a:ln>
                  <a:noFill/>
                </a:ln>
                <a:solidFill>
                  <a:schemeClr val="tx1">
                    <a:lumMod val="50000"/>
                  </a:schemeClr>
                </a:solidFill>
                <a:effectLst/>
                <a:uLnTx/>
                <a:uFillTx/>
              </a:rPr>
              <a:t>through the CSP program</a:t>
            </a:r>
          </a:p>
        </p:txBody>
      </p:sp>
      <p:sp>
        <p:nvSpPr>
          <p:cNvPr id="17" name="TextBox 16"/>
          <p:cNvSpPr txBox="1"/>
          <p:nvPr/>
        </p:nvSpPr>
        <p:spPr>
          <a:xfrm>
            <a:off x="8160898" y="2274861"/>
            <a:ext cx="4002546" cy="677108"/>
          </a:xfrm>
          <a:prstGeom prst="rect">
            <a:avLst/>
          </a:prstGeom>
          <a:noFill/>
        </p:spPr>
        <p:txBody>
          <a:bodyPr wrap="square" lIns="0" tIns="0" rIns="0" bIns="0" rtlCol="0" anchor="ctr">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2200" b="0" i="0" u="none" strike="noStrike" kern="0" cap="none" spc="0" normalizeH="0" baseline="0" noProof="0" dirty="0">
                <a:ln>
                  <a:noFill/>
                </a:ln>
                <a:solidFill>
                  <a:schemeClr val="tx1">
                    <a:lumMod val="50000"/>
                  </a:schemeClr>
                </a:solidFill>
                <a:effectLst/>
                <a:uLnTx/>
                <a:uFillTx/>
                <a:latin typeface="+mj-lt"/>
              </a:rPr>
              <a:t>Increase </a:t>
            </a:r>
            <a:br>
              <a:rPr kumimoji="0" lang="en-US" sz="2200" b="0" i="0" u="none" strike="noStrike" kern="0" cap="none" spc="0" normalizeH="0" baseline="0" noProof="0" dirty="0">
                <a:ln>
                  <a:noFill/>
                </a:ln>
                <a:solidFill>
                  <a:schemeClr val="tx1">
                    <a:lumMod val="50000"/>
                  </a:schemeClr>
                </a:solidFill>
                <a:effectLst/>
                <a:uLnTx/>
                <a:uFillTx/>
                <a:latin typeface="+mj-lt"/>
              </a:rPr>
            </a:br>
            <a:r>
              <a:rPr kumimoji="0" lang="en-US" sz="2200" b="0" i="0" u="none" strike="noStrike" kern="0" cap="none" spc="0" normalizeH="0" baseline="0" noProof="0" dirty="0">
                <a:ln>
                  <a:noFill/>
                </a:ln>
                <a:solidFill>
                  <a:schemeClr val="tx1">
                    <a:lumMod val="50000"/>
                  </a:schemeClr>
                </a:solidFill>
                <a:effectLst/>
                <a:uLnTx/>
                <a:uFillTx/>
                <a:latin typeface="+mj-lt"/>
              </a:rPr>
              <a:t>Profitability</a:t>
            </a:r>
          </a:p>
        </p:txBody>
      </p:sp>
      <p:cxnSp>
        <p:nvCxnSpPr>
          <p:cNvPr id="50" name="Straight Connector 49"/>
          <p:cNvCxnSpPr/>
          <p:nvPr/>
        </p:nvCxnSpPr>
        <p:spPr>
          <a:xfrm>
            <a:off x="9276800" y="4657208"/>
            <a:ext cx="1770743" cy="0"/>
          </a:xfrm>
          <a:prstGeom prst="line">
            <a:avLst/>
          </a:prstGeom>
          <a:ln w="9525">
            <a:solidFill>
              <a:schemeClr val="tx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AutoShape 3"/>
          <p:cNvSpPr>
            <a:spLocks noChangeAspect="1" noChangeArrowheads="1" noTextEdit="1"/>
          </p:cNvSpPr>
          <p:nvPr/>
        </p:nvSpPr>
        <p:spPr bwMode="auto">
          <a:xfrm>
            <a:off x="5693247" y="3716338"/>
            <a:ext cx="1108075" cy="773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7" name="Picture 6"/>
          <p:cNvPicPr>
            <a:picLocks noChangeAspect="1"/>
          </p:cNvPicPr>
          <p:nvPr/>
        </p:nvPicPr>
        <p:blipFill>
          <a:blip r:embed="rId4"/>
          <a:stretch>
            <a:fillRect/>
          </a:stretch>
        </p:blipFill>
        <p:spPr>
          <a:xfrm>
            <a:off x="9847193" y="3321532"/>
            <a:ext cx="699609" cy="795200"/>
          </a:xfrm>
          <a:prstGeom prst="rect">
            <a:avLst/>
          </a:prstGeom>
        </p:spPr>
      </p:pic>
      <p:pic>
        <p:nvPicPr>
          <p:cNvPr id="8" name="Picture 7"/>
          <p:cNvPicPr>
            <a:picLocks noChangeAspect="1"/>
          </p:cNvPicPr>
          <p:nvPr/>
        </p:nvPicPr>
        <p:blipFill>
          <a:blip r:embed="rId5"/>
          <a:stretch>
            <a:fillRect/>
          </a:stretch>
        </p:blipFill>
        <p:spPr>
          <a:xfrm>
            <a:off x="1948551" y="3401512"/>
            <a:ext cx="709311" cy="740341"/>
          </a:xfrm>
          <a:prstGeom prst="rect">
            <a:avLst/>
          </a:prstGeom>
        </p:spPr>
      </p:pic>
      <p:pic>
        <p:nvPicPr>
          <p:cNvPr id="12" name="Picture 11"/>
          <p:cNvPicPr>
            <a:picLocks noChangeAspect="1"/>
          </p:cNvPicPr>
          <p:nvPr/>
        </p:nvPicPr>
        <p:blipFill>
          <a:blip r:embed="rId6"/>
          <a:stretch>
            <a:fillRect/>
          </a:stretch>
        </p:blipFill>
        <p:spPr>
          <a:xfrm>
            <a:off x="5788340" y="3434262"/>
            <a:ext cx="917888" cy="632800"/>
          </a:xfrm>
          <a:prstGeom prst="rect">
            <a:avLst/>
          </a:prstGeom>
        </p:spPr>
      </p:pic>
    </p:spTree>
    <p:extLst>
      <p:ext uri="{BB962C8B-B14F-4D97-AF65-F5344CB8AC3E}">
        <p14:creationId xmlns:p14="http://schemas.microsoft.com/office/powerpoint/2010/main" val="357685089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9072" y="296897"/>
            <a:ext cx="10964812" cy="917575"/>
          </a:xfrm>
        </p:spPr>
        <p:txBody>
          <a:bodyPr/>
          <a:lstStyle/>
          <a:p>
            <a:pPr lvl="0" defTabSz="914400">
              <a:lnSpc>
                <a:spcPct val="100000"/>
              </a:lnSpc>
              <a:spcBef>
                <a:spcPts val="0"/>
              </a:spcBef>
              <a:spcAft>
                <a:spcPts val="600"/>
              </a:spcAft>
              <a:defRPr/>
            </a:pPr>
            <a:r>
              <a:rPr lang="en-US" kern="0" spc="0" dirty="0">
                <a:ln>
                  <a:noFill/>
                </a:ln>
                <a:solidFill>
                  <a:schemeClr val="tx2">
                    <a:lumMod val="10000"/>
                  </a:schemeClr>
                </a:solidFill>
              </a:rPr>
              <a:t>Get the most out of data</a:t>
            </a:r>
          </a:p>
        </p:txBody>
      </p:sp>
      <p:sp>
        <p:nvSpPr>
          <p:cNvPr id="3" name="Title 1"/>
          <p:cNvSpPr txBox="1">
            <a:spLocks/>
          </p:cNvSpPr>
          <p:nvPr/>
        </p:nvSpPr>
        <p:spPr>
          <a:xfrm>
            <a:off x="1199072" y="1123222"/>
            <a:ext cx="10964812" cy="470690"/>
          </a:xfrm>
          <a:prstGeom prst="rect">
            <a:avLst/>
          </a:prstGeom>
        </p:spPr>
        <p:txBody>
          <a:bodyPr vert="horz" wrap="square" lIns="182880" tIns="91440" rIns="146304" bIns="91440"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lvl="0">
              <a:defRPr/>
            </a:pPr>
            <a:r>
              <a:rPr lang="en-US" sz="2400" dirty="0">
                <a:solidFill>
                  <a:schemeClr val="tx2">
                    <a:lumMod val="10000"/>
                  </a:schemeClr>
                </a:solidFill>
              </a:rPr>
              <a:t>Visualize and analyze data with greater speed, efficiency, and experience data in new ways</a:t>
            </a:r>
          </a:p>
        </p:txBody>
      </p:sp>
      <p:sp>
        <p:nvSpPr>
          <p:cNvPr id="58" name="Freeform 9"/>
          <p:cNvSpPr>
            <a:spLocks noEditPoints="1"/>
          </p:cNvSpPr>
          <p:nvPr/>
        </p:nvSpPr>
        <p:spPr bwMode="black">
          <a:xfrm>
            <a:off x="1423072" y="1897917"/>
            <a:ext cx="360983" cy="362449"/>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2">
              <a:lumMod val="1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0" name="Freeform 9"/>
          <p:cNvSpPr>
            <a:spLocks noEditPoints="1"/>
          </p:cNvSpPr>
          <p:nvPr/>
        </p:nvSpPr>
        <p:spPr bwMode="black">
          <a:xfrm>
            <a:off x="1423072" y="2679747"/>
            <a:ext cx="360983" cy="362449"/>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2">
              <a:lumMod val="1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1" name="Freeform 9"/>
          <p:cNvSpPr>
            <a:spLocks noEditPoints="1"/>
          </p:cNvSpPr>
          <p:nvPr/>
        </p:nvSpPr>
        <p:spPr bwMode="black">
          <a:xfrm>
            <a:off x="1423072" y="3438000"/>
            <a:ext cx="360983" cy="362449"/>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2">
              <a:lumMod val="1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7" name="TextBox 66"/>
          <p:cNvSpPr txBox="1"/>
          <p:nvPr/>
        </p:nvSpPr>
        <p:spPr>
          <a:xfrm>
            <a:off x="1951038" y="1960765"/>
            <a:ext cx="4040329" cy="4644751"/>
          </a:xfrm>
          <a:prstGeom prst="rect">
            <a:avLst/>
          </a:prstGeom>
          <a:noFill/>
        </p:spPr>
        <p:txBody>
          <a:bodyPr wrap="square" lIns="0" tIns="0" rIns="0" bIns="0" rtlCol="0" anchor="t" anchorCtr="0">
            <a:noAutofit/>
          </a:bodyPr>
          <a:lstStyle/>
          <a:p>
            <a:pPr defTabSz="914400">
              <a:spcAft>
                <a:spcPts val="2400"/>
              </a:spcAft>
              <a:defRPr/>
            </a:pPr>
            <a:r>
              <a:rPr lang="en-US" sz="1400" kern="0" dirty="0">
                <a:solidFill>
                  <a:srgbClr val="5E5E5E"/>
                </a:solidFill>
              </a:rPr>
              <a:t>Provide a live 360º view of business analytics to your customers</a:t>
            </a:r>
          </a:p>
          <a:p>
            <a:pPr defTabSz="914400">
              <a:spcAft>
                <a:spcPts val="2400"/>
              </a:spcAft>
              <a:defRPr/>
            </a:pPr>
            <a:r>
              <a:rPr lang="en-US" sz="1400" kern="0" dirty="0">
                <a:solidFill>
                  <a:srgbClr val="5E5E5E"/>
                </a:solidFill>
              </a:rPr>
              <a:t>Get more value from your customers’ data by translating into insight at the point of impact</a:t>
            </a:r>
          </a:p>
          <a:p>
            <a:pPr defTabSz="914400">
              <a:spcAft>
                <a:spcPts val="2400"/>
              </a:spcAft>
              <a:defRPr/>
            </a:pPr>
            <a:r>
              <a:rPr lang="en-US" sz="1400" kern="0" dirty="0">
                <a:solidFill>
                  <a:srgbClr val="5E5E5E"/>
                </a:solidFill>
              </a:rPr>
              <a:t>Integrate Power BI visualizations into applications and other solutions that you offer</a:t>
            </a:r>
          </a:p>
          <a:p>
            <a:pPr lvl="0" defTabSz="914400">
              <a:spcAft>
                <a:spcPts val="2400"/>
              </a:spcAft>
              <a:defRPr/>
            </a:pPr>
            <a:r>
              <a:rPr lang="en-US" sz="1400" kern="0" dirty="0">
                <a:solidFill>
                  <a:srgbClr val="5E5E5E"/>
                </a:solidFill>
              </a:rPr>
              <a:t>Stay connected to live dashboards and reports from any device and arm your customers with the most up to date reporting</a:t>
            </a:r>
          </a:p>
        </p:txBody>
      </p:sp>
      <p:sp>
        <p:nvSpPr>
          <p:cNvPr id="42" name="Rectangle 41"/>
          <p:cNvSpPr/>
          <p:nvPr/>
        </p:nvSpPr>
        <p:spPr bwMode="auto">
          <a:xfrm>
            <a:off x="0" y="0"/>
            <a:ext cx="888521" cy="6994525"/>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43" name="Group 42"/>
          <p:cNvGrpSpPr/>
          <p:nvPr/>
        </p:nvGrpSpPr>
        <p:grpSpPr>
          <a:xfrm>
            <a:off x="-1" y="919"/>
            <a:ext cx="1055533" cy="2333895"/>
            <a:chOff x="-1" y="-2"/>
            <a:chExt cx="1055533" cy="2358426"/>
          </a:xfrm>
          <a:solidFill>
            <a:srgbClr val="F2C811"/>
          </a:solidFill>
        </p:grpSpPr>
        <p:sp>
          <p:nvSpPr>
            <p:cNvPr id="46" name="Rectangle 45"/>
            <p:cNvSpPr/>
            <p:nvPr/>
          </p:nvSpPr>
          <p:spPr bwMode="auto">
            <a:xfrm>
              <a:off x="-1" y="-2"/>
              <a:ext cx="888521" cy="235842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7" name="Isosceles Triangle 46"/>
            <p:cNvSpPr/>
            <p:nvPr/>
          </p:nvSpPr>
          <p:spPr bwMode="auto">
            <a:xfrm rot="5400000">
              <a:off x="821672" y="1095118"/>
              <a:ext cx="299536" cy="168184"/>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cxnSp>
        <p:nvCxnSpPr>
          <p:cNvPr id="48" name="Straight Connector 47"/>
          <p:cNvCxnSpPr/>
          <p:nvPr/>
        </p:nvCxnSpPr>
        <p:spPr>
          <a:xfrm>
            <a:off x="0" y="2334816"/>
            <a:ext cx="887348"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0" y="4664670"/>
            <a:ext cx="887348"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3" name="Group 22"/>
          <p:cNvGrpSpPr/>
          <p:nvPr/>
        </p:nvGrpSpPr>
        <p:grpSpPr>
          <a:xfrm>
            <a:off x="6294882" y="2448283"/>
            <a:ext cx="5463752" cy="2701550"/>
            <a:chOff x="5462874" y="1944490"/>
            <a:chExt cx="5918422" cy="2926363"/>
          </a:xfrm>
        </p:grpSpPr>
        <p:sp>
          <p:nvSpPr>
            <p:cNvPr id="24" name="Freeform 1383"/>
            <p:cNvSpPr>
              <a:spLocks noChangeAspect="1" noEditPoints="1"/>
            </p:cNvSpPr>
            <p:nvPr/>
          </p:nvSpPr>
          <p:spPr bwMode="auto">
            <a:xfrm>
              <a:off x="5462874" y="1944490"/>
              <a:ext cx="5918422" cy="2926363"/>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chemeClr val="bg2">
                <a:lumMod val="10000"/>
              </a:schemeClr>
            </a:solidFill>
            <a:ln w="9525">
              <a:solidFill>
                <a:srgbClr val="FFFFFF"/>
              </a:solidFill>
            </a:ln>
            <a:extLst/>
          </p:spPr>
          <p:txBody>
            <a:bodyPr vert="horz" wrap="square" lIns="95117" tIns="47558" rIns="95117" bIns="47558"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64"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25" name="Picture 24"/>
            <p:cNvPicPr>
              <a:picLocks noChangeAspect="1"/>
            </p:cNvPicPr>
            <p:nvPr/>
          </p:nvPicPr>
          <p:blipFill>
            <a:blip r:embed="rId3"/>
            <a:stretch>
              <a:fillRect/>
            </a:stretch>
          </p:blipFill>
          <p:spPr>
            <a:xfrm>
              <a:off x="6405260" y="2090797"/>
              <a:ext cx="4054583" cy="2330310"/>
            </a:xfrm>
            <a:prstGeom prst="rect">
              <a:avLst/>
            </a:prstGeom>
          </p:spPr>
        </p:pic>
      </p:grpSp>
      <p:sp>
        <p:nvSpPr>
          <p:cNvPr id="44" name="Freeform 9"/>
          <p:cNvSpPr>
            <a:spLocks noEditPoints="1"/>
          </p:cNvSpPr>
          <p:nvPr/>
        </p:nvSpPr>
        <p:spPr bwMode="black">
          <a:xfrm>
            <a:off x="1423072" y="4195941"/>
            <a:ext cx="360983" cy="362449"/>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2">
              <a:lumMod val="1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pic>
        <p:nvPicPr>
          <p:cNvPr id="26" name="Picture 25"/>
          <p:cNvPicPr>
            <a:picLocks noChangeAspect="1"/>
          </p:cNvPicPr>
          <p:nvPr/>
        </p:nvPicPr>
        <p:blipFill>
          <a:blip r:embed="rId4"/>
          <a:stretch>
            <a:fillRect/>
          </a:stretch>
        </p:blipFill>
        <p:spPr>
          <a:xfrm>
            <a:off x="177256" y="931052"/>
            <a:ext cx="543081" cy="566839"/>
          </a:xfrm>
          <a:prstGeom prst="rect">
            <a:avLst/>
          </a:prstGeom>
        </p:spPr>
      </p:pic>
      <p:pic>
        <p:nvPicPr>
          <p:cNvPr id="29" name="Picture 28"/>
          <p:cNvPicPr>
            <a:picLocks noChangeAspect="1"/>
          </p:cNvPicPr>
          <p:nvPr/>
        </p:nvPicPr>
        <p:blipFill>
          <a:blip r:embed="rId5"/>
          <a:stretch>
            <a:fillRect/>
          </a:stretch>
        </p:blipFill>
        <p:spPr>
          <a:xfrm>
            <a:off x="143073" y="5446962"/>
            <a:ext cx="587774" cy="668085"/>
          </a:xfrm>
          <a:prstGeom prst="rect">
            <a:avLst/>
          </a:prstGeom>
        </p:spPr>
      </p:pic>
      <p:pic>
        <p:nvPicPr>
          <p:cNvPr id="31" name="Picture 30"/>
          <p:cNvPicPr>
            <a:picLocks noChangeAspect="1"/>
          </p:cNvPicPr>
          <p:nvPr/>
        </p:nvPicPr>
        <p:blipFill>
          <a:blip r:embed="rId6"/>
          <a:stretch>
            <a:fillRect/>
          </a:stretch>
        </p:blipFill>
        <p:spPr>
          <a:xfrm>
            <a:off x="114740" y="3290630"/>
            <a:ext cx="637127" cy="439241"/>
          </a:xfrm>
          <a:prstGeom prst="rect">
            <a:avLst/>
          </a:prstGeom>
        </p:spPr>
      </p:pic>
    </p:spTree>
    <p:extLst>
      <p:ext uri="{BB962C8B-B14F-4D97-AF65-F5344CB8AC3E}">
        <p14:creationId xmlns:p14="http://schemas.microsoft.com/office/powerpoint/2010/main" val="258481568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9" name="Straight Arrow Connector 108"/>
          <p:cNvCxnSpPr/>
          <p:nvPr/>
        </p:nvCxnSpPr>
        <p:spPr>
          <a:xfrm>
            <a:off x="9079653" y="3865302"/>
            <a:ext cx="662748" cy="0"/>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flipH="1" flipV="1">
            <a:off x="8625920" y="4345800"/>
            <a:ext cx="12805" cy="709684"/>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Arrow Connector 103"/>
          <p:cNvCxnSpPr/>
          <p:nvPr/>
        </p:nvCxnSpPr>
        <p:spPr>
          <a:xfrm>
            <a:off x="8625078" y="5051100"/>
            <a:ext cx="1136573" cy="0"/>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4" name="Rectangle 63"/>
          <p:cNvSpPr/>
          <p:nvPr/>
        </p:nvSpPr>
        <p:spPr bwMode="auto">
          <a:xfrm>
            <a:off x="889905" y="6542105"/>
            <a:ext cx="11546570" cy="466877"/>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w="0"/>
              <a:solidFill>
                <a:srgbClr val="000000"/>
              </a:solidFill>
              <a:effectLst>
                <a:outerShdw blurRad="38100" dist="19050" dir="2700000" algn="tl" rotWithShape="0">
                  <a:srgbClr val="000000">
                    <a:alpha val="40000"/>
                  </a:srgbClr>
                </a:outerShdw>
              </a:effectLst>
              <a:uLnTx/>
              <a:uFillTx/>
              <a:latin typeface="Segoe UI Light"/>
              <a:ea typeface="Segoe UI" pitchFamily="34" charset="0"/>
              <a:cs typeface="Segoe UI" pitchFamily="34" charset="0"/>
            </a:endParaRPr>
          </a:p>
        </p:txBody>
      </p:sp>
      <p:sp>
        <p:nvSpPr>
          <p:cNvPr id="2" name="Title 1"/>
          <p:cNvSpPr>
            <a:spLocks noGrp="1"/>
          </p:cNvSpPr>
          <p:nvPr>
            <p:ph type="title"/>
          </p:nvPr>
        </p:nvSpPr>
        <p:spPr>
          <a:xfrm>
            <a:off x="1199072" y="296897"/>
            <a:ext cx="10964812" cy="917575"/>
          </a:xfrm>
        </p:spPr>
        <p:txBody>
          <a:bodyPr/>
          <a:lstStyle/>
          <a:p>
            <a:r>
              <a:rPr lang="en-US" sz="5200" dirty="0">
                <a:solidFill>
                  <a:schemeClr val="tx2">
                    <a:lumMod val="10000"/>
                  </a:schemeClr>
                </a:solidFill>
              </a:rPr>
              <a:t>Unlock new opportunities</a:t>
            </a:r>
          </a:p>
        </p:txBody>
      </p:sp>
      <p:sp>
        <p:nvSpPr>
          <p:cNvPr id="3" name="Title 1"/>
          <p:cNvSpPr txBox="1">
            <a:spLocks/>
          </p:cNvSpPr>
          <p:nvPr/>
        </p:nvSpPr>
        <p:spPr>
          <a:xfrm>
            <a:off x="1199071" y="1058826"/>
            <a:ext cx="10415173" cy="802391"/>
          </a:xfrm>
          <a:prstGeom prst="rect">
            <a:avLst/>
          </a:prstGeom>
        </p:spPr>
        <p:txBody>
          <a:bodyPr vert="horz" wrap="square" lIns="182880" tIns="91440" rIns="146304" bIns="91440"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lvl="0">
              <a:defRPr/>
            </a:pPr>
            <a:r>
              <a:rPr lang="en-US" sz="2400" dirty="0">
                <a:solidFill>
                  <a:schemeClr val="tx2">
                    <a:lumMod val="10000"/>
                  </a:schemeClr>
                </a:solidFill>
              </a:rPr>
              <a:t>Enjoy the benefits of up-to-date data with real-time, automatic, </a:t>
            </a:r>
          </a:p>
          <a:p>
            <a:pPr lvl="0">
              <a:defRPr/>
            </a:pPr>
            <a:r>
              <a:rPr lang="en-US" sz="2400" dirty="0">
                <a:solidFill>
                  <a:schemeClr val="tx2">
                    <a:lumMod val="10000"/>
                  </a:schemeClr>
                </a:solidFill>
              </a:rPr>
              <a:t>and scheduled refreshes to unlock new business opportunities</a:t>
            </a:r>
          </a:p>
        </p:txBody>
      </p:sp>
      <p:sp>
        <p:nvSpPr>
          <p:cNvPr id="58" name="Freeform 9"/>
          <p:cNvSpPr>
            <a:spLocks noEditPoints="1"/>
          </p:cNvSpPr>
          <p:nvPr/>
        </p:nvSpPr>
        <p:spPr bwMode="black">
          <a:xfrm>
            <a:off x="1423072" y="2185125"/>
            <a:ext cx="360983" cy="362449"/>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2">
              <a:lumMod val="1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0" name="Freeform 9"/>
          <p:cNvSpPr>
            <a:spLocks noEditPoints="1"/>
          </p:cNvSpPr>
          <p:nvPr/>
        </p:nvSpPr>
        <p:spPr bwMode="black">
          <a:xfrm>
            <a:off x="1423072" y="3136461"/>
            <a:ext cx="360983" cy="362449"/>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2">
              <a:lumMod val="1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1" name="Freeform 9"/>
          <p:cNvSpPr>
            <a:spLocks noEditPoints="1"/>
          </p:cNvSpPr>
          <p:nvPr/>
        </p:nvSpPr>
        <p:spPr bwMode="black">
          <a:xfrm>
            <a:off x="1423072" y="3782362"/>
            <a:ext cx="360983" cy="362449"/>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2">
              <a:lumMod val="1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7" name="TextBox 66"/>
          <p:cNvSpPr txBox="1"/>
          <p:nvPr/>
        </p:nvSpPr>
        <p:spPr>
          <a:xfrm>
            <a:off x="1951038" y="2161309"/>
            <a:ext cx="4654478" cy="3869128"/>
          </a:xfrm>
          <a:prstGeom prst="rect">
            <a:avLst/>
          </a:prstGeom>
          <a:noFill/>
        </p:spPr>
        <p:txBody>
          <a:bodyPr wrap="square" lIns="0" tIns="0" rIns="0" bIns="0" rtlCol="0" anchor="t" anchorCtr="0">
            <a:noAutofit/>
          </a:bodyPr>
          <a:lstStyle/>
          <a:p>
            <a:pPr marL="0" marR="0" lvl="0" indent="0" defTabSz="914400" eaLnBrk="1" fontAlgn="auto" latinLnBrk="0" hangingPunct="1">
              <a:lnSpc>
                <a:spcPct val="100000"/>
              </a:lnSpc>
              <a:spcBef>
                <a:spcPts val="0"/>
              </a:spcBef>
              <a:spcAft>
                <a:spcPts val="2400"/>
              </a:spcAft>
              <a:buClrTx/>
              <a:buSzTx/>
              <a:buFontTx/>
              <a:buNone/>
              <a:tabLst/>
              <a:defRPr/>
            </a:pPr>
            <a:r>
              <a:rPr kumimoji="0" lang="en-US" sz="1400" b="0" i="0" u="none" strike="noStrike" kern="0" cap="none" spc="0" normalizeH="0" baseline="0" noProof="0" dirty="0">
                <a:ln>
                  <a:noFill/>
                </a:ln>
                <a:solidFill>
                  <a:schemeClr val="tx2">
                    <a:lumMod val="10000"/>
                  </a:schemeClr>
                </a:solidFill>
                <a:effectLst/>
                <a:uLnTx/>
                <a:uFillTx/>
              </a:rPr>
              <a:t>Create value-added solutions to Power</a:t>
            </a:r>
            <a:r>
              <a:rPr kumimoji="0" lang="en-US" sz="1400" b="0" i="0" u="none" strike="noStrike" kern="0" cap="none" spc="0" normalizeH="0" noProof="0" dirty="0">
                <a:ln>
                  <a:noFill/>
                </a:ln>
                <a:solidFill>
                  <a:schemeClr val="tx2">
                    <a:lumMod val="10000"/>
                  </a:schemeClr>
                </a:solidFill>
                <a:effectLst/>
                <a:uLnTx/>
                <a:uFillTx/>
              </a:rPr>
              <a:t> BI </a:t>
            </a:r>
            <a:r>
              <a:rPr kumimoji="0" lang="en-US" sz="1400" b="0" i="0" u="none" strike="noStrike" kern="0" cap="none" spc="0" normalizeH="0" baseline="0" noProof="0" dirty="0">
                <a:ln>
                  <a:noFill/>
                </a:ln>
                <a:solidFill>
                  <a:schemeClr val="tx2">
                    <a:lumMod val="10000"/>
                  </a:schemeClr>
                </a:solidFill>
                <a:effectLst/>
                <a:uLnTx/>
                <a:uFillTx/>
              </a:rPr>
              <a:t>by offering dashboard customizations,</a:t>
            </a:r>
            <a:r>
              <a:rPr kumimoji="0" lang="en-US" sz="1400" b="0" i="0" u="none" strike="noStrike" kern="0" cap="none" spc="0" normalizeH="0" noProof="0" dirty="0">
                <a:ln>
                  <a:noFill/>
                </a:ln>
                <a:solidFill>
                  <a:schemeClr val="tx2">
                    <a:lumMod val="10000"/>
                  </a:schemeClr>
                </a:solidFill>
                <a:effectLst/>
                <a:uLnTx/>
                <a:uFillTx/>
              </a:rPr>
              <a:t> automation, and monitoring of your customer’s database</a:t>
            </a:r>
            <a:endParaRPr kumimoji="0" lang="en-US" sz="1400" b="0" i="0" u="none" strike="noStrike" kern="0" cap="none" spc="0" normalizeH="0" baseline="0" noProof="0" dirty="0">
              <a:ln>
                <a:noFill/>
              </a:ln>
              <a:solidFill>
                <a:schemeClr val="tx2">
                  <a:lumMod val="10000"/>
                </a:schemeClr>
              </a:solidFill>
              <a:effectLst/>
              <a:uLnTx/>
              <a:uFillTx/>
            </a:endParaRPr>
          </a:p>
          <a:p>
            <a:pPr lvl="0" defTabSz="914400">
              <a:spcAft>
                <a:spcPts val="2400"/>
              </a:spcAft>
              <a:defRPr/>
            </a:pPr>
            <a:r>
              <a:rPr lang="en-US" sz="1400" kern="0" dirty="0">
                <a:solidFill>
                  <a:schemeClr val="tx2">
                    <a:lumMod val="10000"/>
                  </a:schemeClr>
                </a:solidFill>
              </a:rPr>
              <a:t>Provide line of sight into real-time sales performance, pipeline, and market trends, all in a unified dashboard view</a:t>
            </a:r>
            <a:br>
              <a:rPr kumimoji="0" lang="en-US" sz="1400" b="0" i="0" u="none" strike="noStrike" kern="0" cap="none" spc="0" normalizeH="0" baseline="0" noProof="0" dirty="0">
                <a:ln>
                  <a:noFill/>
                </a:ln>
                <a:solidFill>
                  <a:schemeClr val="tx2">
                    <a:lumMod val="10000"/>
                  </a:schemeClr>
                </a:solidFill>
                <a:effectLst/>
                <a:uLnTx/>
                <a:uFillTx/>
              </a:rPr>
            </a:br>
            <a:br>
              <a:rPr kumimoji="0" lang="en-US" sz="1400" b="0" i="0" u="none" strike="noStrike" kern="0" cap="none" spc="0" normalizeH="0" baseline="0" noProof="0" dirty="0">
                <a:ln>
                  <a:noFill/>
                </a:ln>
                <a:solidFill>
                  <a:schemeClr val="tx2">
                    <a:lumMod val="10000"/>
                  </a:schemeClr>
                </a:solidFill>
                <a:effectLst/>
                <a:uLnTx/>
                <a:uFillTx/>
              </a:rPr>
            </a:br>
            <a:r>
              <a:rPr kumimoji="0" lang="en-US" sz="1400" b="0" i="0" u="none" strike="noStrike" kern="0" cap="none" spc="0" normalizeH="0" baseline="0" noProof="0" dirty="0">
                <a:ln>
                  <a:noFill/>
                </a:ln>
                <a:solidFill>
                  <a:schemeClr val="tx2">
                    <a:lumMod val="10000"/>
                  </a:schemeClr>
                </a:solidFill>
                <a:effectLst/>
                <a:uLnTx/>
                <a:uFillTx/>
              </a:rPr>
              <a:t>Give executives</a:t>
            </a:r>
            <a:r>
              <a:rPr kumimoji="0" lang="en-US" sz="1400" b="0" i="0" u="none" strike="noStrike" kern="0" cap="none" spc="0" normalizeH="0" noProof="0" dirty="0">
                <a:ln>
                  <a:noFill/>
                </a:ln>
                <a:solidFill>
                  <a:schemeClr val="tx2">
                    <a:lumMod val="10000"/>
                  </a:schemeClr>
                </a:solidFill>
                <a:effectLst/>
                <a:uLnTx/>
                <a:uFillTx/>
              </a:rPr>
              <a:t> greater visibility and opportunity to drive rapid change and intelligible action</a:t>
            </a:r>
            <a:endParaRPr kumimoji="0" lang="en-US" sz="1400" b="0" i="0" u="none" strike="noStrike" kern="0" cap="none" spc="0" normalizeH="0" baseline="0" noProof="0" dirty="0">
              <a:ln>
                <a:noFill/>
              </a:ln>
              <a:solidFill>
                <a:schemeClr val="tx2">
                  <a:lumMod val="10000"/>
                </a:schemeClr>
              </a:solidFill>
              <a:effectLst/>
              <a:uLnTx/>
              <a:uFillTx/>
            </a:endParaRPr>
          </a:p>
          <a:p>
            <a:pPr marL="0" marR="0" lvl="0" indent="0" defTabSz="914400" eaLnBrk="1" fontAlgn="auto" latinLnBrk="0" hangingPunct="1">
              <a:lnSpc>
                <a:spcPct val="100000"/>
              </a:lnSpc>
              <a:spcBef>
                <a:spcPts val="0"/>
              </a:spcBef>
              <a:spcAft>
                <a:spcPts val="2400"/>
              </a:spcAft>
              <a:buClrTx/>
              <a:buSzTx/>
              <a:buFontTx/>
              <a:buNone/>
              <a:tabLst/>
              <a:defRPr/>
            </a:pPr>
            <a:r>
              <a:rPr lang="en-US" sz="1400" kern="0" dirty="0">
                <a:solidFill>
                  <a:schemeClr val="tx2">
                    <a:lumMod val="10000"/>
                  </a:schemeClr>
                </a:solidFill>
              </a:rPr>
              <a:t>Add a recurring revenue model to your practice by bundling Power BI with other managed services</a:t>
            </a:r>
            <a:br>
              <a:rPr kumimoji="0" lang="en-US" sz="1400" b="0" i="0" u="none" strike="noStrike" kern="0" cap="none" spc="0" normalizeH="0" baseline="0" noProof="0" dirty="0">
                <a:ln>
                  <a:noFill/>
                </a:ln>
                <a:solidFill>
                  <a:schemeClr val="tx2">
                    <a:lumMod val="10000"/>
                  </a:schemeClr>
                </a:solidFill>
                <a:effectLst/>
                <a:uLnTx/>
                <a:uFillTx/>
              </a:rPr>
            </a:br>
            <a:br>
              <a:rPr kumimoji="0" lang="en-US" sz="1400" b="0" i="0" u="none" strike="noStrike" kern="0" cap="none" spc="0" normalizeH="0" baseline="0" noProof="0" dirty="0">
                <a:ln>
                  <a:noFill/>
                </a:ln>
                <a:solidFill>
                  <a:schemeClr val="tx2">
                    <a:lumMod val="10000"/>
                  </a:schemeClr>
                </a:solidFill>
                <a:effectLst/>
                <a:uLnTx/>
                <a:uFillTx/>
              </a:rPr>
            </a:br>
            <a:r>
              <a:rPr kumimoji="0" lang="en-US" sz="1400" b="0" i="0" u="none" strike="noStrike" kern="0" cap="none" spc="0" normalizeH="0" baseline="0" noProof="0" dirty="0">
                <a:ln>
                  <a:noFill/>
                </a:ln>
                <a:solidFill>
                  <a:schemeClr val="tx2">
                    <a:lumMod val="10000"/>
                  </a:schemeClr>
                </a:solidFill>
                <a:effectLst/>
                <a:uLnTx/>
                <a:uFillTx/>
              </a:rPr>
              <a:t>Become your customers’ single solution provider by </a:t>
            </a:r>
            <a:r>
              <a:rPr lang="en-US" sz="1400" kern="0" noProof="0" dirty="0">
                <a:solidFill>
                  <a:schemeClr val="tx2">
                    <a:lumMod val="10000"/>
                  </a:schemeClr>
                </a:solidFill>
              </a:rPr>
              <a:t>managing their workloads end-to-end </a:t>
            </a:r>
            <a:r>
              <a:rPr kumimoji="0" lang="en-US" sz="1400" b="0" i="0" u="none" strike="noStrike" kern="0" cap="none" spc="0" normalizeH="0" baseline="0" noProof="0" dirty="0">
                <a:ln>
                  <a:noFill/>
                </a:ln>
                <a:solidFill>
                  <a:schemeClr val="tx2">
                    <a:lumMod val="10000"/>
                  </a:schemeClr>
                </a:solidFill>
                <a:effectLst/>
                <a:uLnTx/>
                <a:uFillTx/>
              </a:rPr>
              <a:t>through the CSP program</a:t>
            </a:r>
          </a:p>
        </p:txBody>
      </p:sp>
      <p:sp>
        <p:nvSpPr>
          <p:cNvPr id="53" name="Freeform 9"/>
          <p:cNvSpPr>
            <a:spLocks noEditPoints="1"/>
          </p:cNvSpPr>
          <p:nvPr/>
        </p:nvSpPr>
        <p:spPr bwMode="black">
          <a:xfrm>
            <a:off x="1423072" y="4521771"/>
            <a:ext cx="360983" cy="362449"/>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2">
              <a:lumMod val="1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 name="Rectangle 23"/>
          <p:cNvSpPr/>
          <p:nvPr/>
        </p:nvSpPr>
        <p:spPr bwMode="auto">
          <a:xfrm>
            <a:off x="0" y="0"/>
            <a:ext cx="888521" cy="6994525"/>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25" name="Group 24"/>
          <p:cNvGrpSpPr/>
          <p:nvPr/>
        </p:nvGrpSpPr>
        <p:grpSpPr>
          <a:xfrm>
            <a:off x="-1" y="2332791"/>
            <a:ext cx="1055533" cy="2333895"/>
            <a:chOff x="-1" y="-2"/>
            <a:chExt cx="1055533" cy="2358426"/>
          </a:xfrm>
          <a:solidFill>
            <a:srgbClr val="F2C811"/>
          </a:solidFill>
        </p:grpSpPr>
        <p:sp>
          <p:nvSpPr>
            <p:cNvPr id="26" name="Rectangle 25"/>
            <p:cNvSpPr/>
            <p:nvPr/>
          </p:nvSpPr>
          <p:spPr bwMode="auto">
            <a:xfrm>
              <a:off x="-1" y="-2"/>
              <a:ext cx="888521" cy="235842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 name="Isosceles Triangle 26"/>
            <p:cNvSpPr/>
            <p:nvPr/>
          </p:nvSpPr>
          <p:spPr bwMode="auto">
            <a:xfrm rot="5400000">
              <a:off x="821672" y="1095118"/>
              <a:ext cx="299536" cy="168184"/>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cxnSp>
        <p:nvCxnSpPr>
          <p:cNvPr id="28" name="Straight Connector 27"/>
          <p:cNvCxnSpPr/>
          <p:nvPr/>
        </p:nvCxnSpPr>
        <p:spPr>
          <a:xfrm>
            <a:off x="0" y="2334816"/>
            <a:ext cx="887348"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0" y="4664670"/>
            <a:ext cx="887348"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AutoShape 3"/>
          <p:cNvSpPr>
            <a:spLocks noChangeAspect="1" noChangeArrowheads="1" noTextEdit="1"/>
          </p:cNvSpPr>
          <p:nvPr/>
        </p:nvSpPr>
        <p:spPr bwMode="auto">
          <a:xfrm>
            <a:off x="2353437" y="1966697"/>
            <a:ext cx="10653670" cy="526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25"/>
          <p:cNvSpPr>
            <a:spLocks noChangeArrowheads="1"/>
          </p:cNvSpPr>
          <p:nvPr/>
        </p:nvSpPr>
        <p:spPr bwMode="auto">
          <a:xfrm>
            <a:off x="8755028" y="5230827"/>
            <a:ext cx="590548" cy="13112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Rectangle 27"/>
          <p:cNvSpPr>
            <a:spLocks noChangeArrowheads="1"/>
          </p:cNvSpPr>
          <p:nvPr/>
        </p:nvSpPr>
        <p:spPr bwMode="auto">
          <a:xfrm>
            <a:off x="9345576" y="5230827"/>
            <a:ext cx="1108071" cy="13112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9"/>
          <p:cNvSpPr>
            <a:spLocks/>
          </p:cNvSpPr>
          <p:nvPr/>
        </p:nvSpPr>
        <p:spPr bwMode="auto">
          <a:xfrm>
            <a:off x="8270843" y="5230827"/>
            <a:ext cx="1074733" cy="449264"/>
          </a:xfrm>
          <a:custGeom>
            <a:avLst/>
            <a:gdLst>
              <a:gd name="T0" fmla="*/ 374 w 677"/>
              <a:gd name="T1" fmla="*/ 283 h 283"/>
              <a:gd name="T2" fmla="*/ 0 w 677"/>
              <a:gd name="T3" fmla="*/ 283 h 283"/>
              <a:gd name="T4" fmla="*/ 305 w 677"/>
              <a:gd name="T5" fmla="*/ 0 h 283"/>
              <a:gd name="T6" fmla="*/ 677 w 677"/>
              <a:gd name="T7" fmla="*/ 0 h 283"/>
              <a:gd name="T8" fmla="*/ 374 w 677"/>
              <a:gd name="T9" fmla="*/ 283 h 283"/>
            </a:gdLst>
            <a:ahLst/>
            <a:cxnLst>
              <a:cxn ang="0">
                <a:pos x="T0" y="T1"/>
              </a:cxn>
              <a:cxn ang="0">
                <a:pos x="T2" y="T3"/>
              </a:cxn>
              <a:cxn ang="0">
                <a:pos x="T4" y="T5"/>
              </a:cxn>
              <a:cxn ang="0">
                <a:pos x="T6" y="T7"/>
              </a:cxn>
              <a:cxn ang="0">
                <a:pos x="T8" y="T9"/>
              </a:cxn>
            </a:cxnLst>
            <a:rect l="0" t="0" r="r" b="b"/>
            <a:pathLst>
              <a:path w="677" h="283">
                <a:moveTo>
                  <a:pt x="374" y="283"/>
                </a:moveTo>
                <a:lnTo>
                  <a:pt x="0" y="283"/>
                </a:lnTo>
                <a:lnTo>
                  <a:pt x="305" y="0"/>
                </a:lnTo>
                <a:lnTo>
                  <a:pt x="677" y="0"/>
                </a:lnTo>
                <a:lnTo>
                  <a:pt x="374" y="28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1"/>
          <p:cNvSpPr>
            <a:spLocks/>
          </p:cNvSpPr>
          <p:nvPr/>
        </p:nvSpPr>
        <p:spPr bwMode="auto">
          <a:xfrm>
            <a:off x="8270843" y="5230827"/>
            <a:ext cx="593723" cy="449264"/>
          </a:xfrm>
          <a:custGeom>
            <a:avLst/>
            <a:gdLst>
              <a:gd name="T0" fmla="*/ 305 w 374"/>
              <a:gd name="T1" fmla="*/ 0 h 283"/>
              <a:gd name="T2" fmla="*/ 305 w 374"/>
              <a:gd name="T3" fmla="*/ 0 h 283"/>
              <a:gd name="T4" fmla="*/ 0 w 374"/>
              <a:gd name="T5" fmla="*/ 283 h 283"/>
              <a:gd name="T6" fmla="*/ 374 w 374"/>
              <a:gd name="T7" fmla="*/ 283 h 283"/>
              <a:gd name="T8" fmla="*/ 305 w 374"/>
              <a:gd name="T9" fmla="*/ 0 h 283"/>
            </a:gdLst>
            <a:ahLst/>
            <a:cxnLst>
              <a:cxn ang="0">
                <a:pos x="T0" y="T1"/>
              </a:cxn>
              <a:cxn ang="0">
                <a:pos x="T2" y="T3"/>
              </a:cxn>
              <a:cxn ang="0">
                <a:pos x="T4" y="T5"/>
              </a:cxn>
              <a:cxn ang="0">
                <a:pos x="T6" y="T7"/>
              </a:cxn>
              <a:cxn ang="0">
                <a:pos x="T8" y="T9"/>
              </a:cxn>
            </a:cxnLst>
            <a:rect l="0" t="0" r="r" b="b"/>
            <a:pathLst>
              <a:path w="374" h="283">
                <a:moveTo>
                  <a:pt x="305" y="0"/>
                </a:moveTo>
                <a:lnTo>
                  <a:pt x="305" y="0"/>
                </a:lnTo>
                <a:lnTo>
                  <a:pt x="0" y="283"/>
                </a:lnTo>
                <a:lnTo>
                  <a:pt x="374" y="283"/>
                </a:lnTo>
                <a:lnTo>
                  <a:pt x="30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2"/>
          <p:cNvSpPr>
            <a:spLocks/>
          </p:cNvSpPr>
          <p:nvPr/>
        </p:nvSpPr>
        <p:spPr bwMode="auto">
          <a:xfrm>
            <a:off x="9345576" y="5230827"/>
            <a:ext cx="0" cy="1311278"/>
          </a:xfrm>
          <a:custGeom>
            <a:avLst/>
            <a:gdLst>
              <a:gd name="T0" fmla="*/ 0 h 826"/>
              <a:gd name="T1" fmla="*/ 0 h 826"/>
              <a:gd name="T2" fmla="*/ 826 h 826"/>
              <a:gd name="T3" fmla="*/ 826 h 826"/>
              <a:gd name="T4" fmla="*/ 0 h 826"/>
              <a:gd name="T5" fmla="*/ 0 h 826"/>
            </a:gdLst>
            <a:ahLst/>
            <a:cxnLst>
              <a:cxn ang="0">
                <a:pos x="0" y="T0"/>
              </a:cxn>
              <a:cxn ang="0">
                <a:pos x="0" y="T1"/>
              </a:cxn>
              <a:cxn ang="0">
                <a:pos x="0" y="T2"/>
              </a:cxn>
              <a:cxn ang="0">
                <a:pos x="0" y="T3"/>
              </a:cxn>
              <a:cxn ang="0">
                <a:pos x="0" y="T4"/>
              </a:cxn>
              <a:cxn ang="0">
                <a:pos x="0" y="T5"/>
              </a:cxn>
            </a:cxnLst>
            <a:rect l="0" t="0" r="r" b="b"/>
            <a:pathLst>
              <a:path h="826">
                <a:moveTo>
                  <a:pt x="0" y="0"/>
                </a:moveTo>
                <a:lnTo>
                  <a:pt x="0" y="0"/>
                </a:lnTo>
                <a:lnTo>
                  <a:pt x="0" y="826"/>
                </a:lnTo>
                <a:lnTo>
                  <a:pt x="0" y="826"/>
                </a:lnTo>
                <a:lnTo>
                  <a:pt x="0" y="0"/>
                </a:lnTo>
                <a:lnTo>
                  <a:pt x="0" y="0"/>
                </a:lnTo>
                <a:close/>
              </a:path>
            </a:pathLst>
          </a:custGeom>
          <a:solidFill>
            <a:srgbClr val="9069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33"/>
          <p:cNvSpPr>
            <a:spLocks/>
          </p:cNvSpPr>
          <p:nvPr/>
        </p:nvSpPr>
        <p:spPr bwMode="auto">
          <a:xfrm>
            <a:off x="9345576" y="5230827"/>
            <a:ext cx="0" cy="1311278"/>
          </a:xfrm>
          <a:custGeom>
            <a:avLst/>
            <a:gdLst>
              <a:gd name="T0" fmla="*/ 0 h 826"/>
              <a:gd name="T1" fmla="*/ 0 h 826"/>
              <a:gd name="T2" fmla="*/ 826 h 826"/>
              <a:gd name="T3" fmla="*/ 826 h 826"/>
              <a:gd name="T4" fmla="*/ 0 h 826"/>
              <a:gd name="T5" fmla="*/ 0 h 826"/>
            </a:gdLst>
            <a:ahLst/>
            <a:cxnLst>
              <a:cxn ang="0">
                <a:pos x="0" y="T0"/>
              </a:cxn>
              <a:cxn ang="0">
                <a:pos x="0" y="T1"/>
              </a:cxn>
              <a:cxn ang="0">
                <a:pos x="0" y="T2"/>
              </a:cxn>
              <a:cxn ang="0">
                <a:pos x="0" y="T3"/>
              </a:cxn>
              <a:cxn ang="0">
                <a:pos x="0" y="T4"/>
              </a:cxn>
              <a:cxn ang="0">
                <a:pos x="0" y="T5"/>
              </a:cxn>
            </a:cxnLst>
            <a:rect l="0" t="0" r="r" b="b"/>
            <a:pathLst>
              <a:path h="826">
                <a:moveTo>
                  <a:pt x="0" y="0"/>
                </a:moveTo>
                <a:lnTo>
                  <a:pt x="0" y="0"/>
                </a:lnTo>
                <a:lnTo>
                  <a:pt x="0" y="826"/>
                </a:lnTo>
                <a:lnTo>
                  <a:pt x="0" y="826"/>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Rectangle 36"/>
          <p:cNvSpPr>
            <a:spLocks noChangeArrowheads="1"/>
          </p:cNvSpPr>
          <p:nvPr/>
        </p:nvSpPr>
        <p:spPr bwMode="auto">
          <a:xfrm>
            <a:off x="9093158" y="5229239"/>
            <a:ext cx="1587" cy="1588"/>
          </a:xfrm>
          <a:prstGeom prst="rect">
            <a:avLst/>
          </a:prstGeom>
          <a:solidFill>
            <a:srgbClr val="A87D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Rectangle 37"/>
          <p:cNvSpPr>
            <a:spLocks noChangeArrowheads="1"/>
          </p:cNvSpPr>
          <p:nvPr/>
        </p:nvSpPr>
        <p:spPr bwMode="auto">
          <a:xfrm>
            <a:off x="9093158" y="5229239"/>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9"/>
          <p:cNvSpPr>
            <a:spLocks noEditPoints="1"/>
          </p:cNvSpPr>
          <p:nvPr/>
        </p:nvSpPr>
        <p:spPr bwMode="black">
          <a:xfrm>
            <a:off x="1423072" y="5154978"/>
            <a:ext cx="360983" cy="362449"/>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2">
              <a:lumMod val="1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pic>
        <p:nvPicPr>
          <p:cNvPr id="68" name="Picture 67"/>
          <p:cNvPicPr>
            <a:picLocks noChangeAspect="1"/>
          </p:cNvPicPr>
          <p:nvPr/>
        </p:nvPicPr>
        <p:blipFill>
          <a:blip r:embed="rId3"/>
          <a:stretch>
            <a:fillRect/>
          </a:stretch>
        </p:blipFill>
        <p:spPr>
          <a:xfrm>
            <a:off x="177256" y="931052"/>
            <a:ext cx="543081" cy="566839"/>
          </a:xfrm>
          <a:prstGeom prst="rect">
            <a:avLst/>
          </a:prstGeom>
        </p:spPr>
      </p:pic>
      <p:pic>
        <p:nvPicPr>
          <p:cNvPr id="69" name="Picture 68"/>
          <p:cNvPicPr>
            <a:picLocks noChangeAspect="1"/>
          </p:cNvPicPr>
          <p:nvPr/>
        </p:nvPicPr>
        <p:blipFill>
          <a:blip r:embed="rId4"/>
          <a:stretch>
            <a:fillRect/>
          </a:stretch>
        </p:blipFill>
        <p:spPr>
          <a:xfrm>
            <a:off x="143073" y="5446962"/>
            <a:ext cx="587774" cy="668085"/>
          </a:xfrm>
          <a:prstGeom prst="rect">
            <a:avLst/>
          </a:prstGeom>
        </p:spPr>
      </p:pic>
      <p:pic>
        <p:nvPicPr>
          <p:cNvPr id="77" name="Picture 76"/>
          <p:cNvPicPr>
            <a:picLocks noChangeAspect="1"/>
          </p:cNvPicPr>
          <p:nvPr/>
        </p:nvPicPr>
        <p:blipFill>
          <a:blip r:embed="rId5"/>
          <a:stretch>
            <a:fillRect/>
          </a:stretch>
        </p:blipFill>
        <p:spPr>
          <a:xfrm>
            <a:off x="114740" y="3290630"/>
            <a:ext cx="637127" cy="439241"/>
          </a:xfrm>
          <a:prstGeom prst="rect">
            <a:avLst/>
          </a:prstGeom>
        </p:spPr>
      </p:pic>
      <p:grpSp>
        <p:nvGrpSpPr>
          <p:cNvPr id="34" name="Group 33"/>
          <p:cNvGrpSpPr/>
          <p:nvPr/>
        </p:nvGrpSpPr>
        <p:grpSpPr>
          <a:xfrm>
            <a:off x="9922790" y="4467590"/>
            <a:ext cx="1513428" cy="891175"/>
            <a:chOff x="9928225" y="5040207"/>
            <a:chExt cx="1513428" cy="891175"/>
          </a:xfrm>
        </p:grpSpPr>
        <p:sp>
          <p:nvSpPr>
            <p:cNvPr id="92" name="TextBox 91"/>
            <p:cNvSpPr txBox="1"/>
            <p:nvPr/>
          </p:nvSpPr>
          <p:spPr>
            <a:xfrm>
              <a:off x="9928225" y="5469717"/>
              <a:ext cx="1513428" cy="461665"/>
            </a:xfrm>
            <a:prstGeom prst="rect">
              <a:avLst/>
            </a:prstGeom>
            <a:noFill/>
          </p:spPr>
          <p:txBody>
            <a:bodyPr wrap="non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Increased insight</a:t>
              </a:r>
            </a:p>
          </p:txBody>
        </p:sp>
        <p:grpSp>
          <p:nvGrpSpPr>
            <p:cNvPr id="80" name="Group 79"/>
            <p:cNvGrpSpPr/>
            <p:nvPr/>
          </p:nvGrpSpPr>
          <p:grpSpPr>
            <a:xfrm>
              <a:off x="10440350" y="5157384"/>
              <a:ext cx="457277" cy="260527"/>
              <a:chOff x="-2160588" y="3748088"/>
              <a:chExt cx="1343025" cy="765175"/>
            </a:xfrm>
          </p:grpSpPr>
          <p:sp>
            <p:nvSpPr>
              <p:cNvPr id="81" name="Freeform 44"/>
              <p:cNvSpPr>
                <a:spLocks/>
              </p:cNvSpPr>
              <p:nvPr/>
            </p:nvSpPr>
            <p:spPr bwMode="auto">
              <a:xfrm>
                <a:off x="-2160582" y="3858967"/>
                <a:ext cx="1177484" cy="441573"/>
              </a:xfrm>
              <a:custGeom>
                <a:avLst/>
                <a:gdLst>
                  <a:gd name="T0" fmla="*/ 0 w 819"/>
                  <a:gd name="T1" fmla="*/ 348 h 348"/>
                  <a:gd name="T2" fmla="*/ 238 w 819"/>
                  <a:gd name="T3" fmla="*/ 107 h 348"/>
                  <a:gd name="T4" fmla="*/ 476 w 819"/>
                  <a:gd name="T5" fmla="*/ 348 h 348"/>
                  <a:gd name="T6" fmla="*/ 819 w 819"/>
                  <a:gd name="T7" fmla="*/ 0 h 348"/>
                </a:gdLst>
                <a:ahLst/>
                <a:cxnLst>
                  <a:cxn ang="0">
                    <a:pos x="T0" y="T1"/>
                  </a:cxn>
                  <a:cxn ang="0">
                    <a:pos x="T2" y="T3"/>
                  </a:cxn>
                  <a:cxn ang="0">
                    <a:pos x="T4" y="T5"/>
                  </a:cxn>
                  <a:cxn ang="0">
                    <a:pos x="T6" y="T7"/>
                  </a:cxn>
                </a:cxnLst>
                <a:rect l="0" t="0" r="r" b="b"/>
                <a:pathLst>
                  <a:path w="819" h="348">
                    <a:moveTo>
                      <a:pt x="0" y="348"/>
                    </a:moveTo>
                    <a:lnTo>
                      <a:pt x="238" y="107"/>
                    </a:lnTo>
                    <a:lnTo>
                      <a:pt x="476" y="348"/>
                    </a:lnTo>
                    <a:lnTo>
                      <a:pt x="819" y="0"/>
                    </a:lnTo>
                  </a:path>
                </a:pathLst>
              </a:custGeom>
              <a:noFill/>
              <a:ln w="34925" cap="flat">
                <a:solidFill>
                  <a:schemeClr val="tx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2" name="Line 45"/>
              <p:cNvSpPr>
                <a:spLocks noChangeShapeType="1"/>
              </p:cNvSpPr>
              <p:nvPr/>
            </p:nvSpPr>
            <p:spPr bwMode="auto">
              <a:xfrm>
                <a:off x="-2160588" y="4513263"/>
                <a:ext cx="1343025" cy="0"/>
              </a:xfrm>
              <a:prstGeom prst="line">
                <a:avLst/>
              </a:prstGeom>
              <a:noFill/>
              <a:ln w="34925" cap="flat">
                <a:solidFill>
                  <a:schemeClr val="tx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3" name="Freeform 46"/>
              <p:cNvSpPr>
                <a:spLocks/>
              </p:cNvSpPr>
              <p:nvPr/>
            </p:nvSpPr>
            <p:spPr bwMode="auto">
              <a:xfrm>
                <a:off x="-1111250" y="3748088"/>
                <a:ext cx="250825" cy="255588"/>
              </a:xfrm>
              <a:custGeom>
                <a:avLst/>
                <a:gdLst>
                  <a:gd name="T0" fmla="*/ 158 w 158"/>
                  <a:gd name="T1" fmla="*/ 161 h 161"/>
                  <a:gd name="T2" fmla="*/ 158 w 158"/>
                  <a:gd name="T3" fmla="*/ 0 h 161"/>
                  <a:gd name="T4" fmla="*/ 0 w 158"/>
                  <a:gd name="T5" fmla="*/ 0 h 161"/>
                </a:gdLst>
                <a:ahLst/>
                <a:cxnLst>
                  <a:cxn ang="0">
                    <a:pos x="T0" y="T1"/>
                  </a:cxn>
                  <a:cxn ang="0">
                    <a:pos x="T2" y="T3"/>
                  </a:cxn>
                  <a:cxn ang="0">
                    <a:pos x="T4" y="T5"/>
                  </a:cxn>
                </a:cxnLst>
                <a:rect l="0" t="0" r="r" b="b"/>
                <a:pathLst>
                  <a:path w="158" h="161">
                    <a:moveTo>
                      <a:pt x="158" y="161"/>
                    </a:moveTo>
                    <a:lnTo>
                      <a:pt x="158" y="0"/>
                    </a:lnTo>
                    <a:lnTo>
                      <a:pt x="0" y="0"/>
                    </a:lnTo>
                  </a:path>
                </a:pathLst>
              </a:custGeom>
              <a:noFill/>
              <a:ln w="34925" cap="flat">
                <a:solidFill>
                  <a:schemeClr val="tx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pic>
          <p:nvPicPr>
            <p:cNvPr id="4" name="Picture 3"/>
            <p:cNvPicPr>
              <a:picLocks noChangeAspect="1"/>
            </p:cNvPicPr>
            <p:nvPr/>
          </p:nvPicPr>
          <p:blipFill>
            <a:blip r:embed="rId6"/>
            <a:stretch>
              <a:fillRect/>
            </a:stretch>
          </p:blipFill>
          <p:spPr>
            <a:xfrm>
              <a:off x="10700234" y="5040207"/>
              <a:ext cx="436556" cy="459200"/>
            </a:xfrm>
            <a:prstGeom prst="rect">
              <a:avLst/>
            </a:prstGeom>
          </p:spPr>
        </p:pic>
      </p:grpSp>
      <p:grpSp>
        <p:nvGrpSpPr>
          <p:cNvPr id="35" name="Group 34"/>
          <p:cNvGrpSpPr/>
          <p:nvPr/>
        </p:nvGrpSpPr>
        <p:grpSpPr>
          <a:xfrm>
            <a:off x="9742401" y="3268236"/>
            <a:ext cx="2018373" cy="1064571"/>
            <a:chOff x="9868044" y="3433047"/>
            <a:chExt cx="2018373" cy="1064571"/>
          </a:xfrm>
        </p:grpSpPr>
        <p:sp>
          <p:nvSpPr>
            <p:cNvPr id="88" name="TextBox 87"/>
            <p:cNvSpPr txBox="1"/>
            <p:nvPr/>
          </p:nvSpPr>
          <p:spPr>
            <a:xfrm>
              <a:off x="9868044" y="4035953"/>
              <a:ext cx="2018373" cy="461665"/>
            </a:xfrm>
            <a:prstGeom prst="rect">
              <a:avLst/>
            </a:prstGeom>
            <a:noFill/>
          </p:spPr>
          <p:txBody>
            <a:bodyPr wrap="non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Single solution provider </a:t>
              </a:r>
            </a:p>
          </p:txBody>
        </p:sp>
        <p:pic>
          <p:nvPicPr>
            <p:cNvPr id="7" name="Picture 6"/>
            <p:cNvPicPr>
              <a:picLocks noChangeAspect="1"/>
            </p:cNvPicPr>
            <p:nvPr/>
          </p:nvPicPr>
          <p:blipFill>
            <a:blip r:embed="rId7"/>
            <a:stretch>
              <a:fillRect/>
            </a:stretch>
          </p:blipFill>
          <p:spPr>
            <a:xfrm>
              <a:off x="10639563" y="3433047"/>
              <a:ext cx="424497" cy="670886"/>
            </a:xfrm>
            <a:prstGeom prst="rect">
              <a:avLst/>
            </a:prstGeom>
          </p:spPr>
        </p:pic>
      </p:grpSp>
      <p:grpSp>
        <p:nvGrpSpPr>
          <p:cNvPr id="36" name="Group 35"/>
          <p:cNvGrpSpPr/>
          <p:nvPr/>
        </p:nvGrpSpPr>
        <p:grpSpPr>
          <a:xfrm>
            <a:off x="9727274" y="2379336"/>
            <a:ext cx="1849865" cy="850253"/>
            <a:chOff x="9993184" y="2080899"/>
            <a:chExt cx="1849865" cy="850253"/>
          </a:xfrm>
        </p:grpSpPr>
        <p:sp>
          <p:nvSpPr>
            <p:cNvPr id="63" name="TextBox 62"/>
            <p:cNvSpPr txBox="1"/>
            <p:nvPr/>
          </p:nvSpPr>
          <p:spPr>
            <a:xfrm>
              <a:off x="9993184" y="2469487"/>
              <a:ext cx="1849865" cy="461665"/>
            </a:xfrm>
            <a:prstGeom prst="rect">
              <a:avLst/>
            </a:prstGeom>
            <a:noFill/>
          </p:spPr>
          <p:txBody>
            <a:bodyPr wrap="non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Real-time line of sight</a:t>
              </a:r>
            </a:p>
          </p:txBody>
        </p:sp>
        <p:pic>
          <p:nvPicPr>
            <p:cNvPr id="8" name="Picture 7"/>
            <p:cNvPicPr>
              <a:picLocks noChangeAspect="1"/>
            </p:cNvPicPr>
            <p:nvPr/>
          </p:nvPicPr>
          <p:blipFill>
            <a:blip r:embed="rId8"/>
            <a:stretch>
              <a:fillRect/>
            </a:stretch>
          </p:blipFill>
          <p:spPr>
            <a:xfrm>
              <a:off x="10680474" y="2080899"/>
              <a:ext cx="514913" cy="414400"/>
            </a:xfrm>
            <a:prstGeom prst="rect">
              <a:avLst/>
            </a:prstGeom>
          </p:spPr>
        </p:pic>
      </p:grpSp>
      <p:pic>
        <p:nvPicPr>
          <p:cNvPr id="10" name="Picture 9"/>
          <p:cNvPicPr>
            <a:picLocks noChangeAspect="1"/>
          </p:cNvPicPr>
          <p:nvPr/>
        </p:nvPicPr>
        <p:blipFill>
          <a:blip r:embed="rId9"/>
          <a:stretch>
            <a:fillRect/>
          </a:stretch>
        </p:blipFill>
        <p:spPr>
          <a:xfrm>
            <a:off x="7277293" y="3792456"/>
            <a:ext cx="442153" cy="190400"/>
          </a:xfrm>
          <a:prstGeom prst="rect">
            <a:avLst/>
          </a:prstGeom>
        </p:spPr>
      </p:pic>
      <p:sp>
        <p:nvSpPr>
          <p:cNvPr id="87" name="Oval 86"/>
          <p:cNvSpPr/>
          <p:nvPr/>
        </p:nvSpPr>
        <p:spPr bwMode="auto">
          <a:xfrm>
            <a:off x="8106664" y="3380227"/>
            <a:ext cx="1009906" cy="1009909"/>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9" name="Picture 8"/>
          <p:cNvPicPr>
            <a:picLocks noChangeAspect="1"/>
          </p:cNvPicPr>
          <p:nvPr/>
        </p:nvPicPr>
        <p:blipFill>
          <a:blip r:embed="rId10"/>
          <a:stretch>
            <a:fillRect/>
          </a:stretch>
        </p:blipFill>
        <p:spPr>
          <a:xfrm>
            <a:off x="8362718" y="3561685"/>
            <a:ext cx="498859" cy="639740"/>
          </a:xfrm>
          <a:prstGeom prst="rect">
            <a:avLst/>
          </a:prstGeom>
        </p:spPr>
      </p:pic>
      <p:pic>
        <p:nvPicPr>
          <p:cNvPr id="11" name="Picture 10"/>
          <p:cNvPicPr>
            <a:picLocks noChangeAspect="1"/>
          </p:cNvPicPr>
          <p:nvPr/>
        </p:nvPicPr>
        <p:blipFill>
          <a:blip r:embed="rId11"/>
          <a:stretch>
            <a:fillRect/>
          </a:stretch>
        </p:blipFill>
        <p:spPr>
          <a:xfrm>
            <a:off x="8368721" y="3477656"/>
            <a:ext cx="487104" cy="734498"/>
          </a:xfrm>
          <a:prstGeom prst="rect">
            <a:avLst/>
          </a:prstGeom>
        </p:spPr>
      </p:pic>
      <p:cxnSp>
        <p:nvCxnSpPr>
          <p:cNvPr id="107" name="Straight Connector 106"/>
          <p:cNvCxnSpPr/>
          <p:nvPr/>
        </p:nvCxnSpPr>
        <p:spPr>
          <a:xfrm flipH="1" flipV="1">
            <a:off x="8577595" y="2661792"/>
            <a:ext cx="12805" cy="709684"/>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Arrow Connector 107"/>
          <p:cNvCxnSpPr/>
          <p:nvPr/>
        </p:nvCxnSpPr>
        <p:spPr>
          <a:xfrm>
            <a:off x="8590400" y="2671587"/>
            <a:ext cx="1136874" cy="0"/>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41276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42" presetClass="path" presetSubtype="0" accel="50000" decel="50000" fill="hold" nodeType="withEffect">
                                  <p:stCondLst>
                                    <p:cond delay="0"/>
                                  </p:stCondLst>
                                  <p:childTnLst>
                                    <p:animMotion origin="layout" path="M 0.00537 -2.95506E-6 L 0.08617 0.00136 " pathEditMode="relative" rAng="0" ptsTypes="AA">
                                      <p:cBhvr>
                                        <p:cTn id="9" dur="2000" fill="hold"/>
                                        <p:tgtEl>
                                          <p:spTgt spid="10"/>
                                        </p:tgtEl>
                                        <p:attrNameLst>
                                          <p:attrName>ppt_x</p:attrName>
                                          <p:attrName>ppt_y</p:attrName>
                                        </p:attrNameLst>
                                      </p:cBhvr>
                                      <p:rCtr x="4034" y="68"/>
                                    </p:animMotion>
                                  </p:childTnLst>
                                </p:cTn>
                              </p:par>
                            </p:childTnLst>
                          </p:cTn>
                        </p:par>
                        <p:par>
                          <p:cTn id="10" fill="hold">
                            <p:stCondLst>
                              <p:cond delay="2000"/>
                            </p:stCondLst>
                            <p:childTnLst>
                              <p:par>
                                <p:cTn id="11" presetID="10" presetClass="exit" presetSubtype="0" fill="hold" nodeType="afterEffect">
                                  <p:stCondLst>
                                    <p:cond delay="0"/>
                                  </p:stCondLst>
                                  <p:childTnLst>
                                    <p:animEffect transition="out" filter="fade">
                                      <p:cBhvr>
                                        <p:cTn id="12" dur="500"/>
                                        <p:tgtEl>
                                          <p:spTgt spid="9"/>
                                        </p:tgtEl>
                                      </p:cBhvr>
                                    </p:animEffect>
                                    <p:set>
                                      <p:cBhvr>
                                        <p:cTn id="13" dur="1" fill="hold">
                                          <p:stCondLst>
                                            <p:cond delay="499"/>
                                          </p:stCondLst>
                                        </p:cTn>
                                        <p:tgtEl>
                                          <p:spTgt spid="9"/>
                                        </p:tgtEl>
                                        <p:attrNameLst>
                                          <p:attrName>style.visibility</p:attrName>
                                        </p:attrNameLst>
                                      </p:cBhvr>
                                      <p:to>
                                        <p:strVal val="hidden"/>
                                      </p:to>
                                    </p:set>
                                  </p:childTnLst>
                                </p:cTn>
                              </p:par>
                              <p:par>
                                <p:cTn id="14" presetID="10" presetClass="entr" presetSubtype="0" fill="hold" nodeType="with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fade">
                                      <p:cBhvr>
                                        <p:cTn id="16" dur="500"/>
                                        <p:tgtEl>
                                          <p:spTgt spid="11"/>
                                        </p:tgtEl>
                                      </p:cBhvr>
                                    </p:animEffect>
                                  </p:childTnLst>
                                </p:cTn>
                              </p:par>
                            </p:childTnLst>
                          </p:cTn>
                        </p:par>
                        <p:par>
                          <p:cTn id="17" fill="hold">
                            <p:stCondLst>
                              <p:cond delay="2500"/>
                            </p:stCondLst>
                            <p:childTnLst>
                              <p:par>
                                <p:cTn id="18" presetID="22" presetClass="entr" presetSubtype="4" fill="hold" nodeType="afterEffect">
                                  <p:stCondLst>
                                    <p:cond delay="0"/>
                                  </p:stCondLst>
                                  <p:childTnLst>
                                    <p:set>
                                      <p:cBhvr>
                                        <p:cTn id="19" dur="1" fill="hold">
                                          <p:stCondLst>
                                            <p:cond delay="0"/>
                                          </p:stCondLst>
                                        </p:cTn>
                                        <p:tgtEl>
                                          <p:spTgt spid="107"/>
                                        </p:tgtEl>
                                        <p:attrNameLst>
                                          <p:attrName>style.visibility</p:attrName>
                                        </p:attrNameLst>
                                      </p:cBhvr>
                                      <p:to>
                                        <p:strVal val="visible"/>
                                      </p:to>
                                    </p:set>
                                    <p:animEffect transition="in" filter="wipe(down)">
                                      <p:cBhvr>
                                        <p:cTn id="20" dur="500"/>
                                        <p:tgtEl>
                                          <p:spTgt spid="107"/>
                                        </p:tgtEl>
                                      </p:cBhvr>
                                    </p:animEffect>
                                  </p:childTnLst>
                                </p:cTn>
                              </p:par>
                              <p:par>
                                <p:cTn id="21" presetID="22" presetClass="entr" presetSubtype="1" fill="hold" nodeType="withEffect">
                                  <p:stCondLst>
                                    <p:cond delay="0"/>
                                  </p:stCondLst>
                                  <p:childTnLst>
                                    <p:set>
                                      <p:cBhvr>
                                        <p:cTn id="22" dur="1" fill="hold">
                                          <p:stCondLst>
                                            <p:cond delay="0"/>
                                          </p:stCondLst>
                                        </p:cTn>
                                        <p:tgtEl>
                                          <p:spTgt spid="102"/>
                                        </p:tgtEl>
                                        <p:attrNameLst>
                                          <p:attrName>style.visibility</p:attrName>
                                        </p:attrNameLst>
                                      </p:cBhvr>
                                      <p:to>
                                        <p:strVal val="visible"/>
                                      </p:to>
                                    </p:set>
                                    <p:animEffect transition="in" filter="wipe(up)">
                                      <p:cBhvr>
                                        <p:cTn id="23" dur="500"/>
                                        <p:tgtEl>
                                          <p:spTgt spid="102"/>
                                        </p:tgtEl>
                                      </p:cBhvr>
                                    </p:animEffect>
                                  </p:childTnLst>
                                </p:cTn>
                              </p:par>
                            </p:childTnLst>
                          </p:cTn>
                        </p:par>
                        <p:par>
                          <p:cTn id="24" fill="hold">
                            <p:stCondLst>
                              <p:cond delay="3000"/>
                            </p:stCondLst>
                            <p:childTnLst>
                              <p:par>
                                <p:cTn id="25" presetID="22" presetClass="entr" presetSubtype="8" fill="hold" nodeType="afterEffect">
                                  <p:stCondLst>
                                    <p:cond delay="0"/>
                                  </p:stCondLst>
                                  <p:childTnLst>
                                    <p:set>
                                      <p:cBhvr>
                                        <p:cTn id="26" dur="1" fill="hold">
                                          <p:stCondLst>
                                            <p:cond delay="0"/>
                                          </p:stCondLst>
                                        </p:cTn>
                                        <p:tgtEl>
                                          <p:spTgt spid="104"/>
                                        </p:tgtEl>
                                        <p:attrNameLst>
                                          <p:attrName>style.visibility</p:attrName>
                                        </p:attrNameLst>
                                      </p:cBhvr>
                                      <p:to>
                                        <p:strVal val="visible"/>
                                      </p:to>
                                    </p:set>
                                    <p:animEffect transition="in" filter="wipe(left)">
                                      <p:cBhvr>
                                        <p:cTn id="27" dur="500"/>
                                        <p:tgtEl>
                                          <p:spTgt spid="104"/>
                                        </p:tgtEl>
                                      </p:cBhvr>
                                    </p:animEffect>
                                  </p:childTnLst>
                                </p:cTn>
                              </p:par>
                              <p:par>
                                <p:cTn id="28" presetID="22" presetClass="entr" presetSubtype="8" fill="hold" nodeType="withEffect">
                                  <p:stCondLst>
                                    <p:cond delay="0"/>
                                  </p:stCondLst>
                                  <p:childTnLst>
                                    <p:set>
                                      <p:cBhvr>
                                        <p:cTn id="29" dur="1" fill="hold">
                                          <p:stCondLst>
                                            <p:cond delay="0"/>
                                          </p:stCondLst>
                                        </p:cTn>
                                        <p:tgtEl>
                                          <p:spTgt spid="109"/>
                                        </p:tgtEl>
                                        <p:attrNameLst>
                                          <p:attrName>style.visibility</p:attrName>
                                        </p:attrNameLst>
                                      </p:cBhvr>
                                      <p:to>
                                        <p:strVal val="visible"/>
                                      </p:to>
                                    </p:set>
                                    <p:animEffect transition="in" filter="wipe(left)">
                                      <p:cBhvr>
                                        <p:cTn id="30" dur="500"/>
                                        <p:tgtEl>
                                          <p:spTgt spid="109"/>
                                        </p:tgtEl>
                                      </p:cBhvr>
                                    </p:animEffect>
                                  </p:childTnLst>
                                </p:cTn>
                              </p:par>
                              <p:par>
                                <p:cTn id="31" presetID="22" presetClass="entr" presetSubtype="8" fill="hold" nodeType="withEffect">
                                  <p:stCondLst>
                                    <p:cond delay="0"/>
                                  </p:stCondLst>
                                  <p:childTnLst>
                                    <p:set>
                                      <p:cBhvr>
                                        <p:cTn id="32" dur="1" fill="hold">
                                          <p:stCondLst>
                                            <p:cond delay="0"/>
                                          </p:stCondLst>
                                        </p:cTn>
                                        <p:tgtEl>
                                          <p:spTgt spid="108"/>
                                        </p:tgtEl>
                                        <p:attrNameLst>
                                          <p:attrName>style.visibility</p:attrName>
                                        </p:attrNameLst>
                                      </p:cBhvr>
                                      <p:to>
                                        <p:strVal val="visible"/>
                                      </p:to>
                                    </p:set>
                                    <p:animEffect transition="in" filter="wipe(left)">
                                      <p:cBhvr>
                                        <p:cTn id="33" dur="500"/>
                                        <p:tgtEl>
                                          <p:spTgt spid="108"/>
                                        </p:tgtEl>
                                      </p:cBhvr>
                                    </p:animEffect>
                                  </p:childTnLst>
                                </p:cTn>
                              </p:par>
                            </p:childTnLst>
                          </p:cTn>
                        </p:par>
                        <p:par>
                          <p:cTn id="34" fill="hold">
                            <p:stCondLst>
                              <p:cond delay="3500"/>
                            </p:stCondLst>
                            <p:childTnLst>
                              <p:par>
                                <p:cTn id="35" presetID="10" presetClass="entr" presetSubtype="0" fill="hold" nodeType="afterEffect">
                                  <p:stCondLst>
                                    <p:cond delay="0"/>
                                  </p:stCondLst>
                                  <p:childTnLst>
                                    <p:set>
                                      <p:cBhvr>
                                        <p:cTn id="36" dur="1" fill="hold">
                                          <p:stCondLst>
                                            <p:cond delay="0"/>
                                          </p:stCondLst>
                                        </p:cTn>
                                        <p:tgtEl>
                                          <p:spTgt spid="36"/>
                                        </p:tgtEl>
                                        <p:attrNameLst>
                                          <p:attrName>style.visibility</p:attrName>
                                        </p:attrNameLst>
                                      </p:cBhvr>
                                      <p:to>
                                        <p:strVal val="visible"/>
                                      </p:to>
                                    </p:set>
                                    <p:animEffect transition="in" filter="fade">
                                      <p:cBhvr>
                                        <p:cTn id="37" dur="500"/>
                                        <p:tgtEl>
                                          <p:spTgt spid="36"/>
                                        </p:tgtEl>
                                      </p:cBhvr>
                                    </p:animEffect>
                                  </p:childTnLst>
                                </p:cTn>
                              </p:par>
                              <p:par>
                                <p:cTn id="38" presetID="10" presetClass="entr" presetSubtype="0" fill="hold" nodeType="withEffect">
                                  <p:stCondLst>
                                    <p:cond delay="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10" presetClass="entr" presetSubtype="0" fill="hold" nodeType="withEffect">
                                  <p:stCondLst>
                                    <p:cond delay="0"/>
                                  </p:stCondLst>
                                  <p:childTnLst>
                                    <p:set>
                                      <p:cBhvr>
                                        <p:cTn id="42" dur="1" fill="hold">
                                          <p:stCondLst>
                                            <p:cond delay="0"/>
                                          </p:stCondLst>
                                        </p:cTn>
                                        <p:tgtEl>
                                          <p:spTgt spid="34"/>
                                        </p:tgtEl>
                                        <p:attrNameLst>
                                          <p:attrName>style.visibility</p:attrName>
                                        </p:attrNameLst>
                                      </p:cBhvr>
                                      <p:to>
                                        <p:strVal val="visible"/>
                                      </p:to>
                                    </p:set>
                                    <p:animEffect transition="in" filter="fade">
                                      <p:cBhvr>
                                        <p:cTn id="43"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7580205" y="1928380"/>
            <a:ext cx="3369319" cy="4771200"/>
          </a:xfrm>
          <a:prstGeom prst="rect">
            <a:avLst/>
          </a:prstGeom>
        </p:spPr>
      </p:pic>
      <p:sp>
        <p:nvSpPr>
          <p:cNvPr id="2" name="Title 1"/>
          <p:cNvSpPr>
            <a:spLocks noGrp="1"/>
          </p:cNvSpPr>
          <p:nvPr>
            <p:ph type="title"/>
          </p:nvPr>
        </p:nvSpPr>
        <p:spPr>
          <a:xfrm>
            <a:off x="1199072" y="296897"/>
            <a:ext cx="10964812" cy="917575"/>
          </a:xfrm>
        </p:spPr>
        <p:txBody>
          <a:bodyPr/>
          <a:lstStyle/>
          <a:p>
            <a:r>
              <a:rPr lang="en-US" sz="5200" dirty="0">
                <a:solidFill>
                  <a:schemeClr val="tx2">
                    <a:lumMod val="10000"/>
                  </a:schemeClr>
                </a:solidFill>
              </a:rPr>
              <a:t>Increase profitability</a:t>
            </a:r>
          </a:p>
        </p:txBody>
      </p:sp>
      <p:sp>
        <p:nvSpPr>
          <p:cNvPr id="3" name="Title 1"/>
          <p:cNvSpPr txBox="1">
            <a:spLocks/>
          </p:cNvSpPr>
          <p:nvPr/>
        </p:nvSpPr>
        <p:spPr>
          <a:xfrm>
            <a:off x="1186372" y="1058827"/>
            <a:ext cx="10964812" cy="470690"/>
          </a:xfrm>
          <a:prstGeom prst="rect">
            <a:avLst/>
          </a:prstGeom>
        </p:spPr>
        <p:txBody>
          <a:bodyPr vert="horz" wrap="square" lIns="182880" tIns="91440" rIns="146304" bIns="91440"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lvl="0">
              <a:defRPr/>
            </a:pPr>
            <a:r>
              <a:rPr lang="en-US" sz="2400" dirty="0">
                <a:solidFill>
                  <a:schemeClr val="tx2">
                    <a:lumMod val="10000"/>
                  </a:schemeClr>
                </a:solidFill>
              </a:rPr>
              <a:t>Increase revenue and accelerate time-to-market through the CSP program</a:t>
            </a:r>
          </a:p>
        </p:txBody>
      </p:sp>
      <p:sp>
        <p:nvSpPr>
          <p:cNvPr id="21" name="Rectangle 20"/>
          <p:cNvSpPr/>
          <p:nvPr/>
        </p:nvSpPr>
        <p:spPr bwMode="auto">
          <a:xfrm>
            <a:off x="0" y="0"/>
            <a:ext cx="888521" cy="6994525"/>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22" name="Group 21"/>
          <p:cNvGrpSpPr/>
          <p:nvPr/>
        </p:nvGrpSpPr>
        <p:grpSpPr>
          <a:xfrm>
            <a:off x="-1" y="4669633"/>
            <a:ext cx="1055533" cy="2333895"/>
            <a:chOff x="-1" y="-2"/>
            <a:chExt cx="1055533" cy="2358426"/>
          </a:xfrm>
          <a:solidFill>
            <a:srgbClr val="F2C811"/>
          </a:solidFill>
        </p:grpSpPr>
        <p:sp>
          <p:nvSpPr>
            <p:cNvPr id="23" name="Rectangle 22"/>
            <p:cNvSpPr/>
            <p:nvPr/>
          </p:nvSpPr>
          <p:spPr bwMode="auto">
            <a:xfrm>
              <a:off x="-1" y="-2"/>
              <a:ext cx="888521" cy="235842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3" name="Isosceles Triangle 32"/>
            <p:cNvSpPr/>
            <p:nvPr/>
          </p:nvSpPr>
          <p:spPr bwMode="auto">
            <a:xfrm rot="5400000">
              <a:off x="821672" y="1095118"/>
              <a:ext cx="299536" cy="168184"/>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cxnSp>
        <p:nvCxnSpPr>
          <p:cNvPr id="34" name="Straight Connector 33"/>
          <p:cNvCxnSpPr/>
          <p:nvPr/>
        </p:nvCxnSpPr>
        <p:spPr>
          <a:xfrm>
            <a:off x="0" y="2334816"/>
            <a:ext cx="887348"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0" y="4664670"/>
            <a:ext cx="887348"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Freeform 9"/>
          <p:cNvSpPr>
            <a:spLocks noEditPoints="1"/>
          </p:cNvSpPr>
          <p:nvPr/>
        </p:nvSpPr>
        <p:spPr bwMode="black">
          <a:xfrm>
            <a:off x="1423072" y="1938861"/>
            <a:ext cx="360983" cy="362449"/>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2">
              <a:lumMod val="1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 name="Freeform 9"/>
          <p:cNvSpPr>
            <a:spLocks noEditPoints="1"/>
          </p:cNvSpPr>
          <p:nvPr/>
        </p:nvSpPr>
        <p:spPr bwMode="black">
          <a:xfrm>
            <a:off x="1423072" y="2911781"/>
            <a:ext cx="360983" cy="362449"/>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2">
              <a:lumMod val="1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 name="Freeform 9"/>
          <p:cNvSpPr>
            <a:spLocks noEditPoints="1"/>
          </p:cNvSpPr>
          <p:nvPr/>
        </p:nvSpPr>
        <p:spPr bwMode="black">
          <a:xfrm>
            <a:off x="1423072" y="3787814"/>
            <a:ext cx="360983" cy="362449"/>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2">
              <a:lumMod val="1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 name="TextBox 44"/>
          <p:cNvSpPr txBox="1"/>
          <p:nvPr/>
        </p:nvSpPr>
        <p:spPr>
          <a:xfrm>
            <a:off x="1951038" y="1915045"/>
            <a:ext cx="4558944" cy="3445625"/>
          </a:xfrm>
          <a:prstGeom prst="rect">
            <a:avLst/>
          </a:prstGeom>
          <a:noFill/>
        </p:spPr>
        <p:txBody>
          <a:bodyPr wrap="square" lIns="0" tIns="0" rIns="0" bIns="0" rtlCol="0" anchor="t" anchorCtr="0">
            <a:noAutofit/>
          </a:bodyPr>
          <a:lstStyle/>
          <a:p>
            <a:pPr marL="0" marR="0" lvl="0" indent="0" defTabSz="914400" eaLnBrk="1" fontAlgn="auto" latinLnBrk="0" hangingPunct="1">
              <a:lnSpc>
                <a:spcPct val="100000"/>
              </a:lnSpc>
              <a:spcBef>
                <a:spcPts val="0"/>
              </a:spcBef>
              <a:spcAft>
                <a:spcPts val="2400"/>
              </a:spcAft>
              <a:buClrTx/>
              <a:buSzTx/>
              <a:buFontTx/>
              <a:buNone/>
              <a:tabLst/>
              <a:defRPr/>
            </a:pPr>
            <a:r>
              <a:rPr kumimoji="0" lang="en-US" sz="1400" b="0" i="0" u="none" strike="noStrike" kern="0" cap="none" spc="0" normalizeH="0" baseline="0" noProof="0" dirty="0">
                <a:ln>
                  <a:noFill/>
                </a:ln>
                <a:solidFill>
                  <a:schemeClr val="tx2">
                    <a:lumMod val="10000"/>
                  </a:schemeClr>
                </a:solidFill>
                <a:effectLst/>
                <a:uLnTx/>
                <a:uFillTx/>
              </a:rPr>
              <a:t>Get to market quicker by leveraging a broad partner ecosystem equipped to help you provide value-added services, customer billing capabilities, and support</a:t>
            </a:r>
          </a:p>
          <a:p>
            <a:pPr marL="0" marR="0" lvl="0" indent="0" defTabSz="914400" eaLnBrk="1" fontAlgn="auto" latinLnBrk="0" hangingPunct="1">
              <a:lnSpc>
                <a:spcPct val="100000"/>
              </a:lnSpc>
              <a:spcBef>
                <a:spcPts val="0"/>
              </a:spcBef>
              <a:spcAft>
                <a:spcPts val="2400"/>
              </a:spcAft>
              <a:buClrTx/>
              <a:buSzTx/>
              <a:buFontTx/>
              <a:buNone/>
              <a:tabLst/>
              <a:defRPr/>
            </a:pPr>
            <a:r>
              <a:rPr kumimoji="0" lang="en-US" sz="1400" b="0" i="0" u="none" strike="noStrike" kern="0" cap="none" spc="0" normalizeH="0" baseline="0" noProof="0" dirty="0">
                <a:ln>
                  <a:noFill/>
                </a:ln>
                <a:solidFill>
                  <a:schemeClr val="tx2">
                    <a:lumMod val="10000"/>
                  </a:schemeClr>
                </a:solidFill>
                <a:effectLst/>
                <a:uLnTx/>
                <a:uFillTx/>
              </a:rPr>
              <a:t>Benefit from the margin structure provided </a:t>
            </a:r>
            <a:br>
              <a:rPr kumimoji="0" lang="en-US" sz="1400" b="0" i="0" u="none" strike="noStrike" kern="0" cap="none" spc="0" normalizeH="0" baseline="0" noProof="0" dirty="0">
                <a:ln>
                  <a:noFill/>
                </a:ln>
                <a:solidFill>
                  <a:schemeClr val="tx2">
                    <a:lumMod val="10000"/>
                  </a:schemeClr>
                </a:solidFill>
                <a:effectLst/>
                <a:uLnTx/>
                <a:uFillTx/>
              </a:rPr>
            </a:br>
            <a:r>
              <a:rPr kumimoji="0" lang="en-US" sz="1400" b="0" i="0" u="none" strike="noStrike" kern="0" cap="none" spc="0" normalizeH="0" baseline="0" noProof="0" dirty="0">
                <a:ln>
                  <a:noFill/>
                </a:ln>
                <a:solidFill>
                  <a:schemeClr val="tx2">
                    <a:lumMod val="10000"/>
                  </a:schemeClr>
                </a:solidFill>
                <a:effectLst/>
                <a:uLnTx/>
                <a:uFillTx/>
              </a:rPr>
              <a:t>by Microsoft along with the new opportunities enabled via the CSP program</a:t>
            </a:r>
          </a:p>
          <a:p>
            <a:pPr defTabSz="914400">
              <a:spcAft>
                <a:spcPts val="2400"/>
              </a:spcAft>
              <a:defRPr/>
            </a:pPr>
            <a:r>
              <a:rPr lang="en-US" sz="1400" dirty="0">
                <a:solidFill>
                  <a:schemeClr val="tx2">
                    <a:lumMod val="10000"/>
                  </a:schemeClr>
                </a:solidFill>
              </a:rPr>
              <a:t>Leverage data and analytics as significant </a:t>
            </a:r>
            <a:br>
              <a:rPr lang="en-US" sz="1400" dirty="0">
                <a:solidFill>
                  <a:schemeClr val="tx2">
                    <a:lumMod val="10000"/>
                  </a:schemeClr>
                </a:solidFill>
              </a:rPr>
            </a:br>
            <a:r>
              <a:rPr lang="en-US" sz="1400" dirty="0">
                <a:solidFill>
                  <a:schemeClr val="tx2">
                    <a:lumMod val="10000"/>
                  </a:schemeClr>
                </a:solidFill>
              </a:rPr>
              <a:t>business value and arm customers with real-time visualizations to make better business decisions</a:t>
            </a:r>
          </a:p>
          <a:p>
            <a:pPr defTabSz="914400">
              <a:spcAft>
                <a:spcPts val="2400"/>
              </a:spcAft>
              <a:defRPr/>
            </a:pPr>
            <a:r>
              <a:rPr lang="en-US" sz="1400" dirty="0">
                <a:solidFill>
                  <a:schemeClr val="tx2">
                    <a:lumMod val="10000"/>
                  </a:schemeClr>
                </a:solidFill>
              </a:rPr>
              <a:t>Provide quick and cost effective deployment for any data project with seamless integration across the Microsoft Data Platform</a:t>
            </a:r>
          </a:p>
          <a:p>
            <a:pPr marL="0" marR="0" lvl="0" indent="0" defTabSz="914400" eaLnBrk="1" fontAlgn="auto" latinLnBrk="0" hangingPunct="1">
              <a:lnSpc>
                <a:spcPct val="100000"/>
              </a:lnSpc>
              <a:spcBef>
                <a:spcPts val="0"/>
              </a:spcBef>
              <a:spcAft>
                <a:spcPts val="2400"/>
              </a:spcAft>
              <a:buClrTx/>
              <a:buSzTx/>
              <a:buFontTx/>
              <a:buNone/>
              <a:tabLst/>
              <a:defRPr/>
            </a:pPr>
            <a:endParaRPr kumimoji="0" lang="en-US" sz="1400" b="0" i="0" u="none" strike="noStrike" kern="0" cap="none" spc="0" normalizeH="0" baseline="0" noProof="0" dirty="0">
              <a:ln>
                <a:noFill/>
              </a:ln>
              <a:solidFill>
                <a:schemeClr val="tx2">
                  <a:lumMod val="10000"/>
                </a:schemeClr>
              </a:solidFill>
              <a:effectLst/>
              <a:uLnTx/>
              <a:uFillTx/>
            </a:endParaRPr>
          </a:p>
          <a:p>
            <a:pPr marL="0" marR="0" lvl="0" indent="0" defTabSz="914400" eaLnBrk="1" fontAlgn="auto" latinLnBrk="0" hangingPunct="1">
              <a:lnSpc>
                <a:spcPct val="100000"/>
              </a:lnSpc>
              <a:spcBef>
                <a:spcPts val="0"/>
              </a:spcBef>
              <a:spcAft>
                <a:spcPts val="2400"/>
              </a:spcAft>
              <a:buClrTx/>
              <a:buSzTx/>
              <a:buFontTx/>
              <a:buNone/>
              <a:tabLst/>
              <a:defRPr/>
            </a:pPr>
            <a:endParaRPr kumimoji="0" lang="en-US" sz="1400" b="0" i="0" u="none" strike="noStrike" kern="0" cap="none" spc="0" normalizeH="0" baseline="0" noProof="0" dirty="0">
              <a:ln>
                <a:noFill/>
              </a:ln>
              <a:solidFill>
                <a:schemeClr val="tx2">
                  <a:lumMod val="10000"/>
                </a:schemeClr>
              </a:solidFill>
              <a:effectLst/>
              <a:uLnTx/>
              <a:uFillTx/>
            </a:endParaRPr>
          </a:p>
          <a:p>
            <a:pPr marL="0" marR="0" lvl="0" indent="0" defTabSz="914400" eaLnBrk="1" fontAlgn="auto" latinLnBrk="0" hangingPunct="1">
              <a:lnSpc>
                <a:spcPct val="100000"/>
              </a:lnSpc>
              <a:spcBef>
                <a:spcPts val="0"/>
              </a:spcBef>
              <a:spcAft>
                <a:spcPts val="2400"/>
              </a:spcAft>
              <a:buClrTx/>
              <a:buSzTx/>
              <a:buFontTx/>
              <a:buNone/>
              <a:tabLst/>
              <a:defRPr/>
            </a:pPr>
            <a:endParaRPr kumimoji="0" lang="en-US" sz="1400" b="0" i="0" u="none" strike="noStrike" kern="0" cap="none" spc="0" normalizeH="0" baseline="0" noProof="0" dirty="0">
              <a:ln>
                <a:noFill/>
              </a:ln>
              <a:solidFill>
                <a:schemeClr val="tx2">
                  <a:lumMod val="10000"/>
                </a:schemeClr>
              </a:solidFill>
              <a:effectLst/>
              <a:uLnTx/>
              <a:uFillTx/>
            </a:endParaRPr>
          </a:p>
          <a:p>
            <a:pPr marL="0" marR="0" lvl="0" indent="0" defTabSz="914400" eaLnBrk="1" fontAlgn="auto" latinLnBrk="0" hangingPunct="1">
              <a:lnSpc>
                <a:spcPct val="100000"/>
              </a:lnSpc>
              <a:spcBef>
                <a:spcPts val="0"/>
              </a:spcBef>
              <a:spcAft>
                <a:spcPts val="2400"/>
              </a:spcAft>
              <a:buClrTx/>
              <a:buSzTx/>
              <a:buFontTx/>
              <a:buNone/>
              <a:tabLst/>
              <a:defRPr/>
            </a:pPr>
            <a:endParaRPr kumimoji="0" lang="en-US" sz="1400" b="0" i="0" u="none" strike="noStrike" kern="0" cap="none" spc="0" normalizeH="0" baseline="0" noProof="0" dirty="0">
              <a:ln>
                <a:noFill/>
              </a:ln>
              <a:solidFill>
                <a:schemeClr val="tx2">
                  <a:lumMod val="10000"/>
                </a:schemeClr>
              </a:solidFill>
              <a:effectLst/>
              <a:uLnTx/>
              <a:uFillTx/>
            </a:endParaRPr>
          </a:p>
        </p:txBody>
      </p:sp>
      <p:sp>
        <p:nvSpPr>
          <p:cNvPr id="19" name="Freeform 9"/>
          <p:cNvSpPr>
            <a:spLocks noEditPoints="1"/>
          </p:cNvSpPr>
          <p:nvPr/>
        </p:nvSpPr>
        <p:spPr bwMode="black">
          <a:xfrm>
            <a:off x="1423072" y="4758641"/>
            <a:ext cx="360983" cy="362449"/>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2">
              <a:lumMod val="1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 name="Freeform 26"/>
          <p:cNvSpPr>
            <a:spLocks/>
          </p:cNvSpPr>
          <p:nvPr/>
        </p:nvSpPr>
        <p:spPr bwMode="auto">
          <a:xfrm>
            <a:off x="7416804" y="3230563"/>
            <a:ext cx="3686176" cy="2179638"/>
          </a:xfrm>
          <a:custGeom>
            <a:avLst/>
            <a:gdLst>
              <a:gd name="T0" fmla="*/ 2322 w 2322"/>
              <a:gd name="T1" fmla="*/ 1373 h 1373"/>
              <a:gd name="T2" fmla="*/ 0 w 2322"/>
              <a:gd name="T3" fmla="*/ 0 h 1373"/>
              <a:gd name="T4" fmla="*/ 2322 w 2322"/>
              <a:gd name="T5" fmla="*/ 1373 h 1373"/>
            </a:gdLst>
            <a:ahLst/>
            <a:cxnLst>
              <a:cxn ang="0">
                <a:pos x="T0" y="T1"/>
              </a:cxn>
              <a:cxn ang="0">
                <a:pos x="T2" y="T3"/>
              </a:cxn>
              <a:cxn ang="0">
                <a:pos x="T4" y="T5"/>
              </a:cxn>
            </a:cxnLst>
            <a:rect l="0" t="0" r="r" b="b"/>
            <a:pathLst>
              <a:path w="2322" h="1373">
                <a:moveTo>
                  <a:pt x="2322" y="1373"/>
                </a:moveTo>
                <a:lnTo>
                  <a:pt x="0" y="0"/>
                </a:lnTo>
                <a:lnTo>
                  <a:pt x="2322" y="137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9"/>
          <p:cNvSpPr>
            <a:spLocks/>
          </p:cNvSpPr>
          <p:nvPr/>
        </p:nvSpPr>
        <p:spPr bwMode="auto">
          <a:xfrm>
            <a:off x="7410454" y="3249613"/>
            <a:ext cx="3689351" cy="2173288"/>
          </a:xfrm>
          <a:custGeom>
            <a:avLst/>
            <a:gdLst>
              <a:gd name="T0" fmla="*/ 0 w 2324"/>
              <a:gd name="T1" fmla="*/ 1369 h 1369"/>
              <a:gd name="T2" fmla="*/ 2324 w 2324"/>
              <a:gd name="T3" fmla="*/ 0 h 1369"/>
              <a:gd name="T4" fmla="*/ 0 w 2324"/>
              <a:gd name="T5" fmla="*/ 1369 h 1369"/>
            </a:gdLst>
            <a:ahLst/>
            <a:cxnLst>
              <a:cxn ang="0">
                <a:pos x="T0" y="T1"/>
              </a:cxn>
              <a:cxn ang="0">
                <a:pos x="T2" y="T3"/>
              </a:cxn>
              <a:cxn ang="0">
                <a:pos x="T4" y="T5"/>
              </a:cxn>
            </a:cxnLst>
            <a:rect l="0" t="0" r="r" b="b"/>
            <a:pathLst>
              <a:path w="2324" h="1369">
                <a:moveTo>
                  <a:pt x="0" y="1369"/>
                </a:moveTo>
                <a:lnTo>
                  <a:pt x="2324" y="0"/>
                </a:lnTo>
                <a:lnTo>
                  <a:pt x="0" y="136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Line 30"/>
          <p:cNvSpPr>
            <a:spLocks noChangeShapeType="1"/>
          </p:cNvSpPr>
          <p:nvPr/>
        </p:nvSpPr>
        <p:spPr bwMode="auto">
          <a:xfrm flipV="1">
            <a:off x="7560643" y="3287713"/>
            <a:ext cx="3689351" cy="21732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Oval 32"/>
          <p:cNvSpPr>
            <a:spLocks noChangeArrowheads="1"/>
          </p:cNvSpPr>
          <p:nvPr/>
        </p:nvSpPr>
        <p:spPr bwMode="auto">
          <a:xfrm>
            <a:off x="8407404" y="4288580"/>
            <a:ext cx="1704976" cy="1700213"/>
          </a:xfrm>
          <a:prstGeom prst="ellipse">
            <a:avLst/>
          </a:prstGeom>
          <a:solidFill>
            <a:srgbClr val="F2C8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42"/>
          <p:cNvSpPr>
            <a:spLocks/>
          </p:cNvSpPr>
          <p:nvPr/>
        </p:nvSpPr>
        <p:spPr bwMode="auto">
          <a:xfrm>
            <a:off x="6729416" y="2860675"/>
            <a:ext cx="528638" cy="34925"/>
          </a:xfrm>
          <a:custGeom>
            <a:avLst/>
            <a:gdLst>
              <a:gd name="T0" fmla="*/ 333 w 333"/>
              <a:gd name="T1" fmla="*/ 0 h 22"/>
              <a:gd name="T2" fmla="*/ 0 w 333"/>
              <a:gd name="T3" fmla="*/ 0 h 22"/>
              <a:gd name="T4" fmla="*/ 22 w 333"/>
              <a:gd name="T5" fmla="*/ 22 h 22"/>
              <a:gd name="T6" fmla="*/ 333 w 333"/>
              <a:gd name="T7" fmla="*/ 22 h 22"/>
              <a:gd name="T8" fmla="*/ 333 w 333"/>
              <a:gd name="T9" fmla="*/ 0 h 22"/>
            </a:gdLst>
            <a:ahLst/>
            <a:cxnLst>
              <a:cxn ang="0">
                <a:pos x="T0" y="T1"/>
              </a:cxn>
              <a:cxn ang="0">
                <a:pos x="T2" y="T3"/>
              </a:cxn>
              <a:cxn ang="0">
                <a:pos x="T4" y="T5"/>
              </a:cxn>
              <a:cxn ang="0">
                <a:pos x="T6" y="T7"/>
              </a:cxn>
              <a:cxn ang="0">
                <a:pos x="T8" y="T9"/>
              </a:cxn>
            </a:cxnLst>
            <a:rect l="0" t="0" r="r" b="b"/>
            <a:pathLst>
              <a:path w="333" h="22">
                <a:moveTo>
                  <a:pt x="333" y="0"/>
                </a:moveTo>
                <a:lnTo>
                  <a:pt x="0" y="0"/>
                </a:lnTo>
                <a:lnTo>
                  <a:pt x="22" y="22"/>
                </a:lnTo>
                <a:lnTo>
                  <a:pt x="333" y="22"/>
                </a:lnTo>
                <a:lnTo>
                  <a:pt x="33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43"/>
          <p:cNvSpPr>
            <a:spLocks/>
          </p:cNvSpPr>
          <p:nvPr/>
        </p:nvSpPr>
        <p:spPr bwMode="auto">
          <a:xfrm>
            <a:off x="6711953" y="2846388"/>
            <a:ext cx="17463" cy="14288"/>
          </a:xfrm>
          <a:custGeom>
            <a:avLst/>
            <a:gdLst>
              <a:gd name="T0" fmla="*/ 0 w 11"/>
              <a:gd name="T1" fmla="*/ 0 h 9"/>
              <a:gd name="T2" fmla="*/ 0 w 11"/>
              <a:gd name="T3" fmla="*/ 9 h 9"/>
              <a:gd name="T4" fmla="*/ 11 w 11"/>
              <a:gd name="T5" fmla="*/ 9 h 9"/>
              <a:gd name="T6" fmla="*/ 0 w 11"/>
              <a:gd name="T7" fmla="*/ 0 h 9"/>
            </a:gdLst>
            <a:ahLst/>
            <a:cxnLst>
              <a:cxn ang="0">
                <a:pos x="T0" y="T1"/>
              </a:cxn>
              <a:cxn ang="0">
                <a:pos x="T2" y="T3"/>
              </a:cxn>
              <a:cxn ang="0">
                <a:pos x="T4" y="T5"/>
              </a:cxn>
              <a:cxn ang="0">
                <a:pos x="T6" y="T7"/>
              </a:cxn>
            </a:cxnLst>
            <a:rect l="0" t="0" r="r" b="b"/>
            <a:pathLst>
              <a:path w="11" h="9">
                <a:moveTo>
                  <a:pt x="0" y="0"/>
                </a:moveTo>
                <a:lnTo>
                  <a:pt x="0" y="9"/>
                </a:lnTo>
                <a:lnTo>
                  <a:pt x="11" y="9"/>
                </a:lnTo>
                <a:lnTo>
                  <a:pt x="0" y="0"/>
                </a:lnTo>
                <a:close/>
              </a:path>
            </a:pathLst>
          </a:custGeom>
          <a:solidFill>
            <a:srgbClr val="B6B6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44"/>
          <p:cNvSpPr>
            <a:spLocks/>
          </p:cNvSpPr>
          <p:nvPr/>
        </p:nvSpPr>
        <p:spPr bwMode="auto">
          <a:xfrm>
            <a:off x="6711953" y="2846388"/>
            <a:ext cx="17463" cy="14288"/>
          </a:xfrm>
          <a:custGeom>
            <a:avLst/>
            <a:gdLst>
              <a:gd name="T0" fmla="*/ 0 w 11"/>
              <a:gd name="T1" fmla="*/ 0 h 9"/>
              <a:gd name="T2" fmla="*/ 0 w 11"/>
              <a:gd name="T3" fmla="*/ 9 h 9"/>
              <a:gd name="T4" fmla="*/ 11 w 11"/>
              <a:gd name="T5" fmla="*/ 9 h 9"/>
              <a:gd name="T6" fmla="*/ 0 w 11"/>
              <a:gd name="T7" fmla="*/ 0 h 9"/>
            </a:gdLst>
            <a:ahLst/>
            <a:cxnLst>
              <a:cxn ang="0">
                <a:pos x="T0" y="T1"/>
              </a:cxn>
              <a:cxn ang="0">
                <a:pos x="T2" y="T3"/>
              </a:cxn>
              <a:cxn ang="0">
                <a:pos x="T4" y="T5"/>
              </a:cxn>
              <a:cxn ang="0">
                <a:pos x="T6" y="T7"/>
              </a:cxn>
            </a:cxnLst>
            <a:rect l="0" t="0" r="r" b="b"/>
            <a:pathLst>
              <a:path w="11" h="9">
                <a:moveTo>
                  <a:pt x="0" y="0"/>
                </a:moveTo>
                <a:lnTo>
                  <a:pt x="0" y="9"/>
                </a:lnTo>
                <a:lnTo>
                  <a:pt x="11" y="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Rectangle 78"/>
          <p:cNvSpPr/>
          <p:nvPr/>
        </p:nvSpPr>
        <p:spPr bwMode="auto">
          <a:xfrm>
            <a:off x="813197" y="6542105"/>
            <a:ext cx="11623277" cy="466877"/>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w="0"/>
              <a:solidFill>
                <a:srgbClr val="000000"/>
              </a:solidFill>
              <a:effectLst>
                <a:outerShdw blurRad="38100" dist="19050" dir="2700000" algn="tl" rotWithShape="0">
                  <a:srgbClr val="000000">
                    <a:alpha val="40000"/>
                  </a:srgbClr>
                </a:outerShdw>
              </a:effectLst>
              <a:uLnTx/>
              <a:uFillTx/>
              <a:latin typeface="Segoe UI Light"/>
              <a:ea typeface="Segoe UI" pitchFamily="34" charset="0"/>
              <a:cs typeface="Segoe UI" pitchFamily="34" charset="0"/>
            </a:endParaRPr>
          </a:p>
        </p:txBody>
      </p:sp>
      <p:pic>
        <p:nvPicPr>
          <p:cNvPr id="4" name="Picture 3"/>
          <p:cNvPicPr>
            <a:picLocks noChangeAspect="1"/>
          </p:cNvPicPr>
          <p:nvPr/>
        </p:nvPicPr>
        <p:blipFill>
          <a:blip r:embed="rId4"/>
          <a:stretch>
            <a:fillRect/>
          </a:stretch>
        </p:blipFill>
        <p:spPr>
          <a:xfrm>
            <a:off x="8661860" y="4707778"/>
            <a:ext cx="1186538" cy="750400"/>
          </a:xfrm>
          <a:prstGeom prst="rect">
            <a:avLst/>
          </a:prstGeom>
        </p:spPr>
      </p:pic>
      <p:pic>
        <p:nvPicPr>
          <p:cNvPr id="80" name="Picture 79"/>
          <p:cNvPicPr>
            <a:picLocks noChangeAspect="1"/>
          </p:cNvPicPr>
          <p:nvPr/>
        </p:nvPicPr>
        <p:blipFill>
          <a:blip r:embed="rId5"/>
          <a:stretch>
            <a:fillRect/>
          </a:stretch>
        </p:blipFill>
        <p:spPr>
          <a:xfrm>
            <a:off x="177256" y="931052"/>
            <a:ext cx="543081" cy="566839"/>
          </a:xfrm>
          <a:prstGeom prst="rect">
            <a:avLst/>
          </a:prstGeom>
        </p:spPr>
      </p:pic>
      <p:pic>
        <p:nvPicPr>
          <p:cNvPr id="81" name="Picture 80"/>
          <p:cNvPicPr>
            <a:picLocks noChangeAspect="1"/>
          </p:cNvPicPr>
          <p:nvPr/>
        </p:nvPicPr>
        <p:blipFill>
          <a:blip r:embed="rId6"/>
          <a:stretch>
            <a:fillRect/>
          </a:stretch>
        </p:blipFill>
        <p:spPr>
          <a:xfrm>
            <a:off x="143073" y="5446962"/>
            <a:ext cx="587774" cy="668085"/>
          </a:xfrm>
          <a:prstGeom prst="rect">
            <a:avLst/>
          </a:prstGeom>
        </p:spPr>
      </p:pic>
      <p:pic>
        <p:nvPicPr>
          <p:cNvPr id="82" name="Picture 81"/>
          <p:cNvPicPr>
            <a:picLocks noChangeAspect="1"/>
          </p:cNvPicPr>
          <p:nvPr/>
        </p:nvPicPr>
        <p:blipFill>
          <a:blip r:embed="rId7"/>
          <a:stretch>
            <a:fillRect/>
          </a:stretch>
        </p:blipFill>
        <p:spPr>
          <a:xfrm>
            <a:off x="114740" y="3290630"/>
            <a:ext cx="637127" cy="439241"/>
          </a:xfrm>
          <a:prstGeom prst="rect">
            <a:avLst/>
          </a:prstGeom>
        </p:spPr>
      </p:pic>
    </p:spTree>
    <p:extLst>
      <p:ext uri="{BB962C8B-B14F-4D97-AF65-F5344CB8AC3E}">
        <p14:creationId xmlns:p14="http://schemas.microsoft.com/office/powerpoint/2010/main" val="22480085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79"/>
                                        </p:tgtEl>
                                        <p:attrNameLst>
                                          <p:attrName>style.visibility</p:attrName>
                                        </p:attrNameLst>
                                      </p:cBhvr>
                                      <p:to>
                                        <p:strVal val="visible"/>
                                      </p:to>
                                    </p:set>
                                    <p:animEffect transition="in" filter="wipe(left)">
                                      <p:cBhvr>
                                        <p:cTn id="7" dur="500"/>
                                        <p:tgtEl>
                                          <p:spTgt spid="79"/>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down)">
                                      <p:cBhvr>
                                        <p:cTn id="11" dur="500"/>
                                        <p:tgtEl>
                                          <p:spTgt spid="7"/>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56"/>
                                        </p:tgtEl>
                                        <p:attrNameLst>
                                          <p:attrName>style.visibility</p:attrName>
                                        </p:attrNameLst>
                                      </p:cBhvr>
                                      <p:to>
                                        <p:strVal val="visible"/>
                                      </p:to>
                                    </p:set>
                                    <p:animEffect transition="in" filter="fade">
                                      <p:cBhvr>
                                        <p:cTn id="15" dur="500"/>
                                        <p:tgtEl>
                                          <p:spTgt spid="56"/>
                                        </p:tgtEl>
                                      </p:cBhvr>
                                    </p:animEffect>
                                  </p:childTnLst>
                                </p:cTn>
                              </p:par>
                              <p:par>
                                <p:cTn id="16" presetID="10" presetClass="entr" presetSubtype="0" fill="hold" nodeType="with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79"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F2C81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639" y="2757566"/>
            <a:ext cx="11887200" cy="1831975"/>
          </a:xfrm>
        </p:spPr>
        <p:txBody>
          <a:bodyPr/>
          <a:lstStyle/>
          <a:p>
            <a:r>
              <a:rPr lang="en-US" sz="6000" dirty="0">
                <a:solidFill>
                  <a:schemeClr val="tx2">
                    <a:lumMod val="10000"/>
                  </a:schemeClr>
                </a:solidFill>
              </a:rPr>
              <a:t>What is Power BI?</a:t>
            </a:r>
            <a:br>
              <a:rPr lang="en-US" dirty="0">
                <a:solidFill>
                  <a:schemeClr val="tx2">
                    <a:lumMod val="10000"/>
                  </a:schemeClr>
                </a:solidFill>
              </a:rPr>
            </a:br>
            <a:endParaRPr lang="en-US" sz="3199" dirty="0">
              <a:solidFill>
                <a:schemeClr val="tx2">
                  <a:lumMod val="10000"/>
                </a:schemeClr>
              </a:solidFill>
              <a:latin typeface="+mn-lt"/>
            </a:endParaRPr>
          </a:p>
        </p:txBody>
      </p:sp>
    </p:spTree>
    <p:extLst>
      <p:ext uri="{BB962C8B-B14F-4D97-AF65-F5344CB8AC3E}">
        <p14:creationId xmlns:p14="http://schemas.microsoft.com/office/powerpoint/2010/main" val="157579940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F2C811"/>
        </a:solidFill>
        <a:effectLst/>
      </p:bgPr>
    </p:bg>
    <p:spTree>
      <p:nvGrpSpPr>
        <p:cNvPr id="1" name=""/>
        <p:cNvGrpSpPr/>
        <p:nvPr/>
      </p:nvGrpSpPr>
      <p:grpSpPr>
        <a:xfrm>
          <a:off x="0" y="0"/>
          <a:ext cx="0" cy="0"/>
          <a:chOff x="0" y="0"/>
          <a:chExt cx="0" cy="0"/>
        </a:xfrm>
      </p:grpSpPr>
      <p:grpSp>
        <p:nvGrpSpPr>
          <p:cNvPr id="12" name="Group 11"/>
          <p:cNvGrpSpPr/>
          <p:nvPr/>
        </p:nvGrpSpPr>
        <p:grpSpPr>
          <a:xfrm>
            <a:off x="0" y="1861022"/>
            <a:ext cx="12436475" cy="3138368"/>
            <a:chOff x="0" y="2067306"/>
            <a:chExt cx="12436475" cy="3138368"/>
          </a:xfrm>
        </p:grpSpPr>
        <p:sp>
          <p:nvSpPr>
            <p:cNvPr id="4" name="Rectangle 3"/>
            <p:cNvSpPr/>
            <p:nvPr/>
          </p:nvSpPr>
          <p:spPr>
            <a:xfrm>
              <a:off x="0" y="4947142"/>
              <a:ext cx="12436475" cy="258532"/>
            </a:xfrm>
            <a:prstGeom prst="rect">
              <a:avLst/>
            </a:prstGeom>
          </p:spPr>
          <p:txBody>
            <a:bodyPr wrap="square">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505050"/>
                  </a:solidFill>
                  <a:effectLst/>
                  <a:uLnTx/>
                  <a:uFillTx/>
                </a:rPr>
                <a:t>Philip Dean, Head of Department of Pharmacy and Quality Control North Trees and </a:t>
              </a:r>
              <a:r>
                <a:rPr kumimoji="0" lang="en-US" sz="1200" b="0" i="0" u="none" strike="noStrike" kern="0" cap="none" spc="0" normalizeH="0" baseline="0" noProof="0" dirty="0" err="1">
                  <a:ln>
                    <a:noFill/>
                  </a:ln>
                  <a:solidFill>
                    <a:srgbClr val="505050"/>
                  </a:solidFill>
                  <a:effectLst/>
                  <a:uLnTx/>
                  <a:uFillTx/>
                </a:rPr>
                <a:t>Hartlepool</a:t>
              </a:r>
              <a:r>
                <a:rPr kumimoji="0" lang="en-US" sz="1200" b="0" i="0" u="none" strike="noStrike" kern="0" cap="none" spc="0" normalizeH="0" baseline="0" noProof="0" dirty="0">
                  <a:ln>
                    <a:noFill/>
                  </a:ln>
                  <a:solidFill>
                    <a:srgbClr val="505050"/>
                  </a:solidFill>
                  <a:effectLst/>
                  <a:uLnTx/>
                  <a:uFillTx/>
                </a:rPr>
                <a:t> National Health Services Trust.</a:t>
              </a:r>
            </a:p>
          </p:txBody>
        </p:sp>
        <p:grpSp>
          <p:nvGrpSpPr>
            <p:cNvPr id="11" name="Group 10"/>
            <p:cNvGrpSpPr/>
            <p:nvPr/>
          </p:nvGrpSpPr>
          <p:grpSpPr>
            <a:xfrm>
              <a:off x="1326959" y="2067306"/>
              <a:ext cx="9459391" cy="3038682"/>
              <a:chOff x="1328003" y="1283103"/>
              <a:chExt cx="9459391" cy="3038682"/>
            </a:xfrm>
          </p:grpSpPr>
          <p:sp>
            <p:nvSpPr>
              <p:cNvPr id="2" name="TextBox 1"/>
              <p:cNvSpPr txBox="1"/>
              <p:nvPr/>
            </p:nvSpPr>
            <p:spPr>
              <a:xfrm>
                <a:off x="1651169" y="1661969"/>
                <a:ext cx="9136225" cy="2289858"/>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3600" b="0" i="0" u="none" strike="noStrike" kern="0" cap="none" spc="0" normalizeH="0" baseline="0" noProof="0" dirty="0">
                    <a:ln>
                      <a:noFill/>
                    </a:ln>
                    <a:solidFill>
                      <a:schemeClr val="tx2">
                        <a:lumMod val="10000"/>
                      </a:schemeClr>
                    </a:solidFill>
                    <a:effectLst/>
                    <a:uLnTx/>
                    <a:uFillTx/>
                    <a:latin typeface="+mj-lt"/>
                  </a:rPr>
                  <a:t>Linking data for analyses was something we couldn’t do before. With Power BI, it’s simple. Power BI makes the hard things easy. Everything becomes possible.</a:t>
                </a:r>
              </a:p>
            </p:txBody>
          </p:sp>
          <p:sp>
            <p:nvSpPr>
              <p:cNvPr id="8" name="Rectangle 7"/>
              <p:cNvSpPr/>
              <p:nvPr/>
            </p:nvSpPr>
            <p:spPr>
              <a:xfrm>
                <a:off x="9403506" y="3121456"/>
                <a:ext cx="787395" cy="1200329"/>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7200" b="0" i="0" u="none" strike="noStrike" kern="0" cap="none" spc="0" normalizeH="0" baseline="0" noProof="0" dirty="0">
                    <a:ln>
                      <a:noFill/>
                    </a:ln>
                    <a:solidFill>
                      <a:schemeClr val="tx2">
                        <a:lumMod val="10000"/>
                      </a:schemeClr>
                    </a:solidFill>
                    <a:effectLst/>
                    <a:uLnTx/>
                    <a:uFillTx/>
                    <a:latin typeface="Arial Black" panose="020B0A04020102020204" pitchFamily="34" charset="0"/>
                  </a:rPr>
                  <a:t>”</a:t>
                </a:r>
                <a:r>
                  <a:rPr kumimoji="0" lang="en-US" sz="4000" b="0" i="0" u="none" strike="noStrike" kern="0" cap="none" spc="0" normalizeH="0" baseline="0" noProof="0" dirty="0">
                    <a:ln>
                      <a:noFill/>
                    </a:ln>
                    <a:solidFill>
                      <a:schemeClr val="tx2">
                        <a:lumMod val="10000"/>
                      </a:schemeClr>
                    </a:solidFill>
                    <a:effectLst/>
                    <a:uLnTx/>
                    <a:uFillTx/>
                    <a:latin typeface="Segoe UI Light"/>
                  </a:rPr>
                  <a:t> </a:t>
                </a:r>
                <a:endParaRPr kumimoji="0" lang="en-US" sz="1800" b="0" i="0" u="none" strike="noStrike" kern="0" cap="none" spc="0" normalizeH="0" baseline="0" noProof="0" dirty="0">
                  <a:ln>
                    <a:noFill/>
                  </a:ln>
                  <a:solidFill>
                    <a:schemeClr val="tx2">
                      <a:lumMod val="10000"/>
                    </a:schemeClr>
                  </a:solidFill>
                  <a:effectLst/>
                  <a:uLnTx/>
                  <a:uFillTx/>
                </a:endParaRPr>
              </a:p>
            </p:txBody>
          </p:sp>
          <p:sp>
            <p:nvSpPr>
              <p:cNvPr id="10" name="Rectangle 9"/>
              <p:cNvSpPr/>
              <p:nvPr/>
            </p:nvSpPr>
            <p:spPr>
              <a:xfrm>
                <a:off x="1328003" y="1283103"/>
                <a:ext cx="646331" cy="1200329"/>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7200" b="0" i="0" u="none" strike="noStrike" kern="0" cap="none" spc="0" normalizeH="0" baseline="0" noProof="0" dirty="0">
                    <a:ln>
                      <a:noFill/>
                    </a:ln>
                    <a:solidFill>
                      <a:schemeClr val="tx2">
                        <a:lumMod val="10000"/>
                      </a:schemeClr>
                    </a:solidFill>
                    <a:effectLst/>
                    <a:uLnTx/>
                    <a:uFillTx/>
                    <a:latin typeface="Arial Black" panose="020B0A04020102020204" pitchFamily="34" charset="0"/>
                  </a:rPr>
                  <a:t>“</a:t>
                </a:r>
                <a:endParaRPr kumimoji="0" lang="en-US" sz="1800" b="0" i="0" u="none" strike="noStrike" kern="0" cap="none" spc="0" normalizeH="0" baseline="0" noProof="0" dirty="0">
                  <a:ln>
                    <a:noFill/>
                  </a:ln>
                  <a:solidFill>
                    <a:schemeClr val="tx2">
                      <a:lumMod val="10000"/>
                    </a:schemeClr>
                  </a:solidFill>
                  <a:effectLst/>
                  <a:uLnTx/>
                  <a:uFillTx/>
                </a:endParaRPr>
              </a:p>
            </p:txBody>
          </p:sp>
        </p:grpSp>
      </p:grpSp>
    </p:spTree>
    <p:extLst>
      <p:ext uri="{BB962C8B-B14F-4D97-AF65-F5344CB8AC3E}">
        <p14:creationId xmlns:p14="http://schemas.microsoft.com/office/powerpoint/2010/main" val="247840482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 name="Title 3"/>
          <p:cNvSpPr txBox="1">
            <a:spLocks/>
          </p:cNvSpPr>
          <p:nvPr/>
        </p:nvSpPr>
        <p:spPr>
          <a:xfrm>
            <a:off x="275164" y="292537"/>
            <a:ext cx="11885514" cy="946279"/>
          </a:xfrm>
          <a:prstGeom prst="rect">
            <a:avLst/>
          </a:prstGeom>
        </p:spPr>
        <p:txBody>
          <a:bodyPr vert="horz" wrap="square" lIns="146283" tIns="91427" rIns="146283" bIns="91427" rtlCol="0" anchor="t">
            <a:noAutofit/>
          </a:bodyPr>
          <a:lstStyle>
            <a:lvl1pPr algn="l" defTabSz="932563" rtl="0" eaLnBrk="1" latinLnBrk="0" hangingPunct="1">
              <a:lnSpc>
                <a:spcPct val="90000"/>
              </a:lnSpc>
              <a:spcBef>
                <a:spcPct val="0"/>
              </a:spcBef>
              <a:buNone/>
              <a:defRPr lang="en-US" sz="5198" b="0" kern="1200" cap="none" spc="-102" baseline="0">
                <a:ln w="3175">
                  <a:noFill/>
                </a:ln>
                <a:solidFill>
                  <a:schemeClr val="tx2"/>
                </a:solidFill>
                <a:effectLst/>
                <a:latin typeface="+mj-lt"/>
                <a:ea typeface="+mn-ea"/>
                <a:cs typeface="Segoe UI" pitchFamily="34" charset="0"/>
              </a:defRPr>
            </a:lvl1pPr>
          </a:lstStyle>
          <a:p>
            <a:pPr defTabSz="932384">
              <a:defRPr/>
            </a:pPr>
            <a:r>
              <a:rPr lang="en-US" sz="5399" kern="0" dirty="0">
                <a:solidFill>
                  <a:schemeClr val="tx2">
                    <a:lumMod val="10000"/>
                  </a:schemeClr>
                </a:solidFill>
                <a:latin typeface="Segoe UI Light"/>
                <a:cs typeface="+mn-cs"/>
              </a:rPr>
              <a:t>Data is only powerful when used correctly</a:t>
            </a:r>
          </a:p>
        </p:txBody>
      </p:sp>
      <p:sp>
        <p:nvSpPr>
          <p:cNvPr id="14" name="Title 3"/>
          <p:cNvSpPr txBox="1">
            <a:spLocks/>
          </p:cNvSpPr>
          <p:nvPr/>
        </p:nvSpPr>
        <p:spPr>
          <a:xfrm>
            <a:off x="242632" y="1116698"/>
            <a:ext cx="11885514" cy="946279"/>
          </a:xfrm>
          <a:prstGeom prst="rect">
            <a:avLst/>
          </a:prstGeom>
        </p:spPr>
        <p:txBody>
          <a:bodyPr vert="horz" wrap="square" lIns="146283" tIns="91427" rIns="146283" bIns="91427" rtlCol="0" anchor="t">
            <a:noAutofit/>
          </a:bodyPr>
          <a:lstStyle>
            <a:lvl1pPr algn="l" defTabSz="932563" rtl="0" eaLnBrk="1" latinLnBrk="0" hangingPunct="1">
              <a:lnSpc>
                <a:spcPct val="90000"/>
              </a:lnSpc>
              <a:spcBef>
                <a:spcPct val="0"/>
              </a:spcBef>
              <a:buNone/>
              <a:defRPr lang="en-US" sz="5198" b="0" kern="1200" cap="none" spc="-102" baseline="0">
                <a:ln w="3175">
                  <a:noFill/>
                </a:ln>
                <a:solidFill>
                  <a:schemeClr val="tx2"/>
                </a:solidFill>
                <a:effectLst/>
                <a:latin typeface="+mj-lt"/>
                <a:ea typeface="+mn-ea"/>
                <a:cs typeface="Segoe UI" pitchFamily="34" charset="0"/>
              </a:defRPr>
            </a:lvl1pPr>
          </a:lstStyle>
          <a:p>
            <a:pPr defTabSz="932384">
              <a:defRPr/>
            </a:pPr>
            <a:r>
              <a:rPr lang="en-US" sz="2800" kern="0" dirty="0">
                <a:solidFill>
                  <a:schemeClr val="tx2">
                    <a:lumMod val="10000"/>
                  </a:schemeClr>
                </a:solidFill>
                <a:latin typeface="Segoe UI Light"/>
                <a:cs typeface="+mn-cs"/>
              </a:rPr>
              <a:t>Common BI challenges are faced by many organizations</a:t>
            </a:r>
          </a:p>
        </p:txBody>
      </p:sp>
      <p:grpSp>
        <p:nvGrpSpPr>
          <p:cNvPr id="11" name="Group 10"/>
          <p:cNvGrpSpPr/>
          <p:nvPr/>
        </p:nvGrpSpPr>
        <p:grpSpPr>
          <a:xfrm>
            <a:off x="553834" y="2167201"/>
            <a:ext cx="3504157" cy="2390982"/>
            <a:chOff x="368603" y="2832434"/>
            <a:chExt cx="3504157" cy="2390982"/>
          </a:xfrm>
        </p:grpSpPr>
        <p:sp>
          <p:nvSpPr>
            <p:cNvPr id="6" name="Rectangle 5"/>
            <p:cNvSpPr/>
            <p:nvPr/>
          </p:nvSpPr>
          <p:spPr>
            <a:xfrm>
              <a:off x="368603" y="4133887"/>
              <a:ext cx="3504157" cy="1089529"/>
            </a:xfrm>
            <a:prstGeom prst="rect">
              <a:avLst/>
            </a:prstGeom>
          </p:spPr>
          <p:txBody>
            <a:bodyPr wrap="square">
              <a:spAutoFit/>
            </a:bodyPr>
            <a:lstStyle/>
            <a:p>
              <a:pPr defTabSz="932384" fontAlgn="base">
                <a:lnSpc>
                  <a:spcPct val="90000"/>
                </a:lnSpc>
                <a:spcBef>
                  <a:spcPct val="20000"/>
                </a:spcBef>
                <a:spcAft>
                  <a:spcPct val="0"/>
                </a:spcAft>
                <a:buSzPct val="90000"/>
              </a:pPr>
              <a:r>
                <a:rPr lang="en-US" sz="1800" kern="0" dirty="0">
                  <a:ln w="3175">
                    <a:noFill/>
                  </a:ln>
                  <a:solidFill>
                    <a:schemeClr val="tx2">
                      <a:lumMod val="10000"/>
                    </a:schemeClr>
                  </a:solidFill>
                </a:rPr>
                <a:t>Data often resides in disparate locations, making it difficult to see a complete picture of </a:t>
              </a:r>
              <a:br>
                <a:rPr lang="en-US" sz="1800" kern="0" dirty="0">
                  <a:ln w="3175">
                    <a:noFill/>
                  </a:ln>
                  <a:solidFill>
                    <a:schemeClr val="tx2">
                      <a:lumMod val="10000"/>
                    </a:schemeClr>
                  </a:solidFill>
                </a:rPr>
              </a:br>
              <a:r>
                <a:rPr lang="en-US" sz="1800" kern="0" dirty="0">
                  <a:ln w="3175">
                    <a:noFill/>
                  </a:ln>
                  <a:solidFill>
                    <a:schemeClr val="tx2">
                      <a:lumMod val="10000"/>
                    </a:schemeClr>
                  </a:solidFill>
                </a:rPr>
                <a:t>your business </a:t>
              </a:r>
            </a:p>
          </p:txBody>
        </p:sp>
        <p:sp>
          <p:nvSpPr>
            <p:cNvPr id="9" name="TextBox 8"/>
            <p:cNvSpPr txBox="1"/>
            <p:nvPr/>
          </p:nvSpPr>
          <p:spPr>
            <a:xfrm>
              <a:off x="368603" y="2832434"/>
              <a:ext cx="3055275" cy="1037165"/>
            </a:xfrm>
            <a:prstGeom prst="rect">
              <a:avLst/>
            </a:prstGeom>
            <a:noFill/>
          </p:spPr>
          <p:txBody>
            <a:bodyPr wrap="square" lIns="182854" tIns="146283" rIns="182854" bIns="146283" rtlCol="0">
              <a:spAutoFit/>
            </a:bodyPr>
            <a:lstStyle/>
            <a:p>
              <a:pPr defTabSz="914224">
                <a:lnSpc>
                  <a:spcPct val="90000"/>
                </a:lnSpc>
                <a:spcAft>
                  <a:spcPts val="600"/>
                </a:spcAft>
              </a:pPr>
              <a:r>
                <a:rPr lang="en-US" sz="2400" kern="0" dirty="0">
                  <a:solidFill>
                    <a:schemeClr val="tx2">
                      <a:lumMod val="10000"/>
                    </a:schemeClr>
                  </a:solidFill>
                </a:rPr>
                <a:t>Getting an </a:t>
              </a:r>
            </a:p>
            <a:p>
              <a:pPr defTabSz="914224">
                <a:lnSpc>
                  <a:spcPct val="90000"/>
                </a:lnSpc>
                <a:spcAft>
                  <a:spcPts val="600"/>
                </a:spcAft>
              </a:pPr>
              <a:r>
                <a:rPr lang="en-US" sz="2400" kern="0" dirty="0">
                  <a:solidFill>
                    <a:schemeClr val="tx2">
                      <a:lumMod val="10000"/>
                    </a:schemeClr>
                  </a:solidFill>
                </a:rPr>
                <a:t>end-to-end view</a:t>
              </a:r>
            </a:p>
          </p:txBody>
        </p:sp>
        <p:cxnSp>
          <p:nvCxnSpPr>
            <p:cNvPr id="19" name="Straight Connector 18"/>
            <p:cNvCxnSpPr/>
            <p:nvPr/>
          </p:nvCxnSpPr>
          <p:spPr>
            <a:xfrm>
              <a:off x="475229" y="3956191"/>
              <a:ext cx="3290907" cy="0"/>
            </a:xfrm>
            <a:prstGeom prst="line">
              <a:avLst/>
            </a:prstGeom>
            <a:ln w="12700">
              <a:solidFill>
                <a:srgbClr val="F2C81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 name="Group 11"/>
          <p:cNvGrpSpPr/>
          <p:nvPr/>
        </p:nvGrpSpPr>
        <p:grpSpPr>
          <a:xfrm>
            <a:off x="4358318" y="2171049"/>
            <a:ext cx="4276426" cy="2171419"/>
            <a:chOff x="4409842" y="2836282"/>
            <a:chExt cx="4276426" cy="2171419"/>
          </a:xfrm>
        </p:grpSpPr>
        <p:sp>
          <p:nvSpPr>
            <p:cNvPr id="7" name="Rectangle 6"/>
            <p:cNvSpPr/>
            <p:nvPr/>
          </p:nvSpPr>
          <p:spPr>
            <a:xfrm>
              <a:off x="4447749" y="4167471"/>
              <a:ext cx="3385382" cy="840230"/>
            </a:xfrm>
            <a:prstGeom prst="rect">
              <a:avLst/>
            </a:prstGeom>
          </p:spPr>
          <p:txBody>
            <a:bodyPr wrap="square">
              <a:spAutoFit/>
            </a:bodyPr>
            <a:lstStyle/>
            <a:p>
              <a:pPr defTabSz="932384" fontAlgn="base">
                <a:lnSpc>
                  <a:spcPct val="90000"/>
                </a:lnSpc>
                <a:spcBef>
                  <a:spcPct val="20000"/>
                </a:spcBef>
                <a:spcAft>
                  <a:spcPct val="0"/>
                </a:spcAft>
                <a:buSzPct val="90000"/>
              </a:pPr>
              <a:r>
                <a:rPr lang="en-US" sz="1800" kern="0" dirty="0">
                  <a:ln w="3175">
                    <a:noFill/>
                  </a:ln>
                  <a:solidFill>
                    <a:schemeClr val="tx2">
                      <a:lumMod val="10000"/>
                    </a:schemeClr>
                  </a:solidFill>
                </a:rPr>
                <a:t>Data residing in cloud solutions and on-premises is difficult to access and refresh securely</a:t>
              </a:r>
            </a:p>
          </p:txBody>
        </p:sp>
        <p:sp>
          <p:nvSpPr>
            <p:cNvPr id="31" name="TextBox 30"/>
            <p:cNvSpPr txBox="1"/>
            <p:nvPr/>
          </p:nvSpPr>
          <p:spPr>
            <a:xfrm>
              <a:off x="4409842" y="2836282"/>
              <a:ext cx="4276426" cy="1037165"/>
            </a:xfrm>
            <a:prstGeom prst="rect">
              <a:avLst/>
            </a:prstGeom>
            <a:noFill/>
          </p:spPr>
          <p:txBody>
            <a:bodyPr wrap="square" lIns="182854" tIns="146283" rIns="182854" bIns="146283" rtlCol="0">
              <a:spAutoFit/>
            </a:bodyPr>
            <a:lstStyle/>
            <a:p>
              <a:pPr defTabSz="914224">
                <a:lnSpc>
                  <a:spcPct val="90000"/>
                </a:lnSpc>
                <a:spcAft>
                  <a:spcPts val="600"/>
                </a:spcAft>
              </a:pPr>
              <a:r>
                <a:rPr lang="en-US" sz="2400" kern="0" dirty="0">
                  <a:solidFill>
                    <a:schemeClr val="tx2">
                      <a:lumMod val="10000"/>
                    </a:schemeClr>
                  </a:solidFill>
                </a:rPr>
                <a:t>Managing </a:t>
              </a:r>
            </a:p>
            <a:p>
              <a:pPr defTabSz="914224">
                <a:lnSpc>
                  <a:spcPct val="90000"/>
                </a:lnSpc>
                <a:spcAft>
                  <a:spcPts val="600"/>
                </a:spcAft>
              </a:pPr>
              <a:r>
                <a:rPr lang="en-US" sz="2400" kern="0" dirty="0">
                  <a:solidFill>
                    <a:schemeClr val="tx2">
                      <a:lumMod val="10000"/>
                    </a:schemeClr>
                  </a:solidFill>
                </a:rPr>
                <a:t>data sources</a:t>
              </a:r>
            </a:p>
          </p:txBody>
        </p:sp>
        <p:cxnSp>
          <p:nvCxnSpPr>
            <p:cNvPr id="21" name="Straight Connector 20"/>
            <p:cNvCxnSpPr/>
            <p:nvPr/>
          </p:nvCxnSpPr>
          <p:spPr>
            <a:xfrm>
              <a:off x="4534302" y="3956191"/>
              <a:ext cx="3290907" cy="0"/>
            </a:xfrm>
            <a:prstGeom prst="line">
              <a:avLst/>
            </a:prstGeom>
            <a:ln w="12700">
              <a:solidFill>
                <a:srgbClr val="F2C81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3" name="Group 12"/>
          <p:cNvGrpSpPr/>
          <p:nvPr/>
        </p:nvGrpSpPr>
        <p:grpSpPr>
          <a:xfrm>
            <a:off x="8305096" y="2165530"/>
            <a:ext cx="3459199" cy="2625700"/>
            <a:chOff x="8525419" y="2830763"/>
            <a:chExt cx="3459199" cy="2625700"/>
          </a:xfrm>
        </p:grpSpPr>
        <p:sp>
          <p:nvSpPr>
            <p:cNvPr id="8" name="Rectangle 7"/>
            <p:cNvSpPr/>
            <p:nvPr/>
          </p:nvSpPr>
          <p:spPr>
            <a:xfrm>
              <a:off x="8561216" y="4117635"/>
              <a:ext cx="3423402" cy="1338828"/>
            </a:xfrm>
            <a:prstGeom prst="rect">
              <a:avLst/>
            </a:prstGeom>
          </p:spPr>
          <p:txBody>
            <a:bodyPr wrap="square">
              <a:spAutoFit/>
            </a:bodyPr>
            <a:lstStyle/>
            <a:p>
              <a:pPr defTabSz="932384" fontAlgn="base">
                <a:lnSpc>
                  <a:spcPct val="90000"/>
                </a:lnSpc>
                <a:spcBef>
                  <a:spcPct val="20000"/>
                </a:spcBef>
                <a:spcAft>
                  <a:spcPct val="0"/>
                </a:spcAft>
                <a:buSzPct val="90000"/>
              </a:pPr>
              <a:r>
                <a:rPr lang="en-US" sz="1800" kern="0" dirty="0">
                  <a:ln w="3175">
                    <a:noFill/>
                  </a:ln>
                  <a:solidFill>
                    <a:schemeClr val="tx2">
                      <a:lumMod val="10000"/>
                    </a:schemeClr>
                  </a:solidFill>
                </a:rPr>
                <a:t>Everyone needs the ability to collect, analyze, visualize, and publish data – providing real-time data and correct access </a:t>
              </a:r>
              <a:br>
                <a:rPr lang="en-US" sz="1800" kern="0" dirty="0">
                  <a:ln w="3175">
                    <a:noFill/>
                  </a:ln>
                  <a:solidFill>
                    <a:schemeClr val="tx2">
                      <a:lumMod val="10000"/>
                    </a:schemeClr>
                  </a:solidFill>
                </a:rPr>
              </a:br>
              <a:r>
                <a:rPr lang="en-US" sz="1800" kern="0" dirty="0">
                  <a:ln w="3175">
                    <a:noFill/>
                  </a:ln>
                  <a:solidFill>
                    <a:schemeClr val="tx2">
                      <a:lumMod val="10000"/>
                    </a:schemeClr>
                  </a:solidFill>
                </a:rPr>
                <a:t>to different roles</a:t>
              </a:r>
            </a:p>
          </p:txBody>
        </p:sp>
        <p:sp>
          <p:nvSpPr>
            <p:cNvPr id="32" name="TextBox 31"/>
            <p:cNvSpPr txBox="1"/>
            <p:nvPr/>
          </p:nvSpPr>
          <p:spPr>
            <a:xfrm>
              <a:off x="8525419" y="2830763"/>
              <a:ext cx="2535681" cy="1037165"/>
            </a:xfrm>
            <a:prstGeom prst="rect">
              <a:avLst/>
            </a:prstGeom>
            <a:noFill/>
          </p:spPr>
          <p:txBody>
            <a:bodyPr wrap="square" lIns="182854" tIns="146283" rIns="182854" bIns="146283" rtlCol="0">
              <a:spAutoFit/>
            </a:bodyPr>
            <a:lstStyle/>
            <a:p>
              <a:pPr defTabSz="914224">
                <a:lnSpc>
                  <a:spcPct val="90000"/>
                </a:lnSpc>
                <a:spcAft>
                  <a:spcPts val="600"/>
                </a:spcAft>
              </a:pPr>
              <a:r>
                <a:rPr lang="en-US" sz="2400" kern="0" dirty="0">
                  <a:solidFill>
                    <a:schemeClr val="tx2">
                      <a:lumMod val="10000"/>
                    </a:schemeClr>
                  </a:solidFill>
                </a:rPr>
                <a:t>Providing </a:t>
              </a:r>
            </a:p>
            <a:p>
              <a:pPr defTabSz="914224">
                <a:lnSpc>
                  <a:spcPct val="90000"/>
                </a:lnSpc>
                <a:spcAft>
                  <a:spcPts val="600"/>
                </a:spcAft>
              </a:pPr>
              <a:r>
                <a:rPr lang="en-US" sz="2400" kern="0" dirty="0">
                  <a:solidFill>
                    <a:schemeClr val="tx2">
                      <a:lumMod val="10000"/>
                    </a:schemeClr>
                  </a:solidFill>
                </a:rPr>
                <a:t>access to all</a:t>
              </a:r>
            </a:p>
          </p:txBody>
        </p:sp>
        <p:cxnSp>
          <p:nvCxnSpPr>
            <p:cNvPr id="24" name="Straight Connector 23"/>
            <p:cNvCxnSpPr/>
            <p:nvPr/>
          </p:nvCxnSpPr>
          <p:spPr>
            <a:xfrm>
              <a:off x="8655806" y="3956191"/>
              <a:ext cx="3290907" cy="0"/>
            </a:xfrm>
            <a:prstGeom prst="line">
              <a:avLst/>
            </a:prstGeom>
            <a:ln w="12700">
              <a:solidFill>
                <a:srgbClr val="F2C81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6" name="Rectangle 25"/>
          <p:cNvSpPr/>
          <p:nvPr/>
        </p:nvSpPr>
        <p:spPr bwMode="auto">
          <a:xfrm>
            <a:off x="1" y="6542105"/>
            <a:ext cx="12436474" cy="466877"/>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w="0"/>
              <a:solidFill>
                <a:srgbClr val="000000"/>
              </a:solidFill>
              <a:effectLst>
                <a:outerShdw blurRad="38100" dist="19050" dir="2700000" algn="tl" rotWithShape="0">
                  <a:srgbClr val="000000">
                    <a:alpha val="40000"/>
                  </a:srgbClr>
                </a:outerShdw>
              </a:effectLst>
              <a:uLnTx/>
              <a:uFillTx/>
              <a:latin typeface="Segoe UI Light"/>
              <a:ea typeface="Segoe UI" pitchFamily="34" charset="0"/>
              <a:cs typeface="Segoe UI" pitchFamily="34" charset="0"/>
            </a:endParaRPr>
          </a:p>
        </p:txBody>
      </p:sp>
    </p:spTree>
    <p:extLst>
      <p:ext uri="{BB962C8B-B14F-4D97-AF65-F5344CB8AC3E}">
        <p14:creationId xmlns:p14="http://schemas.microsoft.com/office/powerpoint/2010/main" val="3567658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wipe(left)">
                                      <p:cBhvr>
                                        <p:cTn id="7"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Oval 59"/>
          <p:cNvSpPr/>
          <p:nvPr/>
        </p:nvSpPr>
        <p:spPr bwMode="auto">
          <a:xfrm>
            <a:off x="5737643" y="2004811"/>
            <a:ext cx="961572" cy="961570"/>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p:nvSpPr>
        <p:spPr>
          <a:xfrm>
            <a:off x="220427" y="29612"/>
            <a:ext cx="12122124" cy="941580"/>
          </a:xfrm>
          <a:prstGeom prst="rect">
            <a:avLst/>
          </a:prstGeom>
          <a:noFill/>
        </p:spPr>
        <p:txBody>
          <a:bodyPr wrap="square" rtlCol="0">
            <a:spAutoFit/>
          </a:bodyPr>
          <a:lstStyle/>
          <a:p>
            <a:pPr defTabSz="932418">
              <a:spcBef>
                <a:spcPts val="1224"/>
              </a:spcBef>
            </a:pPr>
            <a:r>
              <a:rPr lang="en-US" sz="5399" kern="0" dirty="0">
                <a:solidFill>
                  <a:schemeClr val="tx2">
                    <a:lumMod val="10000"/>
                  </a:schemeClr>
                </a:solidFill>
                <a:latin typeface="Segoe UI Light"/>
              </a:rPr>
              <a:t>Bring data to life with Power BI</a:t>
            </a:r>
            <a:endParaRPr lang="en-US" sz="3599" kern="0" spc="-102" dirty="0">
              <a:ln w="3175">
                <a:noFill/>
              </a:ln>
              <a:solidFill>
                <a:schemeClr val="tx2">
                  <a:lumMod val="10000"/>
                </a:schemeClr>
              </a:solidFill>
              <a:latin typeface="+mj-lt"/>
              <a:cs typeface="Segoe UI" pitchFamily="34" charset="0"/>
            </a:endParaRPr>
          </a:p>
        </p:txBody>
      </p:sp>
      <p:sp>
        <p:nvSpPr>
          <p:cNvPr id="27" name="Title 3"/>
          <p:cNvSpPr txBox="1">
            <a:spLocks/>
          </p:cNvSpPr>
          <p:nvPr/>
        </p:nvSpPr>
        <p:spPr>
          <a:xfrm>
            <a:off x="220427" y="905752"/>
            <a:ext cx="11885514" cy="946279"/>
          </a:xfrm>
          <a:prstGeom prst="rect">
            <a:avLst/>
          </a:prstGeom>
        </p:spPr>
        <p:txBody>
          <a:bodyPr vert="horz" wrap="square" lIns="146283" tIns="91427" rIns="146283" bIns="91427" rtlCol="0" anchor="t">
            <a:noAutofit/>
          </a:bodyPr>
          <a:lstStyle>
            <a:lvl1pPr algn="l" defTabSz="932563" rtl="0" eaLnBrk="1" latinLnBrk="0" hangingPunct="1">
              <a:lnSpc>
                <a:spcPct val="90000"/>
              </a:lnSpc>
              <a:spcBef>
                <a:spcPct val="0"/>
              </a:spcBef>
              <a:buNone/>
              <a:defRPr lang="en-US" sz="5198" b="0" kern="1200" cap="none" spc="-102" baseline="0">
                <a:ln w="3175">
                  <a:noFill/>
                </a:ln>
                <a:solidFill>
                  <a:schemeClr val="tx2"/>
                </a:solidFill>
                <a:effectLst/>
                <a:latin typeface="+mj-lt"/>
                <a:ea typeface="+mn-ea"/>
                <a:cs typeface="Segoe UI" pitchFamily="34" charset="0"/>
              </a:defRPr>
            </a:lvl1pPr>
          </a:lstStyle>
          <a:p>
            <a:pPr defTabSz="932384">
              <a:defRPr/>
            </a:pPr>
            <a:r>
              <a:rPr lang="en-US" sz="2800" kern="0" dirty="0">
                <a:solidFill>
                  <a:schemeClr val="tx2">
                    <a:lumMod val="10000"/>
                  </a:schemeClr>
                </a:solidFill>
                <a:cs typeface="+mn-cs"/>
              </a:rPr>
              <a:t>Power BI is a cloud-based business analytics service that enables:</a:t>
            </a:r>
          </a:p>
        </p:txBody>
      </p:sp>
      <p:sp>
        <p:nvSpPr>
          <p:cNvPr id="58" name="Rectangle 57"/>
          <p:cNvSpPr/>
          <p:nvPr/>
        </p:nvSpPr>
        <p:spPr bwMode="auto">
          <a:xfrm>
            <a:off x="0" y="6440061"/>
            <a:ext cx="12436475" cy="554464"/>
          </a:xfrm>
          <a:prstGeom prst="rect">
            <a:avLst/>
          </a:prstGeom>
          <a:solidFill>
            <a:schemeClr val="bg2">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 name="Rectangle 28"/>
          <p:cNvSpPr/>
          <p:nvPr/>
        </p:nvSpPr>
        <p:spPr>
          <a:xfrm>
            <a:off x="2843681" y="3202415"/>
            <a:ext cx="2333652" cy="659198"/>
          </a:xfrm>
          <a:prstGeom prst="rect">
            <a:avLst/>
          </a:prstGeom>
        </p:spPr>
        <p:txBody>
          <a:bodyPr wrap="square">
            <a:spAutoFit/>
          </a:bodyPr>
          <a:lstStyle/>
          <a:p>
            <a:pPr marL="116537" defTabSz="932384">
              <a:spcAft>
                <a:spcPts val="612"/>
              </a:spcAft>
            </a:pPr>
            <a:r>
              <a:rPr lang="en-US" sz="1800" kern="0" dirty="0">
                <a:solidFill>
                  <a:schemeClr val="tx2">
                    <a:lumMod val="10000"/>
                  </a:schemeClr>
                </a:solidFill>
              </a:rPr>
              <a:t>A live 360º view </a:t>
            </a:r>
            <a:br>
              <a:rPr lang="en-US" sz="1800" kern="0" dirty="0">
                <a:solidFill>
                  <a:schemeClr val="tx2">
                    <a:lumMod val="10000"/>
                  </a:schemeClr>
                </a:solidFill>
              </a:rPr>
            </a:br>
            <a:r>
              <a:rPr lang="en-US" sz="1800" kern="0" dirty="0">
                <a:solidFill>
                  <a:schemeClr val="tx2">
                    <a:lumMod val="10000"/>
                  </a:schemeClr>
                </a:solidFill>
              </a:rPr>
              <a:t>of a business</a:t>
            </a:r>
          </a:p>
        </p:txBody>
      </p:sp>
      <p:sp>
        <p:nvSpPr>
          <p:cNvPr id="30" name="Rectangle 29"/>
          <p:cNvSpPr/>
          <p:nvPr/>
        </p:nvSpPr>
        <p:spPr>
          <a:xfrm>
            <a:off x="5140780" y="3202415"/>
            <a:ext cx="2333652" cy="646331"/>
          </a:xfrm>
          <a:prstGeom prst="rect">
            <a:avLst/>
          </a:prstGeom>
        </p:spPr>
        <p:txBody>
          <a:bodyPr wrap="square">
            <a:spAutoFit/>
          </a:bodyPr>
          <a:lstStyle/>
          <a:p>
            <a:pPr marL="116537" defTabSz="932384">
              <a:spcAft>
                <a:spcPts val="612"/>
              </a:spcAft>
            </a:pPr>
            <a:r>
              <a:rPr lang="en-US" sz="1800" kern="0" dirty="0">
                <a:solidFill>
                  <a:schemeClr val="tx2">
                    <a:lumMod val="10000"/>
                  </a:schemeClr>
                </a:solidFill>
              </a:rPr>
              <a:t>Data discovery </a:t>
            </a:r>
            <a:br>
              <a:rPr lang="en-US" sz="1800" kern="0" dirty="0">
                <a:solidFill>
                  <a:schemeClr val="tx2">
                    <a:lumMod val="10000"/>
                  </a:schemeClr>
                </a:solidFill>
              </a:rPr>
            </a:br>
            <a:r>
              <a:rPr lang="en-US" sz="1800" kern="0" dirty="0">
                <a:solidFill>
                  <a:schemeClr val="tx2">
                    <a:lumMod val="10000"/>
                  </a:schemeClr>
                </a:solidFill>
              </a:rPr>
              <a:t>and exploration</a:t>
            </a:r>
          </a:p>
        </p:txBody>
      </p:sp>
      <p:sp>
        <p:nvSpPr>
          <p:cNvPr id="31" name="Rectangle 30"/>
          <p:cNvSpPr/>
          <p:nvPr/>
        </p:nvSpPr>
        <p:spPr>
          <a:xfrm>
            <a:off x="667801" y="5308794"/>
            <a:ext cx="2333652" cy="659198"/>
          </a:xfrm>
          <a:prstGeom prst="rect">
            <a:avLst/>
          </a:prstGeom>
        </p:spPr>
        <p:txBody>
          <a:bodyPr wrap="square">
            <a:spAutoFit/>
          </a:bodyPr>
          <a:lstStyle/>
          <a:p>
            <a:pPr marL="116537" defTabSz="932384">
              <a:spcAft>
                <a:spcPts val="612"/>
              </a:spcAft>
            </a:pPr>
            <a:r>
              <a:rPr lang="en-US" sz="1800" kern="0" dirty="0">
                <a:solidFill>
                  <a:schemeClr val="tx2">
                    <a:lumMod val="10000"/>
                  </a:schemeClr>
                </a:solidFill>
              </a:rPr>
              <a:t>Insights from </a:t>
            </a:r>
            <a:br>
              <a:rPr lang="en-US" sz="1800" kern="0" dirty="0">
                <a:solidFill>
                  <a:schemeClr val="tx2">
                    <a:lumMod val="10000"/>
                  </a:schemeClr>
                </a:solidFill>
              </a:rPr>
            </a:br>
            <a:r>
              <a:rPr lang="en-US" sz="1800" kern="0" dirty="0">
                <a:solidFill>
                  <a:schemeClr val="tx2">
                    <a:lumMod val="10000"/>
                  </a:schemeClr>
                </a:solidFill>
              </a:rPr>
              <a:t>any device</a:t>
            </a:r>
          </a:p>
        </p:txBody>
      </p:sp>
      <p:sp>
        <p:nvSpPr>
          <p:cNvPr id="32" name="Rectangle 31"/>
          <p:cNvSpPr/>
          <p:nvPr/>
        </p:nvSpPr>
        <p:spPr>
          <a:xfrm>
            <a:off x="2843681" y="5308797"/>
            <a:ext cx="2458070" cy="646331"/>
          </a:xfrm>
          <a:prstGeom prst="rect">
            <a:avLst/>
          </a:prstGeom>
        </p:spPr>
        <p:txBody>
          <a:bodyPr wrap="square">
            <a:spAutoFit/>
          </a:bodyPr>
          <a:lstStyle/>
          <a:p>
            <a:pPr marL="116537" defTabSz="932384">
              <a:spcAft>
                <a:spcPts val="612"/>
              </a:spcAft>
            </a:pPr>
            <a:r>
              <a:rPr lang="en-US" sz="1800" kern="0" dirty="0">
                <a:solidFill>
                  <a:schemeClr val="tx2">
                    <a:lumMod val="10000"/>
                  </a:schemeClr>
                </a:solidFill>
              </a:rPr>
              <a:t>Collaboration across an organization</a:t>
            </a:r>
          </a:p>
        </p:txBody>
      </p:sp>
      <p:sp>
        <p:nvSpPr>
          <p:cNvPr id="34" name="Rectangle 33"/>
          <p:cNvSpPr/>
          <p:nvPr/>
        </p:nvSpPr>
        <p:spPr>
          <a:xfrm>
            <a:off x="5110551" y="5308795"/>
            <a:ext cx="2500861" cy="646331"/>
          </a:xfrm>
          <a:prstGeom prst="rect">
            <a:avLst/>
          </a:prstGeom>
        </p:spPr>
        <p:txBody>
          <a:bodyPr wrap="square">
            <a:spAutoFit/>
          </a:bodyPr>
          <a:lstStyle/>
          <a:p>
            <a:pPr marL="116537" defTabSz="932384">
              <a:spcAft>
                <a:spcPts val="612"/>
              </a:spcAft>
            </a:pPr>
            <a:r>
              <a:rPr lang="en-US" sz="1800" kern="0" dirty="0">
                <a:solidFill>
                  <a:schemeClr val="tx2">
                    <a:lumMod val="10000"/>
                  </a:schemeClr>
                </a:solidFill>
              </a:rPr>
              <a:t>Anyone can visualize and analyze data</a:t>
            </a:r>
          </a:p>
        </p:txBody>
      </p:sp>
      <p:sp>
        <p:nvSpPr>
          <p:cNvPr id="35" name="Title 3"/>
          <p:cNvSpPr txBox="1">
            <a:spLocks/>
          </p:cNvSpPr>
          <p:nvPr/>
        </p:nvSpPr>
        <p:spPr>
          <a:xfrm>
            <a:off x="9416643" y="4013150"/>
            <a:ext cx="2374304" cy="783893"/>
          </a:xfrm>
          <a:prstGeom prst="rect">
            <a:avLst/>
          </a:prstGeom>
        </p:spPr>
        <p:txBody>
          <a:bodyPr vert="horz" wrap="square" lIns="146283" tIns="91427" rIns="146283" bIns="91427" rtlCol="0" anchor="t">
            <a:noAutofit/>
          </a:bodyPr>
          <a:lstStyle>
            <a:lvl1pPr algn="l" defTabSz="932563" rtl="0" eaLnBrk="1" latinLnBrk="0" hangingPunct="1">
              <a:lnSpc>
                <a:spcPct val="90000"/>
              </a:lnSpc>
              <a:spcBef>
                <a:spcPct val="0"/>
              </a:spcBef>
              <a:buNone/>
              <a:defRPr lang="en-US" sz="5198" b="0" kern="1200" cap="none" spc="-102" baseline="0">
                <a:ln w="3175">
                  <a:noFill/>
                </a:ln>
                <a:solidFill>
                  <a:schemeClr val="tx2"/>
                </a:solidFill>
                <a:effectLst/>
                <a:latin typeface="+mj-lt"/>
                <a:ea typeface="+mn-ea"/>
                <a:cs typeface="Segoe UI" pitchFamily="34" charset="0"/>
              </a:defRPr>
            </a:lvl1pPr>
          </a:lstStyle>
          <a:p>
            <a:pPr defTabSz="932384">
              <a:defRPr/>
            </a:pPr>
            <a:r>
              <a:rPr lang="en-US" sz="1800" kern="0" spc="0" dirty="0">
                <a:solidFill>
                  <a:schemeClr val="tx2">
                    <a:lumMod val="10000"/>
                  </a:schemeClr>
                </a:solidFill>
                <a:latin typeface="+mn-lt"/>
                <a:cs typeface="+mn-cs"/>
              </a:rPr>
              <a:t>Become the go-to </a:t>
            </a:r>
            <a:br>
              <a:rPr lang="en-US" sz="1800" kern="0" spc="0" dirty="0">
                <a:solidFill>
                  <a:schemeClr val="tx2">
                    <a:lumMod val="10000"/>
                  </a:schemeClr>
                </a:solidFill>
                <a:latin typeface="+mn-lt"/>
                <a:cs typeface="+mn-cs"/>
              </a:rPr>
            </a:br>
            <a:r>
              <a:rPr lang="en-US" sz="1800" kern="0" spc="0" dirty="0">
                <a:solidFill>
                  <a:schemeClr val="tx2">
                    <a:lumMod val="10000"/>
                  </a:schemeClr>
                </a:solidFill>
                <a:latin typeface="+mn-lt"/>
                <a:cs typeface="+mn-cs"/>
              </a:rPr>
              <a:t>BI solution provider for your customers</a:t>
            </a:r>
          </a:p>
        </p:txBody>
      </p:sp>
      <p:cxnSp>
        <p:nvCxnSpPr>
          <p:cNvPr id="36" name="Straight Arrow Connector 35"/>
          <p:cNvCxnSpPr/>
          <p:nvPr/>
        </p:nvCxnSpPr>
        <p:spPr>
          <a:xfrm>
            <a:off x="7708900" y="4125967"/>
            <a:ext cx="1333500" cy="0"/>
          </a:xfrm>
          <a:prstGeom prst="straightConnector1">
            <a:avLst/>
          </a:prstGeom>
          <a:ln w="60325">
            <a:solidFill>
              <a:schemeClr val="tx1">
                <a:lumMod val="95000"/>
                <a:lumOff val="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2" name="Oval 41"/>
          <p:cNvSpPr/>
          <p:nvPr/>
        </p:nvSpPr>
        <p:spPr bwMode="auto">
          <a:xfrm>
            <a:off x="1095797" y="4249512"/>
            <a:ext cx="961572" cy="961570"/>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p:cNvSpPr/>
          <p:nvPr/>
        </p:nvSpPr>
        <p:spPr>
          <a:xfrm>
            <a:off x="667801" y="3202416"/>
            <a:ext cx="2333652" cy="646331"/>
          </a:xfrm>
          <a:prstGeom prst="rect">
            <a:avLst/>
          </a:prstGeom>
        </p:spPr>
        <p:txBody>
          <a:bodyPr wrap="square">
            <a:spAutoFit/>
          </a:bodyPr>
          <a:lstStyle/>
          <a:p>
            <a:pPr marL="116537" defTabSz="932384">
              <a:spcAft>
                <a:spcPts val="612"/>
              </a:spcAft>
            </a:pPr>
            <a:r>
              <a:rPr lang="en-US" sz="1800" kern="0" dirty="0">
                <a:solidFill>
                  <a:schemeClr val="tx2">
                    <a:lumMod val="10000"/>
                  </a:schemeClr>
                </a:solidFill>
              </a:rPr>
              <a:t>Fast and easy </a:t>
            </a:r>
            <a:br>
              <a:rPr lang="en-US" sz="1800" kern="0" dirty="0">
                <a:solidFill>
                  <a:schemeClr val="tx2">
                    <a:lumMod val="10000"/>
                  </a:schemeClr>
                </a:solidFill>
              </a:rPr>
            </a:br>
            <a:r>
              <a:rPr lang="en-US" sz="1800" kern="0" dirty="0">
                <a:solidFill>
                  <a:schemeClr val="tx2">
                    <a:lumMod val="10000"/>
                  </a:schemeClr>
                </a:solidFill>
              </a:rPr>
              <a:t>access to data</a:t>
            </a:r>
          </a:p>
        </p:txBody>
      </p:sp>
      <p:grpSp>
        <p:nvGrpSpPr>
          <p:cNvPr id="37" name="Group 36"/>
          <p:cNvGrpSpPr/>
          <p:nvPr/>
        </p:nvGrpSpPr>
        <p:grpSpPr>
          <a:xfrm>
            <a:off x="1312442" y="4554335"/>
            <a:ext cx="532688" cy="401828"/>
            <a:chOff x="-1452562" y="3876676"/>
            <a:chExt cx="639761" cy="482600"/>
          </a:xfrm>
          <a:solidFill>
            <a:schemeClr val="tx2"/>
          </a:solidFill>
        </p:grpSpPr>
        <p:sp>
          <p:nvSpPr>
            <p:cNvPr id="41" name="Freeform 32"/>
            <p:cNvSpPr>
              <a:spLocks/>
            </p:cNvSpPr>
            <p:nvPr/>
          </p:nvSpPr>
          <p:spPr bwMode="auto">
            <a:xfrm>
              <a:off x="-1452562" y="3876676"/>
              <a:ext cx="141287" cy="414338"/>
            </a:xfrm>
            <a:custGeom>
              <a:avLst/>
              <a:gdLst>
                <a:gd name="T0" fmla="*/ 21 w 27"/>
                <a:gd name="T1" fmla="*/ 79 h 79"/>
                <a:gd name="T2" fmla="*/ 27 w 27"/>
                <a:gd name="T3" fmla="*/ 74 h 79"/>
                <a:gd name="T4" fmla="*/ 27 w 27"/>
                <a:gd name="T5" fmla="*/ 6 h 79"/>
                <a:gd name="T6" fmla="*/ 21 w 27"/>
                <a:gd name="T7" fmla="*/ 0 h 79"/>
                <a:gd name="T8" fmla="*/ 21 w 27"/>
                <a:gd name="T9" fmla="*/ 79 h 79"/>
              </a:gdLst>
              <a:ahLst/>
              <a:cxnLst>
                <a:cxn ang="0">
                  <a:pos x="T0" y="T1"/>
                </a:cxn>
                <a:cxn ang="0">
                  <a:pos x="T2" y="T3"/>
                </a:cxn>
                <a:cxn ang="0">
                  <a:pos x="T4" y="T5"/>
                </a:cxn>
                <a:cxn ang="0">
                  <a:pos x="T6" y="T7"/>
                </a:cxn>
                <a:cxn ang="0">
                  <a:pos x="T8" y="T9"/>
                </a:cxn>
              </a:cxnLst>
              <a:rect l="0" t="0" r="r" b="b"/>
              <a:pathLst>
                <a:path w="27" h="79">
                  <a:moveTo>
                    <a:pt x="21" y="79"/>
                  </a:moveTo>
                  <a:cubicBezTo>
                    <a:pt x="27" y="74"/>
                    <a:pt x="27" y="74"/>
                    <a:pt x="27" y="74"/>
                  </a:cubicBezTo>
                  <a:cubicBezTo>
                    <a:pt x="8" y="55"/>
                    <a:pt x="8" y="25"/>
                    <a:pt x="27" y="6"/>
                  </a:cubicBezTo>
                  <a:cubicBezTo>
                    <a:pt x="21" y="0"/>
                    <a:pt x="21" y="0"/>
                    <a:pt x="21" y="0"/>
                  </a:cubicBezTo>
                  <a:cubicBezTo>
                    <a:pt x="0" y="22"/>
                    <a:pt x="0" y="58"/>
                    <a:pt x="21" y="79"/>
                  </a:cubicBezTo>
                  <a:close/>
                </a:path>
              </a:pathLst>
            </a:custGeom>
            <a:solidFill>
              <a:schemeClr val="bg2">
                <a:lumMod val="10000"/>
              </a:schemeClr>
            </a:solidFill>
            <a:ln>
              <a:noFill/>
            </a:ln>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 name="Freeform 33"/>
            <p:cNvSpPr>
              <a:spLocks/>
            </p:cNvSpPr>
            <p:nvPr/>
          </p:nvSpPr>
          <p:spPr bwMode="auto">
            <a:xfrm>
              <a:off x="-954088" y="3876676"/>
              <a:ext cx="141287" cy="414338"/>
            </a:xfrm>
            <a:custGeom>
              <a:avLst/>
              <a:gdLst>
                <a:gd name="T0" fmla="*/ 6 w 27"/>
                <a:gd name="T1" fmla="*/ 0 h 79"/>
                <a:gd name="T2" fmla="*/ 0 w 27"/>
                <a:gd name="T3" fmla="*/ 6 h 79"/>
                <a:gd name="T4" fmla="*/ 0 w 27"/>
                <a:gd name="T5" fmla="*/ 74 h 79"/>
                <a:gd name="T6" fmla="*/ 6 w 27"/>
                <a:gd name="T7" fmla="*/ 79 h 79"/>
                <a:gd name="T8" fmla="*/ 6 w 27"/>
                <a:gd name="T9" fmla="*/ 0 h 79"/>
              </a:gdLst>
              <a:ahLst/>
              <a:cxnLst>
                <a:cxn ang="0">
                  <a:pos x="T0" y="T1"/>
                </a:cxn>
                <a:cxn ang="0">
                  <a:pos x="T2" y="T3"/>
                </a:cxn>
                <a:cxn ang="0">
                  <a:pos x="T4" y="T5"/>
                </a:cxn>
                <a:cxn ang="0">
                  <a:pos x="T6" y="T7"/>
                </a:cxn>
                <a:cxn ang="0">
                  <a:pos x="T8" y="T9"/>
                </a:cxn>
              </a:cxnLst>
              <a:rect l="0" t="0" r="r" b="b"/>
              <a:pathLst>
                <a:path w="27" h="79">
                  <a:moveTo>
                    <a:pt x="6" y="0"/>
                  </a:moveTo>
                  <a:cubicBezTo>
                    <a:pt x="0" y="6"/>
                    <a:pt x="0" y="6"/>
                    <a:pt x="0" y="6"/>
                  </a:cubicBezTo>
                  <a:cubicBezTo>
                    <a:pt x="19" y="25"/>
                    <a:pt x="19" y="55"/>
                    <a:pt x="0" y="74"/>
                  </a:cubicBezTo>
                  <a:cubicBezTo>
                    <a:pt x="6" y="79"/>
                    <a:pt x="6" y="79"/>
                    <a:pt x="6" y="79"/>
                  </a:cubicBezTo>
                  <a:cubicBezTo>
                    <a:pt x="27" y="58"/>
                    <a:pt x="27" y="22"/>
                    <a:pt x="6" y="0"/>
                  </a:cubicBezTo>
                  <a:close/>
                </a:path>
              </a:pathLst>
            </a:custGeom>
            <a:solidFill>
              <a:schemeClr val="tx1">
                <a:lumMod val="50000"/>
              </a:schemeClr>
            </a:solidFill>
            <a:ln>
              <a:noFill/>
            </a:ln>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 name="Freeform 34"/>
            <p:cNvSpPr>
              <a:spLocks/>
            </p:cNvSpPr>
            <p:nvPr/>
          </p:nvSpPr>
          <p:spPr bwMode="auto">
            <a:xfrm>
              <a:off x="-1336675" y="3949701"/>
              <a:ext cx="98425" cy="268288"/>
            </a:xfrm>
            <a:custGeom>
              <a:avLst/>
              <a:gdLst>
                <a:gd name="T0" fmla="*/ 14 w 19"/>
                <a:gd name="T1" fmla="*/ 0 h 51"/>
                <a:gd name="T2" fmla="*/ 14 w 19"/>
                <a:gd name="T3" fmla="*/ 51 h 51"/>
                <a:gd name="T4" fmla="*/ 19 w 19"/>
                <a:gd name="T5" fmla="*/ 46 h 51"/>
                <a:gd name="T6" fmla="*/ 19 w 19"/>
                <a:gd name="T7" fmla="*/ 6 h 51"/>
                <a:gd name="T8" fmla="*/ 14 w 19"/>
                <a:gd name="T9" fmla="*/ 0 h 51"/>
              </a:gdLst>
              <a:ahLst/>
              <a:cxnLst>
                <a:cxn ang="0">
                  <a:pos x="T0" y="T1"/>
                </a:cxn>
                <a:cxn ang="0">
                  <a:pos x="T2" y="T3"/>
                </a:cxn>
                <a:cxn ang="0">
                  <a:pos x="T4" y="T5"/>
                </a:cxn>
                <a:cxn ang="0">
                  <a:pos x="T6" y="T7"/>
                </a:cxn>
                <a:cxn ang="0">
                  <a:pos x="T8" y="T9"/>
                </a:cxn>
              </a:cxnLst>
              <a:rect l="0" t="0" r="r" b="b"/>
              <a:pathLst>
                <a:path w="19" h="51">
                  <a:moveTo>
                    <a:pt x="14" y="0"/>
                  </a:moveTo>
                  <a:cubicBezTo>
                    <a:pt x="0" y="14"/>
                    <a:pt x="0" y="37"/>
                    <a:pt x="14" y="51"/>
                  </a:cubicBezTo>
                  <a:cubicBezTo>
                    <a:pt x="19" y="46"/>
                    <a:pt x="19" y="46"/>
                    <a:pt x="19" y="46"/>
                  </a:cubicBezTo>
                  <a:cubicBezTo>
                    <a:pt x="8" y="35"/>
                    <a:pt x="8" y="17"/>
                    <a:pt x="19" y="6"/>
                  </a:cubicBezTo>
                  <a:lnTo>
                    <a:pt x="14" y="0"/>
                  </a:lnTo>
                  <a:close/>
                </a:path>
              </a:pathLst>
            </a:custGeom>
            <a:solidFill>
              <a:schemeClr val="bg2">
                <a:lumMod val="10000"/>
              </a:schemeClr>
            </a:solidFill>
            <a:ln>
              <a:noFill/>
            </a:ln>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 name="Freeform 35"/>
            <p:cNvSpPr>
              <a:spLocks/>
            </p:cNvSpPr>
            <p:nvPr/>
          </p:nvSpPr>
          <p:spPr bwMode="auto">
            <a:xfrm>
              <a:off x="-1027113" y="3949701"/>
              <a:ext cx="98425" cy="268288"/>
            </a:xfrm>
            <a:custGeom>
              <a:avLst/>
              <a:gdLst>
                <a:gd name="T0" fmla="*/ 5 w 19"/>
                <a:gd name="T1" fmla="*/ 51 h 51"/>
                <a:gd name="T2" fmla="*/ 5 w 19"/>
                <a:gd name="T3" fmla="*/ 0 h 51"/>
                <a:gd name="T4" fmla="*/ 0 w 19"/>
                <a:gd name="T5" fmla="*/ 6 h 51"/>
                <a:gd name="T6" fmla="*/ 0 w 19"/>
                <a:gd name="T7" fmla="*/ 46 h 51"/>
                <a:gd name="T8" fmla="*/ 5 w 19"/>
                <a:gd name="T9" fmla="*/ 51 h 51"/>
              </a:gdLst>
              <a:ahLst/>
              <a:cxnLst>
                <a:cxn ang="0">
                  <a:pos x="T0" y="T1"/>
                </a:cxn>
                <a:cxn ang="0">
                  <a:pos x="T2" y="T3"/>
                </a:cxn>
                <a:cxn ang="0">
                  <a:pos x="T4" y="T5"/>
                </a:cxn>
                <a:cxn ang="0">
                  <a:pos x="T6" y="T7"/>
                </a:cxn>
                <a:cxn ang="0">
                  <a:pos x="T8" y="T9"/>
                </a:cxn>
              </a:cxnLst>
              <a:rect l="0" t="0" r="r" b="b"/>
              <a:pathLst>
                <a:path w="19" h="51">
                  <a:moveTo>
                    <a:pt x="5" y="51"/>
                  </a:moveTo>
                  <a:cubicBezTo>
                    <a:pt x="19" y="37"/>
                    <a:pt x="19" y="14"/>
                    <a:pt x="5" y="0"/>
                  </a:cubicBezTo>
                  <a:cubicBezTo>
                    <a:pt x="0" y="6"/>
                    <a:pt x="0" y="6"/>
                    <a:pt x="0" y="6"/>
                  </a:cubicBezTo>
                  <a:cubicBezTo>
                    <a:pt x="11" y="17"/>
                    <a:pt x="11" y="35"/>
                    <a:pt x="0" y="46"/>
                  </a:cubicBezTo>
                  <a:lnTo>
                    <a:pt x="5" y="51"/>
                  </a:lnTo>
                  <a:close/>
                </a:path>
              </a:pathLst>
            </a:custGeom>
            <a:solidFill>
              <a:schemeClr val="bg2">
                <a:lumMod val="10000"/>
              </a:schemeClr>
            </a:solidFill>
            <a:ln>
              <a:noFill/>
            </a:ln>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9" name="Freeform 36"/>
            <p:cNvSpPr>
              <a:spLocks noEditPoints="1"/>
            </p:cNvSpPr>
            <p:nvPr/>
          </p:nvSpPr>
          <p:spPr bwMode="auto">
            <a:xfrm>
              <a:off x="-1216025" y="4002088"/>
              <a:ext cx="166687" cy="357188"/>
            </a:xfrm>
            <a:custGeom>
              <a:avLst/>
              <a:gdLst>
                <a:gd name="T0" fmla="*/ 20 w 32"/>
                <a:gd name="T1" fmla="*/ 68 h 68"/>
                <a:gd name="T2" fmla="*/ 20 w 32"/>
                <a:gd name="T3" fmla="*/ 31 h 68"/>
                <a:gd name="T4" fmla="*/ 32 w 32"/>
                <a:gd name="T5" fmla="*/ 16 h 68"/>
                <a:gd name="T6" fmla="*/ 16 w 32"/>
                <a:gd name="T7" fmla="*/ 0 h 68"/>
                <a:gd name="T8" fmla="*/ 0 w 32"/>
                <a:gd name="T9" fmla="*/ 16 h 68"/>
                <a:gd name="T10" fmla="*/ 12 w 32"/>
                <a:gd name="T11" fmla="*/ 31 h 68"/>
                <a:gd name="T12" fmla="*/ 12 w 32"/>
                <a:gd name="T13" fmla="*/ 68 h 68"/>
                <a:gd name="T14" fmla="*/ 20 w 32"/>
                <a:gd name="T15" fmla="*/ 68 h 68"/>
                <a:gd name="T16" fmla="*/ 8 w 32"/>
                <a:gd name="T17" fmla="*/ 16 h 68"/>
                <a:gd name="T18" fmla="*/ 16 w 32"/>
                <a:gd name="T19" fmla="*/ 8 h 68"/>
                <a:gd name="T20" fmla="*/ 24 w 32"/>
                <a:gd name="T21" fmla="*/ 16 h 68"/>
                <a:gd name="T22" fmla="*/ 16 w 32"/>
                <a:gd name="T23" fmla="*/ 24 h 68"/>
                <a:gd name="T24" fmla="*/ 8 w 32"/>
                <a:gd name="T25" fmla="*/ 1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68">
                  <a:moveTo>
                    <a:pt x="20" y="68"/>
                  </a:moveTo>
                  <a:cubicBezTo>
                    <a:pt x="20" y="31"/>
                    <a:pt x="20" y="31"/>
                    <a:pt x="20" y="31"/>
                  </a:cubicBezTo>
                  <a:cubicBezTo>
                    <a:pt x="27" y="29"/>
                    <a:pt x="32" y="23"/>
                    <a:pt x="32" y="16"/>
                  </a:cubicBezTo>
                  <a:cubicBezTo>
                    <a:pt x="32" y="7"/>
                    <a:pt x="25" y="0"/>
                    <a:pt x="16" y="0"/>
                  </a:cubicBezTo>
                  <a:cubicBezTo>
                    <a:pt x="7" y="0"/>
                    <a:pt x="0" y="7"/>
                    <a:pt x="0" y="16"/>
                  </a:cubicBezTo>
                  <a:cubicBezTo>
                    <a:pt x="0" y="23"/>
                    <a:pt x="5" y="29"/>
                    <a:pt x="12" y="31"/>
                  </a:cubicBezTo>
                  <a:cubicBezTo>
                    <a:pt x="12" y="68"/>
                    <a:pt x="12" y="68"/>
                    <a:pt x="12" y="68"/>
                  </a:cubicBezTo>
                  <a:lnTo>
                    <a:pt x="20" y="68"/>
                  </a:lnTo>
                  <a:close/>
                  <a:moveTo>
                    <a:pt x="8" y="16"/>
                  </a:moveTo>
                  <a:cubicBezTo>
                    <a:pt x="8" y="11"/>
                    <a:pt x="12" y="8"/>
                    <a:pt x="16" y="8"/>
                  </a:cubicBezTo>
                  <a:cubicBezTo>
                    <a:pt x="20" y="8"/>
                    <a:pt x="24" y="11"/>
                    <a:pt x="24" y="16"/>
                  </a:cubicBezTo>
                  <a:cubicBezTo>
                    <a:pt x="24" y="20"/>
                    <a:pt x="20" y="24"/>
                    <a:pt x="16" y="24"/>
                  </a:cubicBezTo>
                  <a:cubicBezTo>
                    <a:pt x="12" y="24"/>
                    <a:pt x="8" y="20"/>
                    <a:pt x="8" y="16"/>
                  </a:cubicBezTo>
                  <a:close/>
                </a:path>
              </a:pathLst>
            </a:custGeom>
            <a:solidFill>
              <a:schemeClr val="tx1">
                <a:lumMod val="50000"/>
              </a:schemeClr>
            </a:solidFill>
            <a:ln>
              <a:noFill/>
            </a:ln>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68" name="Oval 67"/>
          <p:cNvSpPr/>
          <p:nvPr/>
        </p:nvSpPr>
        <p:spPr bwMode="auto">
          <a:xfrm>
            <a:off x="1095797" y="2053209"/>
            <a:ext cx="961572" cy="961570"/>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3" name="Group 62"/>
          <p:cNvGrpSpPr/>
          <p:nvPr/>
        </p:nvGrpSpPr>
        <p:grpSpPr>
          <a:xfrm>
            <a:off x="1338319" y="2373847"/>
            <a:ext cx="457277" cy="260527"/>
            <a:chOff x="-2160588" y="3748088"/>
            <a:chExt cx="1343025" cy="765175"/>
          </a:xfrm>
        </p:grpSpPr>
        <p:sp>
          <p:nvSpPr>
            <p:cNvPr id="64" name="Freeform 44"/>
            <p:cNvSpPr>
              <a:spLocks/>
            </p:cNvSpPr>
            <p:nvPr/>
          </p:nvSpPr>
          <p:spPr bwMode="auto">
            <a:xfrm>
              <a:off x="-2160582" y="3858967"/>
              <a:ext cx="1177484" cy="441572"/>
            </a:xfrm>
            <a:custGeom>
              <a:avLst/>
              <a:gdLst>
                <a:gd name="T0" fmla="*/ 0 w 819"/>
                <a:gd name="T1" fmla="*/ 348 h 348"/>
                <a:gd name="T2" fmla="*/ 238 w 819"/>
                <a:gd name="T3" fmla="*/ 107 h 348"/>
                <a:gd name="T4" fmla="*/ 476 w 819"/>
                <a:gd name="T5" fmla="*/ 348 h 348"/>
                <a:gd name="T6" fmla="*/ 819 w 819"/>
                <a:gd name="T7" fmla="*/ 0 h 348"/>
              </a:gdLst>
              <a:ahLst/>
              <a:cxnLst>
                <a:cxn ang="0">
                  <a:pos x="T0" y="T1"/>
                </a:cxn>
                <a:cxn ang="0">
                  <a:pos x="T2" y="T3"/>
                </a:cxn>
                <a:cxn ang="0">
                  <a:pos x="T4" y="T5"/>
                </a:cxn>
                <a:cxn ang="0">
                  <a:pos x="T6" y="T7"/>
                </a:cxn>
              </a:cxnLst>
              <a:rect l="0" t="0" r="r" b="b"/>
              <a:pathLst>
                <a:path w="819" h="348">
                  <a:moveTo>
                    <a:pt x="0" y="348"/>
                  </a:moveTo>
                  <a:lnTo>
                    <a:pt x="238" y="107"/>
                  </a:lnTo>
                  <a:lnTo>
                    <a:pt x="476" y="348"/>
                  </a:lnTo>
                  <a:lnTo>
                    <a:pt x="819" y="0"/>
                  </a:lnTo>
                </a:path>
              </a:pathLst>
            </a:custGeom>
            <a:noFill/>
            <a:ln w="34925" cap="flat">
              <a:solidFill>
                <a:schemeClr val="tx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5" name="Line 45"/>
            <p:cNvSpPr>
              <a:spLocks noChangeShapeType="1"/>
            </p:cNvSpPr>
            <p:nvPr/>
          </p:nvSpPr>
          <p:spPr bwMode="auto">
            <a:xfrm>
              <a:off x="-2160588" y="4513263"/>
              <a:ext cx="1343025" cy="0"/>
            </a:xfrm>
            <a:prstGeom prst="line">
              <a:avLst/>
            </a:prstGeom>
            <a:noFill/>
            <a:ln w="34925" cap="flat">
              <a:solidFill>
                <a:schemeClr val="tx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6" name="Freeform 46"/>
            <p:cNvSpPr>
              <a:spLocks/>
            </p:cNvSpPr>
            <p:nvPr/>
          </p:nvSpPr>
          <p:spPr bwMode="auto">
            <a:xfrm>
              <a:off x="-1111250" y="3748088"/>
              <a:ext cx="250825" cy="255588"/>
            </a:xfrm>
            <a:custGeom>
              <a:avLst/>
              <a:gdLst>
                <a:gd name="T0" fmla="*/ 158 w 158"/>
                <a:gd name="T1" fmla="*/ 161 h 161"/>
                <a:gd name="T2" fmla="*/ 158 w 158"/>
                <a:gd name="T3" fmla="*/ 0 h 161"/>
                <a:gd name="T4" fmla="*/ 0 w 158"/>
                <a:gd name="T5" fmla="*/ 0 h 161"/>
              </a:gdLst>
              <a:ahLst/>
              <a:cxnLst>
                <a:cxn ang="0">
                  <a:pos x="T0" y="T1"/>
                </a:cxn>
                <a:cxn ang="0">
                  <a:pos x="T2" y="T3"/>
                </a:cxn>
                <a:cxn ang="0">
                  <a:pos x="T4" y="T5"/>
                </a:cxn>
              </a:cxnLst>
              <a:rect l="0" t="0" r="r" b="b"/>
              <a:pathLst>
                <a:path w="158" h="161">
                  <a:moveTo>
                    <a:pt x="158" y="161"/>
                  </a:moveTo>
                  <a:lnTo>
                    <a:pt x="158" y="0"/>
                  </a:lnTo>
                  <a:lnTo>
                    <a:pt x="0" y="0"/>
                  </a:lnTo>
                </a:path>
              </a:pathLst>
            </a:custGeom>
            <a:noFill/>
            <a:ln w="34925" cap="flat">
              <a:solidFill>
                <a:schemeClr val="tx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69" name="Oval 68"/>
          <p:cNvSpPr/>
          <p:nvPr/>
        </p:nvSpPr>
        <p:spPr bwMode="auto">
          <a:xfrm>
            <a:off x="3360710" y="2053209"/>
            <a:ext cx="961572" cy="961570"/>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0" name="Oval 69"/>
          <p:cNvSpPr/>
          <p:nvPr/>
        </p:nvSpPr>
        <p:spPr bwMode="auto">
          <a:xfrm>
            <a:off x="3360710" y="4177972"/>
            <a:ext cx="961572" cy="961570"/>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1" name="Oval 70"/>
          <p:cNvSpPr/>
          <p:nvPr/>
        </p:nvSpPr>
        <p:spPr bwMode="auto">
          <a:xfrm>
            <a:off x="5724438" y="4159610"/>
            <a:ext cx="961572" cy="961570"/>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2" name="Oval 71"/>
          <p:cNvSpPr/>
          <p:nvPr/>
        </p:nvSpPr>
        <p:spPr bwMode="auto">
          <a:xfrm>
            <a:off x="10006075" y="2815546"/>
            <a:ext cx="961572" cy="961570"/>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p:cNvPicPr>
            <a:picLocks noChangeAspect="1"/>
          </p:cNvPicPr>
          <p:nvPr/>
        </p:nvPicPr>
        <p:blipFill>
          <a:blip r:embed="rId3"/>
          <a:stretch>
            <a:fillRect/>
          </a:stretch>
        </p:blipFill>
        <p:spPr>
          <a:xfrm>
            <a:off x="3571582" y="2267078"/>
            <a:ext cx="542143" cy="547204"/>
          </a:xfrm>
          <a:prstGeom prst="rect">
            <a:avLst/>
          </a:prstGeom>
        </p:spPr>
      </p:pic>
      <p:pic>
        <p:nvPicPr>
          <p:cNvPr id="10" name="Picture 9"/>
          <p:cNvPicPr>
            <a:picLocks noChangeAspect="1"/>
          </p:cNvPicPr>
          <p:nvPr/>
        </p:nvPicPr>
        <p:blipFill>
          <a:blip r:embed="rId4"/>
          <a:stretch>
            <a:fillRect/>
          </a:stretch>
        </p:blipFill>
        <p:spPr>
          <a:xfrm>
            <a:off x="6007648" y="4379696"/>
            <a:ext cx="436556" cy="548800"/>
          </a:xfrm>
          <a:prstGeom prst="rect">
            <a:avLst/>
          </a:prstGeom>
        </p:spPr>
      </p:pic>
      <p:pic>
        <p:nvPicPr>
          <p:cNvPr id="11" name="Picture 10"/>
          <p:cNvPicPr>
            <a:picLocks noChangeAspect="1"/>
          </p:cNvPicPr>
          <p:nvPr/>
        </p:nvPicPr>
        <p:blipFill>
          <a:blip r:embed="rId5"/>
          <a:stretch>
            <a:fillRect/>
          </a:stretch>
        </p:blipFill>
        <p:spPr>
          <a:xfrm>
            <a:off x="10261748" y="2991781"/>
            <a:ext cx="464541" cy="560000"/>
          </a:xfrm>
          <a:prstGeom prst="rect">
            <a:avLst/>
          </a:prstGeom>
        </p:spPr>
      </p:pic>
      <p:pic>
        <p:nvPicPr>
          <p:cNvPr id="12" name="Picture 11"/>
          <p:cNvPicPr>
            <a:picLocks noChangeAspect="1"/>
          </p:cNvPicPr>
          <p:nvPr/>
        </p:nvPicPr>
        <p:blipFill>
          <a:blip r:embed="rId6"/>
          <a:stretch>
            <a:fillRect/>
          </a:stretch>
        </p:blipFill>
        <p:spPr>
          <a:xfrm>
            <a:off x="5975752" y="2231872"/>
            <a:ext cx="458944" cy="548800"/>
          </a:xfrm>
          <a:prstGeom prst="rect">
            <a:avLst/>
          </a:prstGeom>
        </p:spPr>
      </p:pic>
      <p:pic>
        <p:nvPicPr>
          <p:cNvPr id="73" name="Picture 72"/>
          <p:cNvPicPr>
            <a:picLocks noChangeAspect="1"/>
          </p:cNvPicPr>
          <p:nvPr/>
        </p:nvPicPr>
        <p:blipFill>
          <a:blip r:embed="rId7"/>
          <a:stretch>
            <a:fillRect/>
          </a:stretch>
        </p:blipFill>
        <p:spPr>
          <a:xfrm>
            <a:off x="3541977" y="4365163"/>
            <a:ext cx="613236" cy="547838"/>
          </a:xfrm>
          <a:prstGeom prst="rect">
            <a:avLst/>
          </a:prstGeom>
        </p:spPr>
      </p:pic>
    </p:spTree>
    <p:extLst>
      <p:ext uri="{BB962C8B-B14F-4D97-AF65-F5344CB8AC3E}">
        <p14:creationId xmlns:p14="http://schemas.microsoft.com/office/powerpoint/2010/main" val="3287096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3"/>
                                        </p:tgtEl>
                                        <p:attrNameLst>
                                          <p:attrName>style.visibility</p:attrName>
                                        </p:attrNameLst>
                                      </p:cBhvr>
                                      <p:to>
                                        <p:strVal val="visible"/>
                                      </p:to>
                                    </p:set>
                                    <p:animEffect transition="in" filter="fade">
                                      <p:cBhvr>
                                        <p:cTn id="7" dur="500"/>
                                        <p:tgtEl>
                                          <p:spTgt spid="6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8"/>
                                        </p:tgtEl>
                                        <p:attrNameLst>
                                          <p:attrName>style.visibility</p:attrName>
                                        </p:attrNameLst>
                                      </p:cBhvr>
                                      <p:to>
                                        <p:strVal val="visible"/>
                                      </p:to>
                                    </p:set>
                                    <p:animEffect transition="in" filter="fade">
                                      <p:cBhvr>
                                        <p:cTn id="10" dur="500"/>
                                        <p:tgtEl>
                                          <p:spTgt spid="6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8"/>
                                        </p:tgtEl>
                                        <p:attrNameLst>
                                          <p:attrName>style.visibility</p:attrName>
                                        </p:attrNameLst>
                                      </p:cBhvr>
                                      <p:to>
                                        <p:strVal val="visible"/>
                                      </p:to>
                                    </p:set>
                                    <p:animEffect transition="in" filter="fade">
                                      <p:cBhvr>
                                        <p:cTn id="13" dur="500"/>
                                        <p:tgtEl>
                                          <p:spTgt spid="48"/>
                                        </p:tgtEl>
                                      </p:cBhvr>
                                    </p:animEffect>
                                  </p:childTnLst>
                                </p:cTn>
                              </p:par>
                              <p:par>
                                <p:cTn id="14" presetID="10" presetClass="entr" presetSubtype="0" fill="hold" nodeType="withEffect">
                                  <p:stCondLst>
                                    <p:cond delay="0"/>
                                  </p:stCondLst>
                                  <p:childTnLst>
                                    <p:set>
                                      <p:cBhvr>
                                        <p:cTn id="15" dur="1" fill="hold">
                                          <p:stCondLst>
                                            <p:cond delay="0"/>
                                          </p:stCondLst>
                                        </p:cTn>
                                        <p:tgtEl>
                                          <p:spTgt spid="37"/>
                                        </p:tgtEl>
                                        <p:attrNameLst>
                                          <p:attrName>style.visibility</p:attrName>
                                        </p:attrNameLst>
                                      </p:cBhvr>
                                      <p:to>
                                        <p:strVal val="visible"/>
                                      </p:to>
                                    </p:set>
                                    <p:animEffect transition="in" filter="fade">
                                      <p:cBhvr>
                                        <p:cTn id="16" dur="500"/>
                                        <p:tgtEl>
                                          <p:spTgt spid="3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2"/>
                                        </p:tgtEl>
                                        <p:attrNameLst>
                                          <p:attrName>style.visibility</p:attrName>
                                        </p:attrNameLst>
                                      </p:cBhvr>
                                      <p:to>
                                        <p:strVal val="visible"/>
                                      </p:to>
                                    </p:set>
                                    <p:animEffect transition="in" filter="fade">
                                      <p:cBhvr>
                                        <p:cTn id="19" dur="500"/>
                                        <p:tgtEl>
                                          <p:spTgt spid="4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1"/>
                                        </p:tgtEl>
                                        <p:attrNameLst>
                                          <p:attrName>style.visibility</p:attrName>
                                        </p:attrNameLst>
                                      </p:cBhvr>
                                      <p:to>
                                        <p:strVal val="visible"/>
                                      </p:to>
                                    </p:set>
                                    <p:animEffect transition="in" filter="fade">
                                      <p:cBhvr>
                                        <p:cTn id="22" dur="500"/>
                                        <p:tgtEl>
                                          <p:spTgt spid="31"/>
                                        </p:tgtEl>
                                      </p:cBhvr>
                                    </p:animEffect>
                                  </p:childTnLst>
                                </p:cTn>
                              </p:par>
                            </p:childTnLst>
                          </p:cTn>
                        </p:par>
                        <p:par>
                          <p:cTn id="23" fill="hold">
                            <p:stCondLst>
                              <p:cond delay="500"/>
                            </p:stCondLst>
                            <p:childTnLst>
                              <p:par>
                                <p:cTn id="24" presetID="10" presetClass="entr" presetSubtype="0" fill="hold" nodeType="afterEffect">
                                  <p:stCondLst>
                                    <p:cond delay="0"/>
                                  </p:stCondLst>
                                  <p:childTnLst>
                                    <p:set>
                                      <p:cBhvr>
                                        <p:cTn id="25" dur="1" fill="hold">
                                          <p:stCondLst>
                                            <p:cond delay="0"/>
                                          </p:stCondLst>
                                        </p:cTn>
                                        <p:tgtEl>
                                          <p:spTgt spid="4"/>
                                        </p:tgtEl>
                                        <p:attrNameLst>
                                          <p:attrName>style.visibility</p:attrName>
                                        </p:attrNameLst>
                                      </p:cBhvr>
                                      <p:to>
                                        <p:strVal val="visible"/>
                                      </p:to>
                                    </p:set>
                                    <p:animEffect transition="in" filter="fade">
                                      <p:cBhvr>
                                        <p:cTn id="26" dur="500"/>
                                        <p:tgtEl>
                                          <p:spTgt spid="4"/>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9"/>
                                        </p:tgtEl>
                                        <p:attrNameLst>
                                          <p:attrName>style.visibility</p:attrName>
                                        </p:attrNameLst>
                                      </p:cBhvr>
                                      <p:to>
                                        <p:strVal val="visible"/>
                                      </p:to>
                                    </p:set>
                                    <p:animEffect transition="in" filter="fade">
                                      <p:cBhvr>
                                        <p:cTn id="29" dur="500"/>
                                        <p:tgtEl>
                                          <p:spTgt spid="29"/>
                                        </p:tgtEl>
                                      </p:cBhvr>
                                    </p:animEffect>
                                  </p:childTnLst>
                                </p:cTn>
                              </p:par>
                              <p:par>
                                <p:cTn id="30" presetID="10" presetClass="entr" presetSubtype="0" fill="hold" nodeType="withEffect">
                                  <p:stCondLst>
                                    <p:cond delay="0"/>
                                  </p:stCondLst>
                                  <p:childTnLst>
                                    <p:set>
                                      <p:cBhvr>
                                        <p:cTn id="31" dur="1" fill="hold">
                                          <p:stCondLst>
                                            <p:cond delay="0"/>
                                          </p:stCondLst>
                                        </p:cTn>
                                        <p:tgtEl>
                                          <p:spTgt spid="73"/>
                                        </p:tgtEl>
                                        <p:attrNameLst>
                                          <p:attrName>style.visibility</p:attrName>
                                        </p:attrNameLst>
                                      </p:cBhvr>
                                      <p:to>
                                        <p:strVal val="visible"/>
                                      </p:to>
                                    </p:set>
                                    <p:animEffect transition="in" filter="fade">
                                      <p:cBhvr>
                                        <p:cTn id="32" dur="500"/>
                                        <p:tgtEl>
                                          <p:spTgt spid="73"/>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70"/>
                                        </p:tgtEl>
                                        <p:attrNameLst>
                                          <p:attrName>style.visibility</p:attrName>
                                        </p:attrNameLst>
                                      </p:cBhvr>
                                      <p:to>
                                        <p:strVal val="visible"/>
                                      </p:to>
                                    </p:set>
                                    <p:animEffect transition="in" filter="fade">
                                      <p:cBhvr>
                                        <p:cTn id="35" dur="500"/>
                                        <p:tgtEl>
                                          <p:spTgt spid="70"/>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69"/>
                                        </p:tgtEl>
                                        <p:attrNameLst>
                                          <p:attrName>style.visibility</p:attrName>
                                        </p:attrNameLst>
                                      </p:cBhvr>
                                      <p:to>
                                        <p:strVal val="visible"/>
                                      </p:to>
                                    </p:set>
                                    <p:animEffect transition="in" filter="fade">
                                      <p:cBhvr>
                                        <p:cTn id="38" dur="500"/>
                                        <p:tgtEl>
                                          <p:spTgt spid="6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2"/>
                                        </p:tgtEl>
                                        <p:attrNameLst>
                                          <p:attrName>style.visibility</p:attrName>
                                        </p:attrNameLst>
                                      </p:cBhvr>
                                      <p:to>
                                        <p:strVal val="visible"/>
                                      </p:to>
                                    </p:set>
                                    <p:animEffect transition="in" filter="fade">
                                      <p:cBhvr>
                                        <p:cTn id="41" dur="500"/>
                                        <p:tgtEl>
                                          <p:spTgt spid="32"/>
                                        </p:tgtEl>
                                      </p:cBhvr>
                                    </p:animEffect>
                                  </p:childTnLst>
                                </p:cTn>
                              </p:par>
                            </p:childTnLst>
                          </p:cTn>
                        </p:par>
                        <p:par>
                          <p:cTn id="42" fill="hold">
                            <p:stCondLst>
                              <p:cond delay="1000"/>
                            </p:stCondLst>
                            <p:childTnLst>
                              <p:par>
                                <p:cTn id="43" presetID="10" presetClass="entr" presetSubtype="0" fill="hold" grpId="0" nodeType="afterEffect">
                                  <p:stCondLst>
                                    <p:cond delay="0"/>
                                  </p:stCondLst>
                                  <p:childTnLst>
                                    <p:set>
                                      <p:cBhvr>
                                        <p:cTn id="44" dur="1" fill="hold">
                                          <p:stCondLst>
                                            <p:cond delay="0"/>
                                          </p:stCondLst>
                                        </p:cTn>
                                        <p:tgtEl>
                                          <p:spTgt spid="60"/>
                                        </p:tgtEl>
                                        <p:attrNameLst>
                                          <p:attrName>style.visibility</p:attrName>
                                        </p:attrNameLst>
                                      </p:cBhvr>
                                      <p:to>
                                        <p:strVal val="visible"/>
                                      </p:to>
                                    </p:set>
                                    <p:animEffect transition="in" filter="fade">
                                      <p:cBhvr>
                                        <p:cTn id="45" dur="500"/>
                                        <p:tgtEl>
                                          <p:spTgt spid="60"/>
                                        </p:tgtEl>
                                      </p:cBhvr>
                                    </p:animEffect>
                                  </p:childTnLst>
                                </p:cTn>
                              </p:par>
                              <p:par>
                                <p:cTn id="46" presetID="10" presetClass="entr" presetSubtype="0" fill="hold" nodeType="withEffect">
                                  <p:stCondLst>
                                    <p:cond delay="0"/>
                                  </p:stCondLst>
                                  <p:childTnLst>
                                    <p:set>
                                      <p:cBhvr>
                                        <p:cTn id="47" dur="1" fill="hold">
                                          <p:stCondLst>
                                            <p:cond delay="0"/>
                                          </p:stCondLst>
                                        </p:cTn>
                                        <p:tgtEl>
                                          <p:spTgt spid="12"/>
                                        </p:tgtEl>
                                        <p:attrNameLst>
                                          <p:attrName>style.visibility</p:attrName>
                                        </p:attrNameLst>
                                      </p:cBhvr>
                                      <p:to>
                                        <p:strVal val="visible"/>
                                      </p:to>
                                    </p:set>
                                    <p:animEffect transition="in" filter="fade">
                                      <p:cBhvr>
                                        <p:cTn id="48" dur="500"/>
                                        <p:tgtEl>
                                          <p:spTgt spid="12"/>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30"/>
                                        </p:tgtEl>
                                        <p:attrNameLst>
                                          <p:attrName>style.visibility</p:attrName>
                                        </p:attrNameLst>
                                      </p:cBhvr>
                                      <p:to>
                                        <p:strVal val="visible"/>
                                      </p:to>
                                    </p:set>
                                    <p:animEffect transition="in" filter="fade">
                                      <p:cBhvr>
                                        <p:cTn id="51" dur="500"/>
                                        <p:tgtEl>
                                          <p:spTgt spid="30"/>
                                        </p:tgtEl>
                                      </p:cBhvr>
                                    </p:animEffect>
                                  </p:childTnLst>
                                </p:cTn>
                              </p:par>
                              <p:par>
                                <p:cTn id="52" presetID="10" presetClass="entr" presetSubtype="0" fill="hold" nodeType="withEffect">
                                  <p:stCondLst>
                                    <p:cond delay="0"/>
                                  </p:stCondLst>
                                  <p:childTnLst>
                                    <p:set>
                                      <p:cBhvr>
                                        <p:cTn id="53" dur="1" fill="hold">
                                          <p:stCondLst>
                                            <p:cond delay="0"/>
                                          </p:stCondLst>
                                        </p:cTn>
                                        <p:tgtEl>
                                          <p:spTgt spid="10"/>
                                        </p:tgtEl>
                                        <p:attrNameLst>
                                          <p:attrName>style.visibility</p:attrName>
                                        </p:attrNameLst>
                                      </p:cBhvr>
                                      <p:to>
                                        <p:strVal val="visible"/>
                                      </p:to>
                                    </p:set>
                                    <p:animEffect transition="in" filter="fade">
                                      <p:cBhvr>
                                        <p:cTn id="54" dur="500"/>
                                        <p:tgtEl>
                                          <p:spTgt spid="10"/>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71"/>
                                        </p:tgtEl>
                                        <p:attrNameLst>
                                          <p:attrName>style.visibility</p:attrName>
                                        </p:attrNameLst>
                                      </p:cBhvr>
                                      <p:to>
                                        <p:strVal val="visible"/>
                                      </p:to>
                                    </p:set>
                                    <p:animEffect transition="in" filter="fade">
                                      <p:cBhvr>
                                        <p:cTn id="57" dur="500"/>
                                        <p:tgtEl>
                                          <p:spTgt spid="71"/>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34"/>
                                        </p:tgtEl>
                                        <p:attrNameLst>
                                          <p:attrName>style.visibility</p:attrName>
                                        </p:attrNameLst>
                                      </p:cBhvr>
                                      <p:to>
                                        <p:strVal val="visible"/>
                                      </p:to>
                                    </p:set>
                                    <p:animEffect transition="in" filter="fade">
                                      <p:cBhvr>
                                        <p:cTn id="60" dur="500"/>
                                        <p:tgtEl>
                                          <p:spTgt spid="34"/>
                                        </p:tgtEl>
                                      </p:cBhvr>
                                    </p:animEffect>
                                  </p:childTnLst>
                                </p:cTn>
                              </p:par>
                            </p:childTnLst>
                          </p:cTn>
                        </p:par>
                        <p:par>
                          <p:cTn id="61" fill="hold">
                            <p:stCondLst>
                              <p:cond delay="1500"/>
                            </p:stCondLst>
                            <p:childTnLst>
                              <p:par>
                                <p:cTn id="62" presetID="22" presetClass="entr" presetSubtype="8" fill="hold" nodeType="afterEffect">
                                  <p:stCondLst>
                                    <p:cond delay="0"/>
                                  </p:stCondLst>
                                  <p:childTnLst>
                                    <p:set>
                                      <p:cBhvr>
                                        <p:cTn id="63" dur="1" fill="hold">
                                          <p:stCondLst>
                                            <p:cond delay="0"/>
                                          </p:stCondLst>
                                        </p:cTn>
                                        <p:tgtEl>
                                          <p:spTgt spid="36"/>
                                        </p:tgtEl>
                                        <p:attrNameLst>
                                          <p:attrName>style.visibility</p:attrName>
                                        </p:attrNameLst>
                                      </p:cBhvr>
                                      <p:to>
                                        <p:strVal val="visible"/>
                                      </p:to>
                                    </p:set>
                                    <p:animEffect transition="in" filter="wipe(left)">
                                      <p:cBhvr>
                                        <p:cTn id="64" dur="500"/>
                                        <p:tgtEl>
                                          <p:spTgt spid="36"/>
                                        </p:tgtEl>
                                      </p:cBhvr>
                                    </p:animEffect>
                                  </p:childTnLst>
                                </p:cTn>
                              </p:par>
                            </p:childTnLst>
                          </p:cTn>
                        </p:par>
                        <p:par>
                          <p:cTn id="65" fill="hold">
                            <p:stCondLst>
                              <p:cond delay="2000"/>
                            </p:stCondLst>
                            <p:childTnLst>
                              <p:par>
                                <p:cTn id="66" presetID="10" presetClass="entr" presetSubtype="0" fill="hold" nodeType="afterEffect">
                                  <p:stCondLst>
                                    <p:cond delay="0"/>
                                  </p:stCondLst>
                                  <p:childTnLst>
                                    <p:set>
                                      <p:cBhvr>
                                        <p:cTn id="67" dur="1" fill="hold">
                                          <p:stCondLst>
                                            <p:cond delay="0"/>
                                          </p:stCondLst>
                                        </p:cTn>
                                        <p:tgtEl>
                                          <p:spTgt spid="11"/>
                                        </p:tgtEl>
                                        <p:attrNameLst>
                                          <p:attrName>style.visibility</p:attrName>
                                        </p:attrNameLst>
                                      </p:cBhvr>
                                      <p:to>
                                        <p:strVal val="visible"/>
                                      </p:to>
                                    </p:set>
                                    <p:animEffect transition="in" filter="fade">
                                      <p:cBhvr>
                                        <p:cTn id="68" dur="500"/>
                                        <p:tgtEl>
                                          <p:spTgt spid="11"/>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72"/>
                                        </p:tgtEl>
                                        <p:attrNameLst>
                                          <p:attrName>style.visibility</p:attrName>
                                        </p:attrNameLst>
                                      </p:cBhvr>
                                      <p:to>
                                        <p:strVal val="visible"/>
                                      </p:to>
                                    </p:set>
                                    <p:animEffect transition="in" filter="fade">
                                      <p:cBhvr>
                                        <p:cTn id="71" dur="500"/>
                                        <p:tgtEl>
                                          <p:spTgt spid="72"/>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35"/>
                                        </p:tgtEl>
                                        <p:attrNameLst>
                                          <p:attrName>style.visibility</p:attrName>
                                        </p:attrNameLst>
                                      </p:cBhvr>
                                      <p:to>
                                        <p:strVal val="visible"/>
                                      </p:to>
                                    </p:set>
                                    <p:animEffect transition="in" filter="fade">
                                      <p:cBhvr>
                                        <p:cTn id="74"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animBg="1"/>
      <p:bldP spid="29" grpId="0"/>
      <p:bldP spid="30" grpId="0"/>
      <p:bldP spid="31" grpId="0"/>
      <p:bldP spid="32" grpId="0"/>
      <p:bldP spid="34" grpId="0"/>
      <p:bldP spid="35" grpId="0"/>
      <p:bldP spid="42" grpId="0" animBg="1"/>
      <p:bldP spid="48" grpId="0"/>
      <p:bldP spid="68" grpId="0" animBg="1"/>
      <p:bldP spid="69" grpId="0" animBg="1"/>
      <p:bldP spid="70" grpId="0" animBg="1"/>
      <p:bldP spid="71" grpId="0" animBg="1"/>
      <p:bldP spid="72"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 name="Rectangle 171"/>
          <p:cNvSpPr/>
          <p:nvPr/>
        </p:nvSpPr>
        <p:spPr bwMode="auto">
          <a:xfrm>
            <a:off x="346854" y="1813031"/>
            <a:ext cx="4240069" cy="1519517"/>
          </a:xfrm>
          <a:prstGeom prst="rect">
            <a:avLst/>
          </a:prstGeom>
          <a:solidFill>
            <a:srgbClr val="F2C81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
        <p:nvSpPr>
          <p:cNvPr id="171" name="Rectangle 170"/>
          <p:cNvSpPr/>
          <p:nvPr/>
        </p:nvSpPr>
        <p:spPr bwMode="auto">
          <a:xfrm>
            <a:off x="338767" y="5062287"/>
            <a:ext cx="4240069" cy="1519517"/>
          </a:xfrm>
          <a:prstGeom prst="rect">
            <a:avLst/>
          </a:prstGeom>
          <a:solidFill>
            <a:srgbClr val="F2C81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
        <p:nvSpPr>
          <p:cNvPr id="170" name="Rectangle 169"/>
          <p:cNvSpPr/>
          <p:nvPr/>
        </p:nvSpPr>
        <p:spPr bwMode="auto">
          <a:xfrm>
            <a:off x="338662" y="3441370"/>
            <a:ext cx="4240069" cy="1519517"/>
          </a:xfrm>
          <a:prstGeom prst="rect">
            <a:avLst/>
          </a:prstGeom>
          <a:solidFill>
            <a:srgbClr val="F2C81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19" name="Group 18" hidden="1"/>
          <p:cNvGrpSpPr/>
          <p:nvPr/>
        </p:nvGrpSpPr>
        <p:grpSpPr>
          <a:xfrm>
            <a:off x="881" y="1932881"/>
            <a:ext cx="4638017" cy="4764329"/>
            <a:chOff x="152400" y="2085058"/>
            <a:chExt cx="4638675" cy="4765005"/>
          </a:xfrm>
        </p:grpSpPr>
        <p:sp>
          <p:nvSpPr>
            <p:cNvPr id="71" name="Rectangle 70"/>
            <p:cNvSpPr/>
            <p:nvPr/>
          </p:nvSpPr>
          <p:spPr bwMode="auto">
            <a:xfrm>
              <a:off x="152400" y="3707696"/>
              <a:ext cx="4638675" cy="1519729"/>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17">
                      <a:srgbClr val="000000"/>
                    </a:gs>
                    <a:gs pos="100000">
                      <a:srgbClr val="000000"/>
                    </a:gs>
                  </a:gsLst>
                  <a:lin ang="5400000" scaled="0"/>
                </a:gradFill>
              </a:endParaRPr>
            </a:p>
          </p:txBody>
        </p:sp>
        <p:grpSp>
          <p:nvGrpSpPr>
            <p:cNvPr id="77" name="Group 76"/>
            <p:cNvGrpSpPr/>
            <p:nvPr/>
          </p:nvGrpSpPr>
          <p:grpSpPr>
            <a:xfrm>
              <a:off x="152400" y="2085058"/>
              <a:ext cx="4638675" cy="1519729"/>
              <a:chOff x="0" y="1932658"/>
              <a:chExt cx="4638675" cy="1519729"/>
            </a:xfrm>
          </p:grpSpPr>
          <p:sp>
            <p:nvSpPr>
              <p:cNvPr id="97" name="Rectangle 96"/>
              <p:cNvSpPr/>
              <p:nvPr/>
            </p:nvSpPr>
            <p:spPr bwMode="auto">
              <a:xfrm>
                <a:off x="0" y="1932658"/>
                <a:ext cx="3912624" cy="1519729"/>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17">
                        <a:srgbClr val="000000"/>
                      </a:gs>
                      <a:gs pos="100000">
                        <a:srgbClr val="000000"/>
                      </a:gs>
                    </a:gsLst>
                    <a:lin ang="5400000" scaled="0"/>
                  </a:gradFill>
                </a:endParaRPr>
              </a:p>
            </p:txBody>
          </p:sp>
          <p:sp>
            <p:nvSpPr>
              <p:cNvPr id="98" name="Rectangle 9"/>
              <p:cNvSpPr/>
              <p:nvPr/>
            </p:nvSpPr>
            <p:spPr bwMode="auto">
              <a:xfrm>
                <a:off x="3912624" y="1932658"/>
                <a:ext cx="726051" cy="1519729"/>
              </a:xfrm>
              <a:custGeom>
                <a:avLst/>
                <a:gdLst>
                  <a:gd name="connsiteX0" fmla="*/ 0 w 726051"/>
                  <a:gd name="connsiteY0" fmla="*/ 0 h 1519729"/>
                  <a:gd name="connsiteX1" fmla="*/ 726051 w 726051"/>
                  <a:gd name="connsiteY1" fmla="*/ 0 h 1519729"/>
                  <a:gd name="connsiteX2" fmla="*/ 726051 w 726051"/>
                  <a:gd name="connsiteY2" fmla="*/ 1519729 h 1519729"/>
                  <a:gd name="connsiteX3" fmla="*/ 0 w 726051"/>
                  <a:gd name="connsiteY3" fmla="*/ 1519729 h 1519729"/>
                  <a:gd name="connsiteX4" fmla="*/ 0 w 726051"/>
                  <a:gd name="connsiteY4" fmla="*/ 0 h 1519729"/>
                  <a:gd name="connsiteX0" fmla="*/ 0 w 726051"/>
                  <a:gd name="connsiteY0" fmla="*/ 0 h 1519729"/>
                  <a:gd name="connsiteX1" fmla="*/ 726051 w 726051"/>
                  <a:gd name="connsiteY1" fmla="*/ 1519729 h 1519729"/>
                  <a:gd name="connsiteX2" fmla="*/ 0 w 726051"/>
                  <a:gd name="connsiteY2" fmla="*/ 1519729 h 1519729"/>
                  <a:gd name="connsiteX3" fmla="*/ 0 w 726051"/>
                  <a:gd name="connsiteY3" fmla="*/ 0 h 1519729"/>
                </a:gdLst>
                <a:ahLst/>
                <a:cxnLst>
                  <a:cxn ang="0">
                    <a:pos x="connsiteX0" y="connsiteY0"/>
                  </a:cxn>
                  <a:cxn ang="0">
                    <a:pos x="connsiteX1" y="connsiteY1"/>
                  </a:cxn>
                  <a:cxn ang="0">
                    <a:pos x="connsiteX2" y="connsiteY2"/>
                  </a:cxn>
                  <a:cxn ang="0">
                    <a:pos x="connsiteX3" y="connsiteY3"/>
                  </a:cxn>
                </a:cxnLst>
                <a:rect l="l" t="t" r="r" b="b"/>
                <a:pathLst>
                  <a:path w="726051" h="1519729">
                    <a:moveTo>
                      <a:pt x="0" y="0"/>
                    </a:moveTo>
                    <a:lnTo>
                      <a:pt x="726051" y="1519729"/>
                    </a:lnTo>
                    <a:lnTo>
                      <a:pt x="0" y="1519729"/>
                    </a:lnTo>
                    <a:lnTo>
                      <a:pt x="0" y="0"/>
                    </a:lnTo>
                    <a:close/>
                  </a:path>
                </a:pathLst>
              </a:cu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17">
                        <a:srgbClr val="000000"/>
                      </a:gs>
                      <a:gs pos="100000">
                        <a:srgbClr val="000000"/>
                      </a:gs>
                    </a:gsLst>
                    <a:lin ang="5400000" scaled="0"/>
                  </a:gradFill>
                </a:endParaRPr>
              </a:p>
            </p:txBody>
          </p:sp>
        </p:grpSp>
        <p:grpSp>
          <p:nvGrpSpPr>
            <p:cNvPr id="101" name="Group 100"/>
            <p:cNvGrpSpPr/>
            <p:nvPr/>
          </p:nvGrpSpPr>
          <p:grpSpPr>
            <a:xfrm>
              <a:off x="152400" y="5330334"/>
              <a:ext cx="4638675" cy="1519729"/>
              <a:chOff x="0" y="5177934"/>
              <a:chExt cx="4638675" cy="1519729"/>
            </a:xfrm>
          </p:grpSpPr>
          <p:sp>
            <p:nvSpPr>
              <p:cNvPr id="104" name="Rectangle 103"/>
              <p:cNvSpPr/>
              <p:nvPr/>
            </p:nvSpPr>
            <p:spPr bwMode="auto">
              <a:xfrm>
                <a:off x="0" y="5177934"/>
                <a:ext cx="3912624" cy="1519729"/>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17">
                        <a:srgbClr val="000000"/>
                      </a:gs>
                      <a:gs pos="100000">
                        <a:srgbClr val="000000"/>
                      </a:gs>
                    </a:gsLst>
                    <a:lin ang="5400000" scaled="0"/>
                  </a:gradFill>
                </a:endParaRPr>
              </a:p>
            </p:txBody>
          </p:sp>
          <p:sp>
            <p:nvSpPr>
              <p:cNvPr id="105" name="Rectangle 9"/>
              <p:cNvSpPr/>
              <p:nvPr/>
            </p:nvSpPr>
            <p:spPr bwMode="auto">
              <a:xfrm flipV="1">
                <a:off x="3912624" y="5177934"/>
                <a:ext cx="726051" cy="1519729"/>
              </a:xfrm>
              <a:custGeom>
                <a:avLst/>
                <a:gdLst>
                  <a:gd name="connsiteX0" fmla="*/ 0 w 726051"/>
                  <a:gd name="connsiteY0" fmla="*/ 0 h 1519729"/>
                  <a:gd name="connsiteX1" fmla="*/ 726051 w 726051"/>
                  <a:gd name="connsiteY1" fmla="*/ 0 h 1519729"/>
                  <a:gd name="connsiteX2" fmla="*/ 726051 w 726051"/>
                  <a:gd name="connsiteY2" fmla="*/ 1519729 h 1519729"/>
                  <a:gd name="connsiteX3" fmla="*/ 0 w 726051"/>
                  <a:gd name="connsiteY3" fmla="*/ 1519729 h 1519729"/>
                  <a:gd name="connsiteX4" fmla="*/ 0 w 726051"/>
                  <a:gd name="connsiteY4" fmla="*/ 0 h 1519729"/>
                  <a:gd name="connsiteX0" fmla="*/ 0 w 726051"/>
                  <a:gd name="connsiteY0" fmla="*/ 0 h 1519729"/>
                  <a:gd name="connsiteX1" fmla="*/ 726051 w 726051"/>
                  <a:gd name="connsiteY1" fmla="*/ 1519729 h 1519729"/>
                  <a:gd name="connsiteX2" fmla="*/ 0 w 726051"/>
                  <a:gd name="connsiteY2" fmla="*/ 1519729 h 1519729"/>
                  <a:gd name="connsiteX3" fmla="*/ 0 w 726051"/>
                  <a:gd name="connsiteY3" fmla="*/ 0 h 1519729"/>
                </a:gdLst>
                <a:ahLst/>
                <a:cxnLst>
                  <a:cxn ang="0">
                    <a:pos x="connsiteX0" y="connsiteY0"/>
                  </a:cxn>
                  <a:cxn ang="0">
                    <a:pos x="connsiteX1" y="connsiteY1"/>
                  </a:cxn>
                  <a:cxn ang="0">
                    <a:pos x="connsiteX2" y="connsiteY2"/>
                  </a:cxn>
                  <a:cxn ang="0">
                    <a:pos x="connsiteX3" y="connsiteY3"/>
                  </a:cxn>
                </a:cxnLst>
                <a:rect l="l" t="t" r="r" b="b"/>
                <a:pathLst>
                  <a:path w="726051" h="1519729">
                    <a:moveTo>
                      <a:pt x="0" y="0"/>
                    </a:moveTo>
                    <a:lnTo>
                      <a:pt x="726051" y="1519729"/>
                    </a:lnTo>
                    <a:lnTo>
                      <a:pt x="0" y="1519729"/>
                    </a:lnTo>
                    <a:lnTo>
                      <a:pt x="0" y="0"/>
                    </a:lnTo>
                    <a:close/>
                  </a:path>
                </a:pathLst>
              </a:cu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17">
                        <a:srgbClr val="000000"/>
                      </a:gs>
                      <a:gs pos="100000">
                        <a:srgbClr val="000000"/>
                      </a:gs>
                    </a:gsLst>
                    <a:lin ang="5400000" scaled="0"/>
                  </a:gradFill>
                </a:endParaRPr>
              </a:p>
            </p:txBody>
          </p:sp>
        </p:grpSp>
        <p:grpSp>
          <p:nvGrpSpPr>
            <p:cNvPr id="106" name="Group 105"/>
            <p:cNvGrpSpPr/>
            <p:nvPr/>
          </p:nvGrpSpPr>
          <p:grpSpPr>
            <a:xfrm>
              <a:off x="427037" y="2085058"/>
              <a:ext cx="2721870" cy="1257141"/>
              <a:chOff x="274637" y="1932658"/>
              <a:chExt cx="2721870" cy="1257141"/>
            </a:xfrm>
          </p:grpSpPr>
          <p:sp>
            <p:nvSpPr>
              <p:cNvPr id="107" name="Rectangle 106"/>
              <p:cNvSpPr/>
              <p:nvPr/>
            </p:nvSpPr>
            <p:spPr bwMode="auto">
              <a:xfrm>
                <a:off x="274637" y="1932658"/>
                <a:ext cx="2721870" cy="57246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defRPr/>
                </a:pPr>
                <a:r>
                  <a:rPr lang="en-US" sz="1800" b="1" kern="0" spc="50" dirty="0">
                    <a:gradFill>
                      <a:gsLst>
                        <a:gs pos="0">
                          <a:srgbClr val="FFFFFF"/>
                        </a:gs>
                        <a:gs pos="83000">
                          <a:srgbClr val="FFFFFF"/>
                        </a:gs>
                      </a:gsLst>
                      <a:lin ang="5400000" scaled="1"/>
                    </a:gradFill>
                  </a:rPr>
                  <a:t>MICROSOFT CLOUD</a:t>
                </a:r>
              </a:p>
            </p:txBody>
          </p:sp>
          <p:sp>
            <p:nvSpPr>
              <p:cNvPr id="108" name="Freeform 107"/>
              <p:cNvSpPr>
                <a:spLocks noChangeAspect="1" noEditPoints="1"/>
              </p:cNvSpPr>
              <p:nvPr/>
            </p:nvSpPr>
            <p:spPr bwMode="auto">
              <a:xfrm>
                <a:off x="443851" y="2945052"/>
                <a:ext cx="1729192" cy="244747"/>
              </a:xfrm>
              <a:custGeom>
                <a:avLst/>
                <a:gdLst>
                  <a:gd name="T0" fmla="*/ 261 w 2216"/>
                  <a:gd name="T1" fmla="*/ 97 h 311"/>
                  <a:gd name="T2" fmla="*/ 3 w 2216"/>
                  <a:gd name="T3" fmla="*/ 256 h 311"/>
                  <a:gd name="T4" fmla="*/ 124 w 2216"/>
                  <a:gd name="T5" fmla="*/ 205 h 311"/>
                  <a:gd name="T6" fmla="*/ 8 w 2216"/>
                  <a:gd name="T7" fmla="*/ 250 h 311"/>
                  <a:gd name="T8" fmla="*/ 9 w 2216"/>
                  <a:gd name="T9" fmla="*/ 252 h 311"/>
                  <a:gd name="T10" fmla="*/ 504 w 2216"/>
                  <a:gd name="T11" fmla="*/ 123 h 311"/>
                  <a:gd name="T12" fmla="*/ 502 w 2216"/>
                  <a:gd name="T13" fmla="*/ 91 h 311"/>
                  <a:gd name="T14" fmla="*/ 356 w 2216"/>
                  <a:gd name="T15" fmla="*/ 252 h 311"/>
                  <a:gd name="T16" fmla="*/ 20 w 2216"/>
                  <a:gd name="T17" fmla="*/ 242 h 311"/>
                  <a:gd name="T18" fmla="*/ 7 w 2216"/>
                  <a:gd name="T19" fmla="*/ 252 h 311"/>
                  <a:gd name="T20" fmla="*/ 208 w 2216"/>
                  <a:gd name="T21" fmla="*/ 224 h 311"/>
                  <a:gd name="T22" fmla="*/ 137 w 2216"/>
                  <a:gd name="T23" fmla="*/ 208 h 311"/>
                  <a:gd name="T24" fmla="*/ 1209 w 2216"/>
                  <a:gd name="T25" fmla="*/ 154 h 311"/>
                  <a:gd name="T26" fmla="*/ 1187 w 2216"/>
                  <a:gd name="T27" fmla="*/ 112 h 311"/>
                  <a:gd name="T28" fmla="*/ 1175 w 2216"/>
                  <a:gd name="T29" fmla="*/ 84 h 311"/>
                  <a:gd name="T30" fmla="*/ 1124 w 2216"/>
                  <a:gd name="T31" fmla="*/ 157 h 311"/>
                  <a:gd name="T32" fmla="*/ 1146 w 2216"/>
                  <a:gd name="T33" fmla="*/ 154 h 311"/>
                  <a:gd name="T34" fmla="*/ 1822 w 2216"/>
                  <a:gd name="T35" fmla="*/ 156 h 311"/>
                  <a:gd name="T36" fmla="*/ 1822 w 2216"/>
                  <a:gd name="T37" fmla="*/ 191 h 311"/>
                  <a:gd name="T38" fmla="*/ 1896 w 2216"/>
                  <a:gd name="T39" fmla="*/ 254 h 311"/>
                  <a:gd name="T40" fmla="*/ 1969 w 2216"/>
                  <a:gd name="T41" fmla="*/ 253 h 311"/>
                  <a:gd name="T42" fmla="*/ 1822 w 2216"/>
                  <a:gd name="T43" fmla="*/ 156 h 311"/>
                  <a:gd name="T44" fmla="*/ 1532 w 2216"/>
                  <a:gd name="T45" fmla="*/ 142 h 311"/>
                  <a:gd name="T46" fmla="*/ 1486 w 2216"/>
                  <a:gd name="T47" fmla="*/ 258 h 311"/>
                  <a:gd name="T48" fmla="*/ 1565 w 2216"/>
                  <a:gd name="T49" fmla="*/ 252 h 311"/>
                  <a:gd name="T50" fmla="*/ 1644 w 2216"/>
                  <a:gd name="T51" fmla="*/ 252 h 311"/>
                  <a:gd name="T52" fmla="*/ 1587 w 2216"/>
                  <a:gd name="T53" fmla="*/ 154 h 311"/>
                  <a:gd name="T54" fmla="*/ 2181 w 2216"/>
                  <a:gd name="T55" fmla="*/ 189 h 311"/>
                  <a:gd name="T56" fmla="*/ 2151 w 2216"/>
                  <a:gd name="T57" fmla="*/ 146 h 311"/>
                  <a:gd name="T58" fmla="*/ 901 w 2216"/>
                  <a:gd name="T59" fmla="*/ 252 h 311"/>
                  <a:gd name="T60" fmla="*/ 964 w 2216"/>
                  <a:gd name="T61" fmla="*/ 158 h 311"/>
                  <a:gd name="T62" fmla="*/ 939 w 2216"/>
                  <a:gd name="T63" fmla="*/ 242 h 311"/>
                  <a:gd name="T64" fmla="*/ 2106 w 2216"/>
                  <a:gd name="T65" fmla="*/ 258 h 311"/>
                  <a:gd name="T66" fmla="*/ 2127 w 2216"/>
                  <a:gd name="T67" fmla="*/ 160 h 311"/>
                  <a:gd name="T68" fmla="*/ 649 w 2216"/>
                  <a:gd name="T69" fmla="*/ 136 h 311"/>
                  <a:gd name="T70" fmla="*/ 738 w 2216"/>
                  <a:gd name="T71" fmla="*/ 144 h 311"/>
                  <a:gd name="T72" fmla="*/ 725 w 2216"/>
                  <a:gd name="T73" fmla="*/ 256 h 311"/>
                  <a:gd name="T74" fmla="*/ 573 w 2216"/>
                  <a:gd name="T75" fmla="*/ 138 h 311"/>
                  <a:gd name="T76" fmla="*/ 576 w 2216"/>
                  <a:gd name="T77" fmla="*/ 158 h 311"/>
                  <a:gd name="T78" fmla="*/ 1995 w 2216"/>
                  <a:gd name="T79" fmla="*/ 100 h 311"/>
                  <a:gd name="T80" fmla="*/ 12 w 2216"/>
                  <a:gd name="T81" fmla="*/ 250 h 311"/>
                  <a:gd name="T82" fmla="*/ 6 w 2216"/>
                  <a:gd name="T83" fmla="*/ 253 h 311"/>
                  <a:gd name="T84" fmla="*/ 18 w 2216"/>
                  <a:gd name="T85" fmla="*/ 244 h 311"/>
                  <a:gd name="T86" fmla="*/ 8 w 2216"/>
                  <a:gd name="T87" fmla="*/ 250 h 311"/>
                  <a:gd name="T88" fmla="*/ 13 w 2216"/>
                  <a:gd name="T89" fmla="*/ 246 h 311"/>
                  <a:gd name="T90" fmla="*/ 12 w 2216"/>
                  <a:gd name="T91" fmla="*/ 247 h 311"/>
                  <a:gd name="T92" fmla="*/ 9 w 2216"/>
                  <a:gd name="T93" fmla="*/ 251 h 311"/>
                  <a:gd name="T94" fmla="*/ 6 w 2216"/>
                  <a:gd name="T95" fmla="*/ 253 h 311"/>
                  <a:gd name="T96" fmla="*/ 14 w 2216"/>
                  <a:gd name="T97" fmla="*/ 246 h 311"/>
                  <a:gd name="T98" fmla="*/ 8 w 2216"/>
                  <a:gd name="T99" fmla="*/ 250 h 311"/>
                  <a:gd name="T100" fmla="*/ 6 w 2216"/>
                  <a:gd name="T101" fmla="*/ 252 h 311"/>
                  <a:gd name="T102" fmla="*/ 6 w 2216"/>
                  <a:gd name="T103" fmla="*/ 253 h 311"/>
                  <a:gd name="T104" fmla="*/ 1307 w 2216"/>
                  <a:gd name="T105" fmla="*/ 91 h 311"/>
                  <a:gd name="T106" fmla="*/ 1323 w 2216"/>
                  <a:gd name="T107" fmla="*/ 112 h 311"/>
                  <a:gd name="T108" fmla="*/ 1756 w 2216"/>
                  <a:gd name="T109" fmla="*/ 249 h 311"/>
                  <a:gd name="T110" fmla="*/ 1754 w 2216"/>
                  <a:gd name="T111" fmla="*/ 168 h 311"/>
                  <a:gd name="T112" fmla="*/ 1775 w 2216"/>
                  <a:gd name="T113" fmla="*/ 253 h 311"/>
                  <a:gd name="T114" fmla="*/ 1756 w 2216"/>
                  <a:gd name="T115" fmla="*/ 204 h 311"/>
                  <a:gd name="T116" fmla="*/ 1099 w 2216"/>
                  <a:gd name="T117" fmla="*/ 203 h 311"/>
                  <a:gd name="T118" fmla="*/ 1075 w 2216"/>
                  <a:gd name="T119" fmla="*/ 223 h 311"/>
                  <a:gd name="T120" fmla="*/ 882 w 2216"/>
                  <a:gd name="T121" fmla="*/ 172 h 311"/>
                  <a:gd name="T122" fmla="*/ 867 w 2216"/>
                  <a:gd name="T123" fmla="*/ 198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6" h="311">
                    <a:moveTo>
                      <a:pt x="22" y="246"/>
                    </a:moveTo>
                    <a:cubicBezTo>
                      <a:pt x="30" y="243"/>
                      <a:pt x="38" y="240"/>
                      <a:pt x="47" y="237"/>
                    </a:cubicBezTo>
                    <a:cubicBezTo>
                      <a:pt x="67" y="231"/>
                      <a:pt x="88" y="226"/>
                      <a:pt x="110" y="224"/>
                    </a:cubicBezTo>
                    <a:cubicBezTo>
                      <a:pt x="128" y="222"/>
                      <a:pt x="147" y="222"/>
                      <a:pt x="165" y="223"/>
                    </a:cubicBezTo>
                    <a:cubicBezTo>
                      <a:pt x="180" y="225"/>
                      <a:pt x="195" y="227"/>
                      <a:pt x="209" y="230"/>
                    </a:cubicBezTo>
                    <a:cubicBezTo>
                      <a:pt x="212" y="231"/>
                      <a:pt x="214" y="230"/>
                      <a:pt x="216" y="230"/>
                    </a:cubicBezTo>
                    <a:cubicBezTo>
                      <a:pt x="216" y="230"/>
                      <a:pt x="216" y="229"/>
                      <a:pt x="216" y="228"/>
                    </a:cubicBezTo>
                    <a:cubicBezTo>
                      <a:pt x="216" y="228"/>
                      <a:pt x="216" y="227"/>
                      <a:pt x="216" y="226"/>
                    </a:cubicBezTo>
                    <a:cubicBezTo>
                      <a:pt x="216" y="198"/>
                      <a:pt x="216" y="170"/>
                      <a:pt x="216" y="142"/>
                    </a:cubicBezTo>
                    <a:cubicBezTo>
                      <a:pt x="216" y="139"/>
                      <a:pt x="217" y="138"/>
                      <a:pt x="219" y="137"/>
                    </a:cubicBezTo>
                    <a:cubicBezTo>
                      <a:pt x="233" y="123"/>
                      <a:pt x="248" y="111"/>
                      <a:pt x="261" y="97"/>
                    </a:cubicBezTo>
                    <a:cubicBezTo>
                      <a:pt x="264" y="94"/>
                      <a:pt x="266" y="92"/>
                      <a:pt x="268" y="89"/>
                    </a:cubicBezTo>
                    <a:cubicBezTo>
                      <a:pt x="269" y="88"/>
                      <a:pt x="270" y="87"/>
                      <a:pt x="271" y="88"/>
                    </a:cubicBezTo>
                    <a:cubicBezTo>
                      <a:pt x="273" y="89"/>
                      <a:pt x="274" y="90"/>
                      <a:pt x="274" y="93"/>
                    </a:cubicBezTo>
                    <a:cubicBezTo>
                      <a:pt x="274" y="146"/>
                      <a:pt x="274" y="199"/>
                      <a:pt x="274" y="252"/>
                    </a:cubicBezTo>
                    <a:cubicBezTo>
                      <a:pt x="274" y="253"/>
                      <a:pt x="275" y="255"/>
                      <a:pt x="273" y="256"/>
                    </a:cubicBezTo>
                    <a:cubicBezTo>
                      <a:pt x="271" y="257"/>
                      <a:pt x="269" y="258"/>
                      <a:pt x="267" y="257"/>
                    </a:cubicBezTo>
                    <a:cubicBezTo>
                      <a:pt x="261" y="255"/>
                      <a:pt x="255" y="253"/>
                      <a:pt x="249" y="252"/>
                    </a:cubicBezTo>
                    <a:cubicBezTo>
                      <a:pt x="229" y="246"/>
                      <a:pt x="209" y="242"/>
                      <a:pt x="188" y="239"/>
                    </a:cubicBezTo>
                    <a:cubicBezTo>
                      <a:pt x="162" y="236"/>
                      <a:pt x="136" y="235"/>
                      <a:pt x="109" y="236"/>
                    </a:cubicBezTo>
                    <a:cubicBezTo>
                      <a:pt x="76" y="238"/>
                      <a:pt x="44" y="243"/>
                      <a:pt x="12" y="253"/>
                    </a:cubicBezTo>
                    <a:cubicBezTo>
                      <a:pt x="9" y="254"/>
                      <a:pt x="6" y="255"/>
                      <a:pt x="3" y="256"/>
                    </a:cubicBezTo>
                    <a:cubicBezTo>
                      <a:pt x="0" y="257"/>
                      <a:pt x="0" y="257"/>
                      <a:pt x="0" y="254"/>
                    </a:cubicBezTo>
                    <a:cubicBezTo>
                      <a:pt x="0" y="249"/>
                      <a:pt x="0" y="244"/>
                      <a:pt x="0" y="238"/>
                    </a:cubicBezTo>
                    <a:cubicBezTo>
                      <a:pt x="0" y="237"/>
                      <a:pt x="0" y="235"/>
                      <a:pt x="2" y="234"/>
                    </a:cubicBezTo>
                    <a:cubicBezTo>
                      <a:pt x="22" y="213"/>
                      <a:pt x="41" y="190"/>
                      <a:pt x="57" y="165"/>
                    </a:cubicBezTo>
                    <a:cubicBezTo>
                      <a:pt x="82" y="128"/>
                      <a:pt x="103" y="89"/>
                      <a:pt x="117" y="46"/>
                    </a:cubicBezTo>
                    <a:cubicBezTo>
                      <a:pt x="122" y="32"/>
                      <a:pt x="126" y="17"/>
                      <a:pt x="129" y="2"/>
                    </a:cubicBezTo>
                    <a:cubicBezTo>
                      <a:pt x="129" y="0"/>
                      <a:pt x="129" y="0"/>
                      <a:pt x="131" y="1"/>
                    </a:cubicBezTo>
                    <a:cubicBezTo>
                      <a:pt x="136" y="2"/>
                      <a:pt x="136" y="2"/>
                      <a:pt x="136" y="7"/>
                    </a:cubicBezTo>
                    <a:cubicBezTo>
                      <a:pt x="136" y="71"/>
                      <a:pt x="136" y="135"/>
                      <a:pt x="136" y="199"/>
                    </a:cubicBezTo>
                    <a:cubicBezTo>
                      <a:pt x="136" y="203"/>
                      <a:pt x="136" y="203"/>
                      <a:pt x="132" y="204"/>
                    </a:cubicBezTo>
                    <a:cubicBezTo>
                      <a:pt x="129" y="205"/>
                      <a:pt x="127" y="205"/>
                      <a:pt x="124" y="205"/>
                    </a:cubicBezTo>
                    <a:cubicBezTo>
                      <a:pt x="89" y="209"/>
                      <a:pt x="55" y="220"/>
                      <a:pt x="25" y="239"/>
                    </a:cubicBezTo>
                    <a:cubicBezTo>
                      <a:pt x="24" y="239"/>
                      <a:pt x="23" y="240"/>
                      <a:pt x="22" y="240"/>
                    </a:cubicBezTo>
                    <a:cubicBezTo>
                      <a:pt x="22" y="241"/>
                      <a:pt x="21" y="242"/>
                      <a:pt x="20" y="242"/>
                    </a:cubicBezTo>
                    <a:cubicBezTo>
                      <a:pt x="19" y="243"/>
                      <a:pt x="18" y="243"/>
                      <a:pt x="17" y="244"/>
                    </a:cubicBezTo>
                    <a:cubicBezTo>
                      <a:pt x="16" y="245"/>
                      <a:pt x="16" y="245"/>
                      <a:pt x="15" y="246"/>
                    </a:cubicBezTo>
                    <a:cubicBezTo>
                      <a:pt x="14" y="246"/>
                      <a:pt x="14" y="246"/>
                      <a:pt x="14" y="246"/>
                    </a:cubicBezTo>
                    <a:cubicBezTo>
                      <a:pt x="13" y="247"/>
                      <a:pt x="13" y="247"/>
                      <a:pt x="12" y="247"/>
                    </a:cubicBezTo>
                    <a:cubicBezTo>
                      <a:pt x="12" y="247"/>
                      <a:pt x="12" y="248"/>
                      <a:pt x="12" y="248"/>
                    </a:cubicBezTo>
                    <a:cubicBezTo>
                      <a:pt x="11" y="248"/>
                      <a:pt x="11" y="248"/>
                      <a:pt x="11" y="249"/>
                    </a:cubicBezTo>
                    <a:cubicBezTo>
                      <a:pt x="10" y="249"/>
                      <a:pt x="10" y="249"/>
                      <a:pt x="10" y="249"/>
                    </a:cubicBezTo>
                    <a:cubicBezTo>
                      <a:pt x="9" y="249"/>
                      <a:pt x="9" y="250"/>
                      <a:pt x="8" y="250"/>
                    </a:cubicBezTo>
                    <a:cubicBezTo>
                      <a:pt x="8" y="250"/>
                      <a:pt x="8" y="250"/>
                      <a:pt x="8" y="250"/>
                    </a:cubicBezTo>
                    <a:cubicBezTo>
                      <a:pt x="8" y="251"/>
                      <a:pt x="8" y="251"/>
                      <a:pt x="8" y="251"/>
                    </a:cubicBezTo>
                    <a:cubicBezTo>
                      <a:pt x="7" y="251"/>
                      <a:pt x="6" y="252"/>
                      <a:pt x="6" y="252"/>
                    </a:cubicBezTo>
                    <a:cubicBezTo>
                      <a:pt x="5" y="252"/>
                      <a:pt x="5" y="253"/>
                      <a:pt x="5" y="253"/>
                    </a:cubicBezTo>
                    <a:cubicBezTo>
                      <a:pt x="5" y="253"/>
                      <a:pt x="4" y="253"/>
                      <a:pt x="4" y="254"/>
                    </a:cubicBezTo>
                    <a:cubicBezTo>
                      <a:pt x="4" y="254"/>
                      <a:pt x="3" y="254"/>
                      <a:pt x="4" y="254"/>
                    </a:cubicBezTo>
                    <a:cubicBezTo>
                      <a:pt x="4" y="254"/>
                      <a:pt x="4" y="254"/>
                      <a:pt x="4" y="254"/>
                    </a:cubicBezTo>
                    <a:cubicBezTo>
                      <a:pt x="5" y="253"/>
                      <a:pt x="5" y="253"/>
                      <a:pt x="6" y="253"/>
                    </a:cubicBezTo>
                    <a:cubicBezTo>
                      <a:pt x="6" y="253"/>
                      <a:pt x="6" y="253"/>
                      <a:pt x="6" y="253"/>
                    </a:cubicBezTo>
                    <a:cubicBezTo>
                      <a:pt x="7" y="253"/>
                      <a:pt x="7" y="252"/>
                      <a:pt x="7" y="252"/>
                    </a:cubicBezTo>
                    <a:cubicBezTo>
                      <a:pt x="8" y="252"/>
                      <a:pt x="8" y="252"/>
                      <a:pt x="9" y="252"/>
                    </a:cubicBezTo>
                    <a:cubicBezTo>
                      <a:pt x="9" y="251"/>
                      <a:pt x="9" y="251"/>
                      <a:pt x="9" y="251"/>
                    </a:cubicBezTo>
                    <a:cubicBezTo>
                      <a:pt x="10" y="251"/>
                      <a:pt x="10" y="251"/>
                      <a:pt x="11" y="250"/>
                    </a:cubicBezTo>
                    <a:cubicBezTo>
                      <a:pt x="12" y="250"/>
                      <a:pt x="12" y="250"/>
                      <a:pt x="12" y="249"/>
                    </a:cubicBezTo>
                    <a:cubicBezTo>
                      <a:pt x="16" y="248"/>
                      <a:pt x="19" y="246"/>
                      <a:pt x="22" y="246"/>
                    </a:cubicBezTo>
                    <a:close/>
                    <a:moveTo>
                      <a:pt x="377" y="125"/>
                    </a:moveTo>
                    <a:cubicBezTo>
                      <a:pt x="395" y="167"/>
                      <a:pt x="414" y="209"/>
                      <a:pt x="433" y="250"/>
                    </a:cubicBezTo>
                    <a:cubicBezTo>
                      <a:pt x="434" y="252"/>
                      <a:pt x="434" y="254"/>
                      <a:pt x="435" y="255"/>
                    </a:cubicBezTo>
                    <a:cubicBezTo>
                      <a:pt x="437" y="256"/>
                      <a:pt x="439" y="256"/>
                      <a:pt x="441" y="256"/>
                    </a:cubicBezTo>
                    <a:cubicBezTo>
                      <a:pt x="445" y="256"/>
                      <a:pt x="445" y="256"/>
                      <a:pt x="446" y="252"/>
                    </a:cubicBezTo>
                    <a:cubicBezTo>
                      <a:pt x="465" y="210"/>
                      <a:pt x="484" y="168"/>
                      <a:pt x="502" y="126"/>
                    </a:cubicBezTo>
                    <a:cubicBezTo>
                      <a:pt x="503" y="125"/>
                      <a:pt x="503" y="124"/>
                      <a:pt x="504" y="123"/>
                    </a:cubicBezTo>
                    <a:cubicBezTo>
                      <a:pt x="504" y="123"/>
                      <a:pt x="504" y="123"/>
                      <a:pt x="504" y="123"/>
                    </a:cubicBezTo>
                    <a:cubicBezTo>
                      <a:pt x="504" y="124"/>
                      <a:pt x="504" y="125"/>
                      <a:pt x="504" y="126"/>
                    </a:cubicBezTo>
                    <a:cubicBezTo>
                      <a:pt x="504" y="168"/>
                      <a:pt x="504" y="210"/>
                      <a:pt x="504" y="251"/>
                    </a:cubicBezTo>
                    <a:cubicBezTo>
                      <a:pt x="504" y="252"/>
                      <a:pt x="505" y="253"/>
                      <a:pt x="504" y="254"/>
                    </a:cubicBezTo>
                    <a:cubicBezTo>
                      <a:pt x="504" y="255"/>
                      <a:pt x="505" y="256"/>
                      <a:pt x="507" y="256"/>
                    </a:cubicBezTo>
                    <a:cubicBezTo>
                      <a:pt x="511" y="256"/>
                      <a:pt x="515" y="256"/>
                      <a:pt x="520" y="256"/>
                    </a:cubicBezTo>
                    <a:cubicBezTo>
                      <a:pt x="524" y="256"/>
                      <a:pt x="524" y="256"/>
                      <a:pt x="524" y="252"/>
                    </a:cubicBezTo>
                    <a:cubicBezTo>
                      <a:pt x="524" y="200"/>
                      <a:pt x="524" y="147"/>
                      <a:pt x="524" y="95"/>
                    </a:cubicBezTo>
                    <a:cubicBezTo>
                      <a:pt x="524" y="94"/>
                      <a:pt x="524" y="94"/>
                      <a:pt x="524" y="93"/>
                    </a:cubicBezTo>
                    <a:cubicBezTo>
                      <a:pt x="524" y="92"/>
                      <a:pt x="523" y="91"/>
                      <a:pt x="522" y="91"/>
                    </a:cubicBezTo>
                    <a:cubicBezTo>
                      <a:pt x="515" y="91"/>
                      <a:pt x="508" y="91"/>
                      <a:pt x="502" y="91"/>
                    </a:cubicBezTo>
                    <a:cubicBezTo>
                      <a:pt x="500" y="91"/>
                      <a:pt x="499" y="92"/>
                      <a:pt x="499" y="93"/>
                    </a:cubicBezTo>
                    <a:cubicBezTo>
                      <a:pt x="496" y="99"/>
                      <a:pt x="493" y="106"/>
                      <a:pt x="490" y="112"/>
                    </a:cubicBezTo>
                    <a:cubicBezTo>
                      <a:pt x="474" y="148"/>
                      <a:pt x="458" y="184"/>
                      <a:pt x="442" y="220"/>
                    </a:cubicBezTo>
                    <a:cubicBezTo>
                      <a:pt x="441" y="221"/>
                      <a:pt x="441" y="222"/>
                      <a:pt x="440" y="223"/>
                    </a:cubicBezTo>
                    <a:cubicBezTo>
                      <a:pt x="439" y="222"/>
                      <a:pt x="439" y="221"/>
                      <a:pt x="438" y="220"/>
                    </a:cubicBezTo>
                    <a:cubicBezTo>
                      <a:pt x="433" y="208"/>
                      <a:pt x="427" y="195"/>
                      <a:pt x="422" y="183"/>
                    </a:cubicBezTo>
                    <a:cubicBezTo>
                      <a:pt x="409" y="153"/>
                      <a:pt x="396" y="124"/>
                      <a:pt x="383" y="94"/>
                    </a:cubicBezTo>
                    <a:cubicBezTo>
                      <a:pt x="382" y="92"/>
                      <a:pt x="381" y="91"/>
                      <a:pt x="378" y="91"/>
                    </a:cubicBezTo>
                    <a:cubicBezTo>
                      <a:pt x="372" y="91"/>
                      <a:pt x="366" y="91"/>
                      <a:pt x="360" y="91"/>
                    </a:cubicBezTo>
                    <a:cubicBezTo>
                      <a:pt x="356" y="91"/>
                      <a:pt x="356" y="91"/>
                      <a:pt x="356" y="95"/>
                    </a:cubicBezTo>
                    <a:cubicBezTo>
                      <a:pt x="356" y="147"/>
                      <a:pt x="356" y="200"/>
                      <a:pt x="356" y="252"/>
                    </a:cubicBezTo>
                    <a:cubicBezTo>
                      <a:pt x="356" y="252"/>
                      <a:pt x="356" y="253"/>
                      <a:pt x="356" y="254"/>
                    </a:cubicBezTo>
                    <a:cubicBezTo>
                      <a:pt x="356" y="255"/>
                      <a:pt x="357" y="256"/>
                      <a:pt x="358" y="256"/>
                    </a:cubicBezTo>
                    <a:cubicBezTo>
                      <a:pt x="362" y="256"/>
                      <a:pt x="366" y="256"/>
                      <a:pt x="369" y="256"/>
                    </a:cubicBezTo>
                    <a:cubicBezTo>
                      <a:pt x="371" y="256"/>
                      <a:pt x="373" y="256"/>
                      <a:pt x="374" y="255"/>
                    </a:cubicBezTo>
                    <a:cubicBezTo>
                      <a:pt x="375" y="254"/>
                      <a:pt x="375" y="252"/>
                      <a:pt x="375" y="251"/>
                    </a:cubicBezTo>
                    <a:cubicBezTo>
                      <a:pt x="375" y="209"/>
                      <a:pt x="375" y="167"/>
                      <a:pt x="375" y="125"/>
                    </a:cubicBezTo>
                    <a:cubicBezTo>
                      <a:pt x="375" y="124"/>
                      <a:pt x="375" y="123"/>
                      <a:pt x="375" y="122"/>
                    </a:cubicBezTo>
                    <a:cubicBezTo>
                      <a:pt x="376" y="123"/>
                      <a:pt x="376" y="124"/>
                      <a:pt x="377" y="125"/>
                    </a:cubicBezTo>
                    <a:close/>
                    <a:moveTo>
                      <a:pt x="21" y="242"/>
                    </a:moveTo>
                    <a:cubicBezTo>
                      <a:pt x="21" y="242"/>
                      <a:pt x="21" y="242"/>
                      <a:pt x="20" y="242"/>
                    </a:cubicBezTo>
                    <a:cubicBezTo>
                      <a:pt x="20" y="242"/>
                      <a:pt x="20" y="242"/>
                      <a:pt x="20" y="242"/>
                    </a:cubicBezTo>
                    <a:cubicBezTo>
                      <a:pt x="19" y="243"/>
                      <a:pt x="18" y="243"/>
                      <a:pt x="17" y="244"/>
                    </a:cubicBezTo>
                    <a:cubicBezTo>
                      <a:pt x="16" y="245"/>
                      <a:pt x="15" y="245"/>
                      <a:pt x="14" y="246"/>
                    </a:cubicBezTo>
                    <a:cubicBezTo>
                      <a:pt x="14" y="246"/>
                      <a:pt x="14" y="246"/>
                      <a:pt x="14" y="246"/>
                    </a:cubicBezTo>
                    <a:cubicBezTo>
                      <a:pt x="13" y="247"/>
                      <a:pt x="13" y="247"/>
                      <a:pt x="12" y="247"/>
                    </a:cubicBezTo>
                    <a:cubicBezTo>
                      <a:pt x="12" y="247"/>
                      <a:pt x="12" y="248"/>
                      <a:pt x="11" y="248"/>
                    </a:cubicBezTo>
                    <a:cubicBezTo>
                      <a:pt x="11" y="248"/>
                      <a:pt x="11" y="248"/>
                      <a:pt x="10" y="249"/>
                    </a:cubicBezTo>
                    <a:cubicBezTo>
                      <a:pt x="10" y="249"/>
                      <a:pt x="10" y="249"/>
                      <a:pt x="10" y="249"/>
                    </a:cubicBezTo>
                    <a:cubicBezTo>
                      <a:pt x="9" y="249"/>
                      <a:pt x="8" y="250"/>
                      <a:pt x="8" y="250"/>
                    </a:cubicBezTo>
                    <a:cubicBezTo>
                      <a:pt x="8" y="250"/>
                      <a:pt x="8" y="250"/>
                      <a:pt x="8" y="250"/>
                    </a:cubicBezTo>
                    <a:cubicBezTo>
                      <a:pt x="8" y="250"/>
                      <a:pt x="7" y="250"/>
                      <a:pt x="7" y="251"/>
                    </a:cubicBezTo>
                    <a:cubicBezTo>
                      <a:pt x="7" y="251"/>
                      <a:pt x="6" y="251"/>
                      <a:pt x="7" y="252"/>
                    </a:cubicBezTo>
                    <a:cubicBezTo>
                      <a:pt x="7" y="252"/>
                      <a:pt x="7" y="252"/>
                      <a:pt x="7" y="252"/>
                    </a:cubicBezTo>
                    <a:cubicBezTo>
                      <a:pt x="8" y="252"/>
                      <a:pt x="8" y="252"/>
                      <a:pt x="9" y="252"/>
                    </a:cubicBezTo>
                    <a:cubicBezTo>
                      <a:pt x="9" y="252"/>
                      <a:pt x="9" y="252"/>
                      <a:pt x="9" y="251"/>
                    </a:cubicBezTo>
                    <a:cubicBezTo>
                      <a:pt x="10" y="251"/>
                      <a:pt x="10" y="251"/>
                      <a:pt x="11" y="251"/>
                    </a:cubicBezTo>
                    <a:cubicBezTo>
                      <a:pt x="11" y="250"/>
                      <a:pt x="12" y="250"/>
                      <a:pt x="13" y="250"/>
                    </a:cubicBezTo>
                    <a:cubicBezTo>
                      <a:pt x="15" y="248"/>
                      <a:pt x="18" y="247"/>
                      <a:pt x="21" y="245"/>
                    </a:cubicBezTo>
                    <a:cubicBezTo>
                      <a:pt x="21" y="245"/>
                      <a:pt x="22" y="245"/>
                      <a:pt x="22" y="244"/>
                    </a:cubicBezTo>
                    <a:cubicBezTo>
                      <a:pt x="55" y="229"/>
                      <a:pt x="90" y="221"/>
                      <a:pt x="127" y="219"/>
                    </a:cubicBezTo>
                    <a:cubicBezTo>
                      <a:pt x="139" y="218"/>
                      <a:pt x="152" y="219"/>
                      <a:pt x="165" y="220"/>
                    </a:cubicBezTo>
                    <a:cubicBezTo>
                      <a:pt x="176" y="220"/>
                      <a:pt x="188" y="222"/>
                      <a:pt x="199" y="224"/>
                    </a:cubicBezTo>
                    <a:cubicBezTo>
                      <a:pt x="202" y="225"/>
                      <a:pt x="205" y="225"/>
                      <a:pt x="208" y="224"/>
                    </a:cubicBezTo>
                    <a:cubicBezTo>
                      <a:pt x="211" y="224"/>
                      <a:pt x="211" y="224"/>
                      <a:pt x="211" y="220"/>
                    </a:cubicBezTo>
                    <a:cubicBezTo>
                      <a:pt x="211" y="163"/>
                      <a:pt x="211" y="107"/>
                      <a:pt x="211" y="50"/>
                    </a:cubicBezTo>
                    <a:cubicBezTo>
                      <a:pt x="211" y="46"/>
                      <a:pt x="212" y="47"/>
                      <a:pt x="208" y="45"/>
                    </a:cubicBezTo>
                    <a:cubicBezTo>
                      <a:pt x="206" y="45"/>
                      <a:pt x="206" y="45"/>
                      <a:pt x="205" y="47"/>
                    </a:cubicBezTo>
                    <a:cubicBezTo>
                      <a:pt x="202" y="55"/>
                      <a:pt x="198" y="63"/>
                      <a:pt x="194" y="71"/>
                    </a:cubicBezTo>
                    <a:cubicBezTo>
                      <a:pt x="180" y="98"/>
                      <a:pt x="163" y="122"/>
                      <a:pt x="142" y="144"/>
                    </a:cubicBezTo>
                    <a:cubicBezTo>
                      <a:pt x="141" y="145"/>
                      <a:pt x="141" y="147"/>
                      <a:pt x="141" y="148"/>
                    </a:cubicBezTo>
                    <a:cubicBezTo>
                      <a:pt x="141" y="166"/>
                      <a:pt x="141" y="183"/>
                      <a:pt x="141" y="200"/>
                    </a:cubicBezTo>
                    <a:cubicBezTo>
                      <a:pt x="141" y="202"/>
                      <a:pt x="141" y="204"/>
                      <a:pt x="141" y="205"/>
                    </a:cubicBezTo>
                    <a:cubicBezTo>
                      <a:pt x="141" y="207"/>
                      <a:pt x="140" y="207"/>
                      <a:pt x="139" y="208"/>
                    </a:cubicBezTo>
                    <a:cubicBezTo>
                      <a:pt x="138" y="208"/>
                      <a:pt x="137" y="208"/>
                      <a:pt x="137" y="208"/>
                    </a:cubicBezTo>
                    <a:cubicBezTo>
                      <a:pt x="128" y="209"/>
                      <a:pt x="120" y="210"/>
                      <a:pt x="111" y="211"/>
                    </a:cubicBezTo>
                    <a:cubicBezTo>
                      <a:pt x="89" y="214"/>
                      <a:pt x="68" y="220"/>
                      <a:pt x="48" y="229"/>
                    </a:cubicBezTo>
                    <a:cubicBezTo>
                      <a:pt x="39" y="232"/>
                      <a:pt x="31" y="237"/>
                      <a:pt x="23" y="241"/>
                    </a:cubicBezTo>
                    <a:cubicBezTo>
                      <a:pt x="22" y="241"/>
                      <a:pt x="22" y="241"/>
                      <a:pt x="21" y="242"/>
                    </a:cubicBezTo>
                    <a:close/>
                    <a:moveTo>
                      <a:pt x="1219" y="242"/>
                    </a:moveTo>
                    <a:cubicBezTo>
                      <a:pt x="1212" y="241"/>
                      <a:pt x="1209" y="237"/>
                      <a:pt x="1207" y="231"/>
                    </a:cubicBezTo>
                    <a:cubicBezTo>
                      <a:pt x="1206" y="227"/>
                      <a:pt x="1206" y="224"/>
                      <a:pt x="1206" y="220"/>
                    </a:cubicBezTo>
                    <a:cubicBezTo>
                      <a:pt x="1206" y="199"/>
                      <a:pt x="1206" y="178"/>
                      <a:pt x="1206" y="158"/>
                    </a:cubicBezTo>
                    <a:cubicBezTo>
                      <a:pt x="1206" y="157"/>
                      <a:pt x="1206" y="156"/>
                      <a:pt x="1206" y="156"/>
                    </a:cubicBezTo>
                    <a:cubicBezTo>
                      <a:pt x="1206" y="155"/>
                      <a:pt x="1206" y="154"/>
                      <a:pt x="1207" y="154"/>
                    </a:cubicBezTo>
                    <a:cubicBezTo>
                      <a:pt x="1208" y="154"/>
                      <a:pt x="1209" y="154"/>
                      <a:pt x="1209" y="154"/>
                    </a:cubicBezTo>
                    <a:cubicBezTo>
                      <a:pt x="1217" y="154"/>
                      <a:pt x="1225" y="154"/>
                      <a:pt x="1233" y="154"/>
                    </a:cubicBezTo>
                    <a:cubicBezTo>
                      <a:pt x="1236" y="154"/>
                      <a:pt x="1236" y="154"/>
                      <a:pt x="1236" y="152"/>
                    </a:cubicBezTo>
                    <a:cubicBezTo>
                      <a:pt x="1236" y="148"/>
                      <a:pt x="1236" y="145"/>
                      <a:pt x="1236" y="141"/>
                    </a:cubicBezTo>
                    <a:cubicBezTo>
                      <a:pt x="1236" y="138"/>
                      <a:pt x="1236" y="138"/>
                      <a:pt x="1233" y="138"/>
                    </a:cubicBezTo>
                    <a:cubicBezTo>
                      <a:pt x="1225" y="138"/>
                      <a:pt x="1217" y="138"/>
                      <a:pt x="1209" y="138"/>
                    </a:cubicBezTo>
                    <a:cubicBezTo>
                      <a:pt x="1206" y="138"/>
                      <a:pt x="1206" y="138"/>
                      <a:pt x="1206" y="136"/>
                    </a:cubicBezTo>
                    <a:cubicBezTo>
                      <a:pt x="1206" y="126"/>
                      <a:pt x="1206" y="117"/>
                      <a:pt x="1206" y="107"/>
                    </a:cubicBezTo>
                    <a:cubicBezTo>
                      <a:pt x="1206" y="106"/>
                      <a:pt x="1206" y="105"/>
                      <a:pt x="1206" y="104"/>
                    </a:cubicBezTo>
                    <a:cubicBezTo>
                      <a:pt x="1205" y="104"/>
                      <a:pt x="1204" y="104"/>
                      <a:pt x="1204" y="104"/>
                    </a:cubicBezTo>
                    <a:cubicBezTo>
                      <a:pt x="1199" y="106"/>
                      <a:pt x="1194" y="107"/>
                      <a:pt x="1189" y="109"/>
                    </a:cubicBezTo>
                    <a:cubicBezTo>
                      <a:pt x="1188" y="109"/>
                      <a:pt x="1187" y="110"/>
                      <a:pt x="1187" y="112"/>
                    </a:cubicBezTo>
                    <a:cubicBezTo>
                      <a:pt x="1187" y="120"/>
                      <a:pt x="1187" y="128"/>
                      <a:pt x="1187" y="136"/>
                    </a:cubicBezTo>
                    <a:cubicBezTo>
                      <a:pt x="1187" y="138"/>
                      <a:pt x="1187" y="138"/>
                      <a:pt x="1185" y="138"/>
                    </a:cubicBezTo>
                    <a:cubicBezTo>
                      <a:pt x="1178" y="138"/>
                      <a:pt x="1171" y="138"/>
                      <a:pt x="1165" y="138"/>
                    </a:cubicBezTo>
                    <a:cubicBezTo>
                      <a:pt x="1158" y="138"/>
                      <a:pt x="1152" y="138"/>
                      <a:pt x="1145" y="138"/>
                    </a:cubicBezTo>
                    <a:cubicBezTo>
                      <a:pt x="1143" y="138"/>
                      <a:pt x="1143" y="138"/>
                      <a:pt x="1143" y="136"/>
                    </a:cubicBezTo>
                    <a:cubicBezTo>
                      <a:pt x="1143" y="130"/>
                      <a:pt x="1143" y="125"/>
                      <a:pt x="1143" y="120"/>
                    </a:cubicBezTo>
                    <a:cubicBezTo>
                      <a:pt x="1143" y="115"/>
                      <a:pt x="1143" y="111"/>
                      <a:pt x="1145" y="107"/>
                    </a:cubicBezTo>
                    <a:cubicBezTo>
                      <a:pt x="1147" y="101"/>
                      <a:pt x="1151" y="97"/>
                      <a:pt x="1158" y="96"/>
                    </a:cubicBezTo>
                    <a:cubicBezTo>
                      <a:pt x="1163" y="95"/>
                      <a:pt x="1167" y="95"/>
                      <a:pt x="1172" y="97"/>
                    </a:cubicBezTo>
                    <a:cubicBezTo>
                      <a:pt x="1173" y="97"/>
                      <a:pt x="1174" y="98"/>
                      <a:pt x="1175" y="98"/>
                    </a:cubicBezTo>
                    <a:cubicBezTo>
                      <a:pt x="1175" y="93"/>
                      <a:pt x="1175" y="88"/>
                      <a:pt x="1175" y="84"/>
                    </a:cubicBezTo>
                    <a:cubicBezTo>
                      <a:pt x="1175" y="81"/>
                      <a:pt x="1175" y="81"/>
                      <a:pt x="1173" y="81"/>
                    </a:cubicBezTo>
                    <a:cubicBezTo>
                      <a:pt x="1165" y="79"/>
                      <a:pt x="1157" y="79"/>
                      <a:pt x="1149" y="81"/>
                    </a:cubicBezTo>
                    <a:cubicBezTo>
                      <a:pt x="1135" y="86"/>
                      <a:pt x="1125" y="99"/>
                      <a:pt x="1124" y="114"/>
                    </a:cubicBezTo>
                    <a:cubicBezTo>
                      <a:pt x="1124" y="121"/>
                      <a:pt x="1124" y="128"/>
                      <a:pt x="1124" y="135"/>
                    </a:cubicBezTo>
                    <a:cubicBezTo>
                      <a:pt x="1124" y="139"/>
                      <a:pt x="1124" y="138"/>
                      <a:pt x="1121" y="138"/>
                    </a:cubicBezTo>
                    <a:cubicBezTo>
                      <a:pt x="1116" y="138"/>
                      <a:pt x="1111" y="138"/>
                      <a:pt x="1106" y="138"/>
                    </a:cubicBezTo>
                    <a:cubicBezTo>
                      <a:pt x="1104" y="138"/>
                      <a:pt x="1104" y="138"/>
                      <a:pt x="1104" y="140"/>
                    </a:cubicBezTo>
                    <a:cubicBezTo>
                      <a:pt x="1104" y="144"/>
                      <a:pt x="1104" y="148"/>
                      <a:pt x="1104" y="152"/>
                    </a:cubicBezTo>
                    <a:cubicBezTo>
                      <a:pt x="1104" y="154"/>
                      <a:pt x="1104" y="154"/>
                      <a:pt x="1106" y="154"/>
                    </a:cubicBezTo>
                    <a:cubicBezTo>
                      <a:pt x="1111" y="154"/>
                      <a:pt x="1116" y="154"/>
                      <a:pt x="1121" y="154"/>
                    </a:cubicBezTo>
                    <a:cubicBezTo>
                      <a:pt x="1124" y="154"/>
                      <a:pt x="1124" y="154"/>
                      <a:pt x="1124" y="157"/>
                    </a:cubicBezTo>
                    <a:cubicBezTo>
                      <a:pt x="1124" y="158"/>
                      <a:pt x="1124" y="159"/>
                      <a:pt x="1124" y="159"/>
                    </a:cubicBezTo>
                    <a:cubicBezTo>
                      <a:pt x="1124" y="190"/>
                      <a:pt x="1124" y="221"/>
                      <a:pt x="1124" y="251"/>
                    </a:cubicBezTo>
                    <a:cubicBezTo>
                      <a:pt x="1124" y="252"/>
                      <a:pt x="1124" y="253"/>
                      <a:pt x="1124" y="254"/>
                    </a:cubicBezTo>
                    <a:cubicBezTo>
                      <a:pt x="1124" y="255"/>
                      <a:pt x="1124" y="256"/>
                      <a:pt x="1126" y="256"/>
                    </a:cubicBezTo>
                    <a:cubicBezTo>
                      <a:pt x="1131" y="256"/>
                      <a:pt x="1135" y="256"/>
                      <a:pt x="1140" y="256"/>
                    </a:cubicBezTo>
                    <a:cubicBezTo>
                      <a:pt x="1143" y="256"/>
                      <a:pt x="1143" y="256"/>
                      <a:pt x="1143" y="253"/>
                    </a:cubicBezTo>
                    <a:cubicBezTo>
                      <a:pt x="1143" y="252"/>
                      <a:pt x="1143" y="252"/>
                      <a:pt x="1143" y="251"/>
                    </a:cubicBezTo>
                    <a:cubicBezTo>
                      <a:pt x="1143" y="220"/>
                      <a:pt x="1143" y="189"/>
                      <a:pt x="1143" y="158"/>
                    </a:cubicBezTo>
                    <a:cubicBezTo>
                      <a:pt x="1143" y="157"/>
                      <a:pt x="1143" y="156"/>
                      <a:pt x="1143" y="156"/>
                    </a:cubicBezTo>
                    <a:cubicBezTo>
                      <a:pt x="1143" y="155"/>
                      <a:pt x="1143" y="154"/>
                      <a:pt x="1144" y="154"/>
                    </a:cubicBezTo>
                    <a:cubicBezTo>
                      <a:pt x="1145" y="154"/>
                      <a:pt x="1146" y="154"/>
                      <a:pt x="1146" y="154"/>
                    </a:cubicBezTo>
                    <a:cubicBezTo>
                      <a:pt x="1159" y="154"/>
                      <a:pt x="1171" y="154"/>
                      <a:pt x="1184" y="154"/>
                    </a:cubicBezTo>
                    <a:cubicBezTo>
                      <a:pt x="1188" y="154"/>
                      <a:pt x="1187" y="154"/>
                      <a:pt x="1187" y="158"/>
                    </a:cubicBezTo>
                    <a:cubicBezTo>
                      <a:pt x="1187" y="180"/>
                      <a:pt x="1187" y="201"/>
                      <a:pt x="1187" y="223"/>
                    </a:cubicBezTo>
                    <a:cubicBezTo>
                      <a:pt x="1187" y="228"/>
                      <a:pt x="1187" y="233"/>
                      <a:pt x="1189" y="238"/>
                    </a:cubicBezTo>
                    <a:cubicBezTo>
                      <a:pt x="1191" y="246"/>
                      <a:pt x="1195" y="252"/>
                      <a:pt x="1203" y="256"/>
                    </a:cubicBezTo>
                    <a:cubicBezTo>
                      <a:pt x="1207" y="257"/>
                      <a:pt x="1212" y="258"/>
                      <a:pt x="1216" y="258"/>
                    </a:cubicBezTo>
                    <a:cubicBezTo>
                      <a:pt x="1222" y="258"/>
                      <a:pt x="1228" y="258"/>
                      <a:pt x="1234" y="256"/>
                    </a:cubicBezTo>
                    <a:cubicBezTo>
                      <a:pt x="1235" y="255"/>
                      <a:pt x="1236" y="255"/>
                      <a:pt x="1236" y="253"/>
                    </a:cubicBezTo>
                    <a:cubicBezTo>
                      <a:pt x="1236" y="248"/>
                      <a:pt x="1236" y="244"/>
                      <a:pt x="1236" y="238"/>
                    </a:cubicBezTo>
                    <a:cubicBezTo>
                      <a:pt x="1230" y="242"/>
                      <a:pt x="1224" y="243"/>
                      <a:pt x="1219" y="242"/>
                    </a:cubicBezTo>
                    <a:close/>
                    <a:moveTo>
                      <a:pt x="1822" y="156"/>
                    </a:moveTo>
                    <a:cubicBezTo>
                      <a:pt x="1822" y="151"/>
                      <a:pt x="1822" y="146"/>
                      <a:pt x="1822" y="142"/>
                    </a:cubicBezTo>
                    <a:cubicBezTo>
                      <a:pt x="1822" y="138"/>
                      <a:pt x="1822" y="138"/>
                      <a:pt x="1818" y="138"/>
                    </a:cubicBezTo>
                    <a:cubicBezTo>
                      <a:pt x="1814" y="138"/>
                      <a:pt x="1810" y="138"/>
                      <a:pt x="1806" y="138"/>
                    </a:cubicBezTo>
                    <a:cubicBezTo>
                      <a:pt x="1802" y="138"/>
                      <a:pt x="1803" y="138"/>
                      <a:pt x="1803" y="142"/>
                    </a:cubicBezTo>
                    <a:cubicBezTo>
                      <a:pt x="1803" y="179"/>
                      <a:pt x="1803" y="215"/>
                      <a:pt x="1803" y="252"/>
                    </a:cubicBezTo>
                    <a:cubicBezTo>
                      <a:pt x="1803" y="253"/>
                      <a:pt x="1803" y="254"/>
                      <a:pt x="1803" y="254"/>
                    </a:cubicBezTo>
                    <a:cubicBezTo>
                      <a:pt x="1803" y="255"/>
                      <a:pt x="1803" y="256"/>
                      <a:pt x="1804" y="256"/>
                    </a:cubicBezTo>
                    <a:cubicBezTo>
                      <a:pt x="1810" y="256"/>
                      <a:pt x="1815" y="256"/>
                      <a:pt x="1820" y="256"/>
                    </a:cubicBezTo>
                    <a:cubicBezTo>
                      <a:pt x="1821" y="256"/>
                      <a:pt x="1822" y="255"/>
                      <a:pt x="1822" y="254"/>
                    </a:cubicBezTo>
                    <a:cubicBezTo>
                      <a:pt x="1822" y="254"/>
                      <a:pt x="1822" y="253"/>
                      <a:pt x="1822" y="252"/>
                    </a:cubicBezTo>
                    <a:cubicBezTo>
                      <a:pt x="1822" y="232"/>
                      <a:pt x="1822" y="211"/>
                      <a:pt x="1822" y="191"/>
                    </a:cubicBezTo>
                    <a:cubicBezTo>
                      <a:pt x="1822" y="187"/>
                      <a:pt x="1822" y="184"/>
                      <a:pt x="1822" y="181"/>
                    </a:cubicBezTo>
                    <a:cubicBezTo>
                      <a:pt x="1823" y="174"/>
                      <a:pt x="1826" y="167"/>
                      <a:pt x="1830" y="161"/>
                    </a:cubicBezTo>
                    <a:cubicBezTo>
                      <a:pt x="1836" y="154"/>
                      <a:pt x="1843" y="151"/>
                      <a:pt x="1852" y="152"/>
                    </a:cubicBezTo>
                    <a:cubicBezTo>
                      <a:pt x="1863" y="152"/>
                      <a:pt x="1871" y="158"/>
                      <a:pt x="1874" y="169"/>
                    </a:cubicBezTo>
                    <a:cubicBezTo>
                      <a:pt x="1875" y="170"/>
                      <a:pt x="1875" y="171"/>
                      <a:pt x="1875" y="171"/>
                    </a:cubicBezTo>
                    <a:cubicBezTo>
                      <a:pt x="1876" y="177"/>
                      <a:pt x="1877" y="182"/>
                      <a:pt x="1877" y="187"/>
                    </a:cubicBezTo>
                    <a:cubicBezTo>
                      <a:pt x="1877" y="204"/>
                      <a:pt x="1877" y="220"/>
                      <a:pt x="1877" y="236"/>
                    </a:cubicBezTo>
                    <a:cubicBezTo>
                      <a:pt x="1877" y="242"/>
                      <a:pt x="1877" y="248"/>
                      <a:pt x="1877" y="254"/>
                    </a:cubicBezTo>
                    <a:cubicBezTo>
                      <a:pt x="1877" y="255"/>
                      <a:pt x="1877" y="256"/>
                      <a:pt x="1879" y="256"/>
                    </a:cubicBezTo>
                    <a:cubicBezTo>
                      <a:pt x="1884" y="256"/>
                      <a:pt x="1889" y="256"/>
                      <a:pt x="1894" y="256"/>
                    </a:cubicBezTo>
                    <a:cubicBezTo>
                      <a:pt x="1895" y="256"/>
                      <a:pt x="1896" y="255"/>
                      <a:pt x="1896" y="254"/>
                    </a:cubicBezTo>
                    <a:cubicBezTo>
                      <a:pt x="1896" y="253"/>
                      <a:pt x="1896" y="252"/>
                      <a:pt x="1896" y="252"/>
                    </a:cubicBezTo>
                    <a:cubicBezTo>
                      <a:pt x="1896" y="230"/>
                      <a:pt x="1896" y="209"/>
                      <a:pt x="1896" y="188"/>
                    </a:cubicBezTo>
                    <a:cubicBezTo>
                      <a:pt x="1896" y="178"/>
                      <a:pt x="1899" y="168"/>
                      <a:pt x="1906" y="160"/>
                    </a:cubicBezTo>
                    <a:cubicBezTo>
                      <a:pt x="1911" y="154"/>
                      <a:pt x="1918" y="151"/>
                      <a:pt x="1927" y="152"/>
                    </a:cubicBezTo>
                    <a:cubicBezTo>
                      <a:pt x="1939" y="152"/>
                      <a:pt x="1946" y="158"/>
                      <a:pt x="1949" y="170"/>
                    </a:cubicBezTo>
                    <a:cubicBezTo>
                      <a:pt x="1950" y="175"/>
                      <a:pt x="1951" y="180"/>
                      <a:pt x="1951" y="185"/>
                    </a:cubicBezTo>
                    <a:cubicBezTo>
                      <a:pt x="1951" y="207"/>
                      <a:pt x="1951" y="228"/>
                      <a:pt x="1951" y="250"/>
                    </a:cubicBezTo>
                    <a:cubicBezTo>
                      <a:pt x="1951" y="252"/>
                      <a:pt x="1950" y="254"/>
                      <a:pt x="1951" y="255"/>
                    </a:cubicBezTo>
                    <a:cubicBezTo>
                      <a:pt x="1952" y="256"/>
                      <a:pt x="1954" y="256"/>
                      <a:pt x="1956" y="256"/>
                    </a:cubicBezTo>
                    <a:cubicBezTo>
                      <a:pt x="1959" y="256"/>
                      <a:pt x="1963" y="256"/>
                      <a:pt x="1966" y="256"/>
                    </a:cubicBezTo>
                    <a:cubicBezTo>
                      <a:pt x="1970" y="256"/>
                      <a:pt x="1969" y="256"/>
                      <a:pt x="1969" y="253"/>
                    </a:cubicBezTo>
                    <a:cubicBezTo>
                      <a:pt x="1969" y="230"/>
                      <a:pt x="1969" y="207"/>
                      <a:pt x="1969" y="183"/>
                    </a:cubicBezTo>
                    <a:cubicBezTo>
                      <a:pt x="1969" y="176"/>
                      <a:pt x="1969" y="168"/>
                      <a:pt x="1966" y="160"/>
                    </a:cubicBezTo>
                    <a:cubicBezTo>
                      <a:pt x="1963" y="149"/>
                      <a:pt x="1956" y="140"/>
                      <a:pt x="1944" y="137"/>
                    </a:cubicBezTo>
                    <a:cubicBezTo>
                      <a:pt x="1936" y="135"/>
                      <a:pt x="1928" y="135"/>
                      <a:pt x="1920" y="137"/>
                    </a:cubicBezTo>
                    <a:cubicBezTo>
                      <a:pt x="1909" y="139"/>
                      <a:pt x="1901" y="146"/>
                      <a:pt x="1894" y="155"/>
                    </a:cubicBezTo>
                    <a:cubicBezTo>
                      <a:pt x="1894" y="156"/>
                      <a:pt x="1893" y="158"/>
                      <a:pt x="1892" y="159"/>
                    </a:cubicBezTo>
                    <a:cubicBezTo>
                      <a:pt x="1891" y="158"/>
                      <a:pt x="1891" y="157"/>
                      <a:pt x="1890" y="155"/>
                    </a:cubicBezTo>
                    <a:cubicBezTo>
                      <a:pt x="1884" y="142"/>
                      <a:pt x="1870" y="133"/>
                      <a:pt x="1851" y="136"/>
                    </a:cubicBezTo>
                    <a:cubicBezTo>
                      <a:pt x="1840" y="138"/>
                      <a:pt x="1831" y="144"/>
                      <a:pt x="1824" y="154"/>
                    </a:cubicBezTo>
                    <a:cubicBezTo>
                      <a:pt x="1823" y="155"/>
                      <a:pt x="1823" y="156"/>
                      <a:pt x="1822" y="156"/>
                    </a:cubicBezTo>
                    <a:cubicBezTo>
                      <a:pt x="1822" y="156"/>
                      <a:pt x="1822" y="156"/>
                      <a:pt x="1822" y="156"/>
                    </a:cubicBezTo>
                    <a:close/>
                    <a:moveTo>
                      <a:pt x="1445" y="308"/>
                    </a:moveTo>
                    <a:cubicBezTo>
                      <a:pt x="1445" y="309"/>
                      <a:pt x="1446" y="310"/>
                      <a:pt x="1447" y="310"/>
                    </a:cubicBezTo>
                    <a:cubicBezTo>
                      <a:pt x="1449" y="310"/>
                      <a:pt x="1452" y="311"/>
                      <a:pt x="1454" y="311"/>
                    </a:cubicBezTo>
                    <a:cubicBezTo>
                      <a:pt x="1463" y="311"/>
                      <a:pt x="1471" y="309"/>
                      <a:pt x="1479" y="304"/>
                    </a:cubicBezTo>
                    <a:cubicBezTo>
                      <a:pt x="1482" y="301"/>
                      <a:pt x="1486" y="297"/>
                      <a:pt x="1489" y="293"/>
                    </a:cubicBezTo>
                    <a:cubicBezTo>
                      <a:pt x="1493" y="287"/>
                      <a:pt x="1496" y="281"/>
                      <a:pt x="1499" y="274"/>
                    </a:cubicBezTo>
                    <a:cubicBezTo>
                      <a:pt x="1516" y="230"/>
                      <a:pt x="1534" y="185"/>
                      <a:pt x="1551" y="141"/>
                    </a:cubicBezTo>
                    <a:cubicBezTo>
                      <a:pt x="1552" y="140"/>
                      <a:pt x="1552" y="139"/>
                      <a:pt x="1552" y="138"/>
                    </a:cubicBezTo>
                    <a:cubicBezTo>
                      <a:pt x="1547" y="138"/>
                      <a:pt x="1541" y="138"/>
                      <a:pt x="1536" y="138"/>
                    </a:cubicBezTo>
                    <a:cubicBezTo>
                      <a:pt x="1532" y="138"/>
                      <a:pt x="1533" y="138"/>
                      <a:pt x="1532" y="141"/>
                    </a:cubicBezTo>
                    <a:cubicBezTo>
                      <a:pt x="1532" y="141"/>
                      <a:pt x="1532" y="141"/>
                      <a:pt x="1532" y="142"/>
                    </a:cubicBezTo>
                    <a:cubicBezTo>
                      <a:pt x="1520" y="172"/>
                      <a:pt x="1509" y="202"/>
                      <a:pt x="1498" y="233"/>
                    </a:cubicBezTo>
                    <a:cubicBezTo>
                      <a:pt x="1498" y="234"/>
                      <a:pt x="1498" y="235"/>
                      <a:pt x="1497" y="235"/>
                    </a:cubicBezTo>
                    <a:cubicBezTo>
                      <a:pt x="1496" y="235"/>
                      <a:pt x="1496" y="233"/>
                      <a:pt x="1495" y="233"/>
                    </a:cubicBezTo>
                    <a:cubicBezTo>
                      <a:pt x="1489" y="213"/>
                      <a:pt x="1482" y="194"/>
                      <a:pt x="1475" y="174"/>
                    </a:cubicBezTo>
                    <a:cubicBezTo>
                      <a:pt x="1471" y="163"/>
                      <a:pt x="1467" y="152"/>
                      <a:pt x="1463" y="141"/>
                    </a:cubicBezTo>
                    <a:cubicBezTo>
                      <a:pt x="1462" y="138"/>
                      <a:pt x="1463" y="138"/>
                      <a:pt x="1460" y="138"/>
                    </a:cubicBezTo>
                    <a:cubicBezTo>
                      <a:pt x="1457" y="138"/>
                      <a:pt x="1453" y="138"/>
                      <a:pt x="1450" y="138"/>
                    </a:cubicBezTo>
                    <a:cubicBezTo>
                      <a:pt x="1448" y="138"/>
                      <a:pt x="1445" y="138"/>
                      <a:pt x="1442" y="138"/>
                    </a:cubicBezTo>
                    <a:cubicBezTo>
                      <a:pt x="1442" y="140"/>
                      <a:pt x="1443" y="141"/>
                      <a:pt x="1443" y="142"/>
                    </a:cubicBezTo>
                    <a:cubicBezTo>
                      <a:pt x="1457" y="179"/>
                      <a:pt x="1472" y="216"/>
                      <a:pt x="1486" y="253"/>
                    </a:cubicBezTo>
                    <a:cubicBezTo>
                      <a:pt x="1487" y="255"/>
                      <a:pt x="1487" y="256"/>
                      <a:pt x="1486" y="258"/>
                    </a:cubicBezTo>
                    <a:cubicBezTo>
                      <a:pt x="1483" y="264"/>
                      <a:pt x="1481" y="271"/>
                      <a:pt x="1478" y="277"/>
                    </a:cubicBezTo>
                    <a:cubicBezTo>
                      <a:pt x="1477" y="280"/>
                      <a:pt x="1475" y="283"/>
                      <a:pt x="1474" y="286"/>
                    </a:cubicBezTo>
                    <a:cubicBezTo>
                      <a:pt x="1468" y="293"/>
                      <a:pt x="1461" y="296"/>
                      <a:pt x="1452" y="294"/>
                    </a:cubicBezTo>
                    <a:cubicBezTo>
                      <a:pt x="1450" y="294"/>
                      <a:pt x="1448" y="293"/>
                      <a:pt x="1445" y="293"/>
                    </a:cubicBezTo>
                    <a:cubicBezTo>
                      <a:pt x="1445" y="298"/>
                      <a:pt x="1445" y="303"/>
                      <a:pt x="1445" y="308"/>
                    </a:cubicBezTo>
                    <a:close/>
                    <a:moveTo>
                      <a:pt x="1584" y="155"/>
                    </a:moveTo>
                    <a:cubicBezTo>
                      <a:pt x="1584" y="150"/>
                      <a:pt x="1584" y="146"/>
                      <a:pt x="1584" y="141"/>
                    </a:cubicBezTo>
                    <a:cubicBezTo>
                      <a:pt x="1584" y="138"/>
                      <a:pt x="1584" y="138"/>
                      <a:pt x="1581" y="138"/>
                    </a:cubicBezTo>
                    <a:cubicBezTo>
                      <a:pt x="1577" y="138"/>
                      <a:pt x="1573" y="138"/>
                      <a:pt x="1569" y="138"/>
                    </a:cubicBezTo>
                    <a:cubicBezTo>
                      <a:pt x="1565" y="138"/>
                      <a:pt x="1565" y="138"/>
                      <a:pt x="1565" y="142"/>
                    </a:cubicBezTo>
                    <a:cubicBezTo>
                      <a:pt x="1565" y="179"/>
                      <a:pt x="1565" y="215"/>
                      <a:pt x="1565" y="252"/>
                    </a:cubicBezTo>
                    <a:cubicBezTo>
                      <a:pt x="1565" y="253"/>
                      <a:pt x="1565" y="253"/>
                      <a:pt x="1565" y="254"/>
                    </a:cubicBezTo>
                    <a:cubicBezTo>
                      <a:pt x="1565" y="255"/>
                      <a:pt x="1566" y="256"/>
                      <a:pt x="1567" y="256"/>
                    </a:cubicBezTo>
                    <a:cubicBezTo>
                      <a:pt x="1572" y="256"/>
                      <a:pt x="1578" y="256"/>
                      <a:pt x="1583" y="256"/>
                    </a:cubicBezTo>
                    <a:cubicBezTo>
                      <a:pt x="1584" y="256"/>
                      <a:pt x="1584" y="255"/>
                      <a:pt x="1584" y="254"/>
                    </a:cubicBezTo>
                    <a:cubicBezTo>
                      <a:pt x="1584" y="253"/>
                      <a:pt x="1584" y="253"/>
                      <a:pt x="1584" y="252"/>
                    </a:cubicBezTo>
                    <a:cubicBezTo>
                      <a:pt x="1584" y="231"/>
                      <a:pt x="1584" y="211"/>
                      <a:pt x="1584" y="190"/>
                    </a:cubicBezTo>
                    <a:cubicBezTo>
                      <a:pt x="1584" y="186"/>
                      <a:pt x="1584" y="181"/>
                      <a:pt x="1586" y="177"/>
                    </a:cubicBezTo>
                    <a:cubicBezTo>
                      <a:pt x="1590" y="163"/>
                      <a:pt x="1598" y="154"/>
                      <a:pt x="1613" y="152"/>
                    </a:cubicBezTo>
                    <a:cubicBezTo>
                      <a:pt x="1627" y="150"/>
                      <a:pt x="1637" y="156"/>
                      <a:pt x="1642" y="170"/>
                    </a:cubicBezTo>
                    <a:cubicBezTo>
                      <a:pt x="1644" y="176"/>
                      <a:pt x="1644" y="182"/>
                      <a:pt x="1644" y="188"/>
                    </a:cubicBezTo>
                    <a:cubicBezTo>
                      <a:pt x="1644" y="210"/>
                      <a:pt x="1644" y="231"/>
                      <a:pt x="1644" y="252"/>
                    </a:cubicBezTo>
                    <a:cubicBezTo>
                      <a:pt x="1644" y="253"/>
                      <a:pt x="1644" y="253"/>
                      <a:pt x="1644" y="254"/>
                    </a:cubicBezTo>
                    <a:cubicBezTo>
                      <a:pt x="1644" y="255"/>
                      <a:pt x="1644" y="256"/>
                      <a:pt x="1646" y="256"/>
                    </a:cubicBezTo>
                    <a:cubicBezTo>
                      <a:pt x="1651" y="256"/>
                      <a:pt x="1656" y="256"/>
                      <a:pt x="1661" y="256"/>
                    </a:cubicBezTo>
                    <a:cubicBezTo>
                      <a:pt x="1663" y="256"/>
                      <a:pt x="1663" y="255"/>
                      <a:pt x="1663" y="254"/>
                    </a:cubicBezTo>
                    <a:cubicBezTo>
                      <a:pt x="1663" y="253"/>
                      <a:pt x="1663" y="252"/>
                      <a:pt x="1663" y="252"/>
                    </a:cubicBezTo>
                    <a:cubicBezTo>
                      <a:pt x="1663" y="230"/>
                      <a:pt x="1663" y="209"/>
                      <a:pt x="1663" y="187"/>
                    </a:cubicBezTo>
                    <a:cubicBezTo>
                      <a:pt x="1663" y="183"/>
                      <a:pt x="1663" y="179"/>
                      <a:pt x="1663" y="175"/>
                    </a:cubicBezTo>
                    <a:cubicBezTo>
                      <a:pt x="1662" y="168"/>
                      <a:pt x="1660" y="162"/>
                      <a:pt x="1658" y="156"/>
                    </a:cubicBezTo>
                    <a:cubicBezTo>
                      <a:pt x="1653" y="146"/>
                      <a:pt x="1645" y="139"/>
                      <a:pt x="1634" y="136"/>
                    </a:cubicBezTo>
                    <a:cubicBezTo>
                      <a:pt x="1630" y="136"/>
                      <a:pt x="1625" y="135"/>
                      <a:pt x="1621" y="136"/>
                    </a:cubicBezTo>
                    <a:cubicBezTo>
                      <a:pt x="1607" y="136"/>
                      <a:pt x="1595" y="142"/>
                      <a:pt x="1587" y="154"/>
                    </a:cubicBezTo>
                    <a:cubicBezTo>
                      <a:pt x="1586" y="155"/>
                      <a:pt x="1586" y="156"/>
                      <a:pt x="1585" y="158"/>
                    </a:cubicBezTo>
                    <a:cubicBezTo>
                      <a:pt x="1584" y="156"/>
                      <a:pt x="1584" y="155"/>
                      <a:pt x="1584" y="155"/>
                    </a:cubicBezTo>
                    <a:close/>
                    <a:moveTo>
                      <a:pt x="2140" y="232"/>
                    </a:moveTo>
                    <a:cubicBezTo>
                      <a:pt x="2140" y="237"/>
                      <a:pt x="2140" y="241"/>
                      <a:pt x="2140" y="245"/>
                    </a:cubicBezTo>
                    <a:cubicBezTo>
                      <a:pt x="2140" y="247"/>
                      <a:pt x="2139" y="250"/>
                      <a:pt x="2141" y="251"/>
                    </a:cubicBezTo>
                    <a:cubicBezTo>
                      <a:pt x="2142" y="253"/>
                      <a:pt x="2144" y="254"/>
                      <a:pt x="2146" y="254"/>
                    </a:cubicBezTo>
                    <a:cubicBezTo>
                      <a:pt x="2157" y="259"/>
                      <a:pt x="2169" y="260"/>
                      <a:pt x="2180" y="258"/>
                    </a:cubicBezTo>
                    <a:cubicBezTo>
                      <a:pt x="2189" y="256"/>
                      <a:pt x="2196" y="253"/>
                      <a:pt x="2202" y="247"/>
                    </a:cubicBezTo>
                    <a:cubicBezTo>
                      <a:pt x="2216" y="236"/>
                      <a:pt x="2216" y="211"/>
                      <a:pt x="2200" y="200"/>
                    </a:cubicBezTo>
                    <a:cubicBezTo>
                      <a:pt x="2198" y="198"/>
                      <a:pt x="2196" y="197"/>
                      <a:pt x="2193" y="195"/>
                    </a:cubicBezTo>
                    <a:cubicBezTo>
                      <a:pt x="2189" y="193"/>
                      <a:pt x="2185" y="191"/>
                      <a:pt x="2181" y="189"/>
                    </a:cubicBezTo>
                    <a:cubicBezTo>
                      <a:pt x="2176" y="187"/>
                      <a:pt x="2171" y="185"/>
                      <a:pt x="2167" y="182"/>
                    </a:cubicBezTo>
                    <a:cubicBezTo>
                      <a:pt x="2164" y="181"/>
                      <a:pt x="2162" y="179"/>
                      <a:pt x="2161" y="176"/>
                    </a:cubicBezTo>
                    <a:cubicBezTo>
                      <a:pt x="2158" y="167"/>
                      <a:pt x="2160" y="157"/>
                      <a:pt x="2170" y="153"/>
                    </a:cubicBezTo>
                    <a:cubicBezTo>
                      <a:pt x="2172" y="153"/>
                      <a:pt x="2173" y="152"/>
                      <a:pt x="2175" y="152"/>
                    </a:cubicBezTo>
                    <a:cubicBezTo>
                      <a:pt x="2185" y="151"/>
                      <a:pt x="2195" y="153"/>
                      <a:pt x="2204" y="158"/>
                    </a:cubicBezTo>
                    <a:cubicBezTo>
                      <a:pt x="2205" y="158"/>
                      <a:pt x="2205" y="159"/>
                      <a:pt x="2207" y="159"/>
                    </a:cubicBezTo>
                    <a:cubicBezTo>
                      <a:pt x="2207" y="154"/>
                      <a:pt x="2207" y="148"/>
                      <a:pt x="2207" y="142"/>
                    </a:cubicBezTo>
                    <a:cubicBezTo>
                      <a:pt x="2207" y="141"/>
                      <a:pt x="2207" y="141"/>
                      <a:pt x="2206" y="140"/>
                    </a:cubicBezTo>
                    <a:cubicBezTo>
                      <a:pt x="2205" y="140"/>
                      <a:pt x="2204" y="140"/>
                      <a:pt x="2203" y="139"/>
                    </a:cubicBezTo>
                    <a:cubicBezTo>
                      <a:pt x="2194" y="136"/>
                      <a:pt x="2184" y="135"/>
                      <a:pt x="2175" y="136"/>
                    </a:cubicBezTo>
                    <a:cubicBezTo>
                      <a:pt x="2166" y="137"/>
                      <a:pt x="2158" y="140"/>
                      <a:pt x="2151" y="146"/>
                    </a:cubicBezTo>
                    <a:cubicBezTo>
                      <a:pt x="2136" y="158"/>
                      <a:pt x="2136" y="185"/>
                      <a:pt x="2154" y="196"/>
                    </a:cubicBezTo>
                    <a:cubicBezTo>
                      <a:pt x="2158" y="199"/>
                      <a:pt x="2163" y="202"/>
                      <a:pt x="2168" y="204"/>
                    </a:cubicBezTo>
                    <a:cubicBezTo>
                      <a:pt x="2174" y="207"/>
                      <a:pt x="2181" y="210"/>
                      <a:pt x="2186" y="214"/>
                    </a:cubicBezTo>
                    <a:cubicBezTo>
                      <a:pt x="2192" y="217"/>
                      <a:pt x="2194" y="223"/>
                      <a:pt x="2193" y="229"/>
                    </a:cubicBezTo>
                    <a:cubicBezTo>
                      <a:pt x="2192" y="235"/>
                      <a:pt x="2188" y="239"/>
                      <a:pt x="2182" y="241"/>
                    </a:cubicBezTo>
                    <a:cubicBezTo>
                      <a:pt x="2181" y="241"/>
                      <a:pt x="2180" y="241"/>
                      <a:pt x="2179" y="242"/>
                    </a:cubicBezTo>
                    <a:cubicBezTo>
                      <a:pt x="2166" y="244"/>
                      <a:pt x="2154" y="241"/>
                      <a:pt x="2143" y="234"/>
                    </a:cubicBezTo>
                    <a:cubicBezTo>
                      <a:pt x="2142" y="233"/>
                      <a:pt x="2142" y="232"/>
                      <a:pt x="2140" y="232"/>
                    </a:cubicBezTo>
                    <a:cubicBezTo>
                      <a:pt x="2140" y="232"/>
                      <a:pt x="2140" y="232"/>
                      <a:pt x="2140" y="232"/>
                    </a:cubicBezTo>
                    <a:close/>
                    <a:moveTo>
                      <a:pt x="900" y="251"/>
                    </a:moveTo>
                    <a:cubicBezTo>
                      <a:pt x="900" y="252"/>
                      <a:pt x="901" y="252"/>
                      <a:pt x="901" y="252"/>
                    </a:cubicBezTo>
                    <a:cubicBezTo>
                      <a:pt x="903" y="253"/>
                      <a:pt x="905" y="254"/>
                      <a:pt x="908" y="255"/>
                    </a:cubicBezTo>
                    <a:cubicBezTo>
                      <a:pt x="918" y="259"/>
                      <a:pt x="929" y="259"/>
                      <a:pt x="939" y="258"/>
                    </a:cubicBezTo>
                    <a:cubicBezTo>
                      <a:pt x="947" y="257"/>
                      <a:pt x="954" y="254"/>
                      <a:pt x="960" y="249"/>
                    </a:cubicBezTo>
                    <a:cubicBezTo>
                      <a:pt x="976" y="237"/>
                      <a:pt x="977" y="211"/>
                      <a:pt x="959" y="199"/>
                    </a:cubicBezTo>
                    <a:cubicBezTo>
                      <a:pt x="958" y="198"/>
                      <a:pt x="956" y="197"/>
                      <a:pt x="955" y="196"/>
                    </a:cubicBezTo>
                    <a:cubicBezTo>
                      <a:pt x="950" y="193"/>
                      <a:pt x="946" y="191"/>
                      <a:pt x="941" y="189"/>
                    </a:cubicBezTo>
                    <a:cubicBezTo>
                      <a:pt x="936" y="187"/>
                      <a:pt x="931" y="185"/>
                      <a:pt x="927" y="182"/>
                    </a:cubicBezTo>
                    <a:cubicBezTo>
                      <a:pt x="924" y="180"/>
                      <a:pt x="922" y="179"/>
                      <a:pt x="921" y="176"/>
                    </a:cubicBezTo>
                    <a:cubicBezTo>
                      <a:pt x="918" y="168"/>
                      <a:pt x="919" y="158"/>
                      <a:pt x="929" y="154"/>
                    </a:cubicBezTo>
                    <a:cubicBezTo>
                      <a:pt x="931" y="153"/>
                      <a:pt x="933" y="152"/>
                      <a:pt x="934" y="152"/>
                    </a:cubicBezTo>
                    <a:cubicBezTo>
                      <a:pt x="945" y="150"/>
                      <a:pt x="955" y="153"/>
                      <a:pt x="964" y="158"/>
                    </a:cubicBezTo>
                    <a:cubicBezTo>
                      <a:pt x="965" y="159"/>
                      <a:pt x="965" y="159"/>
                      <a:pt x="967" y="159"/>
                    </a:cubicBezTo>
                    <a:cubicBezTo>
                      <a:pt x="967" y="154"/>
                      <a:pt x="967" y="149"/>
                      <a:pt x="967" y="144"/>
                    </a:cubicBezTo>
                    <a:cubicBezTo>
                      <a:pt x="967" y="141"/>
                      <a:pt x="967" y="141"/>
                      <a:pt x="964" y="140"/>
                    </a:cubicBezTo>
                    <a:cubicBezTo>
                      <a:pt x="954" y="136"/>
                      <a:pt x="944" y="135"/>
                      <a:pt x="934" y="136"/>
                    </a:cubicBezTo>
                    <a:cubicBezTo>
                      <a:pt x="926" y="137"/>
                      <a:pt x="919" y="140"/>
                      <a:pt x="912" y="145"/>
                    </a:cubicBezTo>
                    <a:cubicBezTo>
                      <a:pt x="896" y="158"/>
                      <a:pt x="896" y="186"/>
                      <a:pt x="914" y="196"/>
                    </a:cubicBezTo>
                    <a:cubicBezTo>
                      <a:pt x="919" y="199"/>
                      <a:pt x="923" y="202"/>
                      <a:pt x="928" y="204"/>
                    </a:cubicBezTo>
                    <a:cubicBezTo>
                      <a:pt x="934" y="207"/>
                      <a:pt x="941" y="210"/>
                      <a:pt x="946" y="214"/>
                    </a:cubicBezTo>
                    <a:cubicBezTo>
                      <a:pt x="952" y="218"/>
                      <a:pt x="953" y="223"/>
                      <a:pt x="952" y="230"/>
                    </a:cubicBezTo>
                    <a:cubicBezTo>
                      <a:pt x="951" y="236"/>
                      <a:pt x="947" y="239"/>
                      <a:pt x="942" y="241"/>
                    </a:cubicBezTo>
                    <a:cubicBezTo>
                      <a:pt x="941" y="241"/>
                      <a:pt x="940" y="241"/>
                      <a:pt x="939" y="242"/>
                    </a:cubicBezTo>
                    <a:cubicBezTo>
                      <a:pt x="926" y="244"/>
                      <a:pt x="914" y="241"/>
                      <a:pt x="903" y="234"/>
                    </a:cubicBezTo>
                    <a:cubicBezTo>
                      <a:pt x="902" y="233"/>
                      <a:pt x="901" y="232"/>
                      <a:pt x="900" y="231"/>
                    </a:cubicBezTo>
                    <a:cubicBezTo>
                      <a:pt x="900" y="238"/>
                      <a:pt x="900" y="244"/>
                      <a:pt x="900" y="251"/>
                    </a:cubicBezTo>
                    <a:close/>
                    <a:moveTo>
                      <a:pt x="2127" y="143"/>
                    </a:moveTo>
                    <a:cubicBezTo>
                      <a:pt x="2127" y="142"/>
                      <a:pt x="2127" y="141"/>
                      <a:pt x="2126" y="141"/>
                    </a:cubicBezTo>
                    <a:cubicBezTo>
                      <a:pt x="2124" y="140"/>
                      <a:pt x="2122" y="139"/>
                      <a:pt x="2121" y="139"/>
                    </a:cubicBezTo>
                    <a:cubicBezTo>
                      <a:pt x="2110" y="135"/>
                      <a:pt x="2100" y="135"/>
                      <a:pt x="2089" y="136"/>
                    </a:cubicBezTo>
                    <a:cubicBezTo>
                      <a:pt x="2069" y="139"/>
                      <a:pt x="2055" y="149"/>
                      <a:pt x="2046" y="167"/>
                    </a:cubicBezTo>
                    <a:cubicBezTo>
                      <a:pt x="2037" y="185"/>
                      <a:pt x="2036" y="204"/>
                      <a:pt x="2043" y="223"/>
                    </a:cubicBezTo>
                    <a:cubicBezTo>
                      <a:pt x="2048" y="239"/>
                      <a:pt x="2059" y="250"/>
                      <a:pt x="2075" y="255"/>
                    </a:cubicBezTo>
                    <a:cubicBezTo>
                      <a:pt x="2085" y="259"/>
                      <a:pt x="2095" y="259"/>
                      <a:pt x="2106" y="258"/>
                    </a:cubicBezTo>
                    <a:cubicBezTo>
                      <a:pt x="2112" y="257"/>
                      <a:pt x="2119" y="255"/>
                      <a:pt x="2124" y="252"/>
                    </a:cubicBezTo>
                    <a:cubicBezTo>
                      <a:pt x="2126" y="251"/>
                      <a:pt x="2127" y="250"/>
                      <a:pt x="2127" y="248"/>
                    </a:cubicBezTo>
                    <a:cubicBezTo>
                      <a:pt x="2127" y="244"/>
                      <a:pt x="2127" y="239"/>
                      <a:pt x="2127" y="235"/>
                    </a:cubicBezTo>
                    <a:cubicBezTo>
                      <a:pt x="2127" y="234"/>
                      <a:pt x="2127" y="234"/>
                      <a:pt x="2126" y="233"/>
                    </a:cubicBezTo>
                    <a:cubicBezTo>
                      <a:pt x="2125" y="233"/>
                      <a:pt x="2125" y="234"/>
                      <a:pt x="2124" y="234"/>
                    </a:cubicBezTo>
                    <a:cubicBezTo>
                      <a:pt x="2115" y="240"/>
                      <a:pt x="2105" y="243"/>
                      <a:pt x="2094" y="242"/>
                    </a:cubicBezTo>
                    <a:cubicBezTo>
                      <a:pt x="2078" y="241"/>
                      <a:pt x="2067" y="233"/>
                      <a:pt x="2061" y="218"/>
                    </a:cubicBezTo>
                    <a:cubicBezTo>
                      <a:pt x="2056" y="205"/>
                      <a:pt x="2057" y="191"/>
                      <a:pt x="2062" y="177"/>
                    </a:cubicBezTo>
                    <a:cubicBezTo>
                      <a:pt x="2067" y="164"/>
                      <a:pt x="2076" y="155"/>
                      <a:pt x="2090" y="152"/>
                    </a:cubicBezTo>
                    <a:cubicBezTo>
                      <a:pt x="2102" y="150"/>
                      <a:pt x="2113" y="152"/>
                      <a:pt x="2124" y="159"/>
                    </a:cubicBezTo>
                    <a:cubicBezTo>
                      <a:pt x="2125" y="159"/>
                      <a:pt x="2125" y="160"/>
                      <a:pt x="2127" y="160"/>
                    </a:cubicBezTo>
                    <a:cubicBezTo>
                      <a:pt x="2127" y="154"/>
                      <a:pt x="2127" y="149"/>
                      <a:pt x="2127" y="143"/>
                    </a:cubicBezTo>
                    <a:close/>
                    <a:moveTo>
                      <a:pt x="684" y="234"/>
                    </a:moveTo>
                    <a:cubicBezTo>
                      <a:pt x="675" y="240"/>
                      <a:pt x="665" y="243"/>
                      <a:pt x="654" y="242"/>
                    </a:cubicBezTo>
                    <a:cubicBezTo>
                      <a:pt x="639" y="241"/>
                      <a:pt x="628" y="234"/>
                      <a:pt x="622" y="220"/>
                    </a:cubicBezTo>
                    <a:cubicBezTo>
                      <a:pt x="615" y="205"/>
                      <a:pt x="616" y="189"/>
                      <a:pt x="623" y="174"/>
                    </a:cubicBezTo>
                    <a:cubicBezTo>
                      <a:pt x="628" y="162"/>
                      <a:pt x="638" y="154"/>
                      <a:pt x="651" y="152"/>
                    </a:cubicBezTo>
                    <a:cubicBezTo>
                      <a:pt x="663" y="150"/>
                      <a:pt x="673" y="153"/>
                      <a:pt x="683" y="159"/>
                    </a:cubicBezTo>
                    <a:cubicBezTo>
                      <a:pt x="684" y="159"/>
                      <a:pt x="685" y="160"/>
                      <a:pt x="687" y="160"/>
                    </a:cubicBezTo>
                    <a:cubicBezTo>
                      <a:pt x="687" y="156"/>
                      <a:pt x="687" y="151"/>
                      <a:pt x="687" y="146"/>
                    </a:cubicBezTo>
                    <a:cubicBezTo>
                      <a:pt x="687" y="141"/>
                      <a:pt x="687" y="141"/>
                      <a:pt x="682" y="139"/>
                    </a:cubicBezTo>
                    <a:cubicBezTo>
                      <a:pt x="671" y="135"/>
                      <a:pt x="660" y="135"/>
                      <a:pt x="649" y="136"/>
                    </a:cubicBezTo>
                    <a:cubicBezTo>
                      <a:pt x="629" y="139"/>
                      <a:pt x="615" y="149"/>
                      <a:pt x="606" y="166"/>
                    </a:cubicBezTo>
                    <a:cubicBezTo>
                      <a:pt x="596" y="185"/>
                      <a:pt x="595" y="205"/>
                      <a:pt x="603" y="225"/>
                    </a:cubicBezTo>
                    <a:cubicBezTo>
                      <a:pt x="609" y="241"/>
                      <a:pt x="621" y="251"/>
                      <a:pt x="637" y="256"/>
                    </a:cubicBezTo>
                    <a:cubicBezTo>
                      <a:pt x="647" y="259"/>
                      <a:pt x="658" y="259"/>
                      <a:pt x="669" y="257"/>
                    </a:cubicBezTo>
                    <a:cubicBezTo>
                      <a:pt x="674" y="256"/>
                      <a:pt x="680" y="254"/>
                      <a:pt x="685" y="251"/>
                    </a:cubicBezTo>
                    <a:cubicBezTo>
                      <a:pt x="686" y="251"/>
                      <a:pt x="686" y="250"/>
                      <a:pt x="686" y="249"/>
                    </a:cubicBezTo>
                    <a:cubicBezTo>
                      <a:pt x="686" y="244"/>
                      <a:pt x="686" y="238"/>
                      <a:pt x="686" y="233"/>
                    </a:cubicBezTo>
                    <a:cubicBezTo>
                      <a:pt x="685" y="233"/>
                      <a:pt x="685" y="234"/>
                      <a:pt x="684" y="234"/>
                    </a:cubicBezTo>
                    <a:close/>
                    <a:moveTo>
                      <a:pt x="769" y="139"/>
                    </a:moveTo>
                    <a:cubicBezTo>
                      <a:pt x="769" y="138"/>
                      <a:pt x="768" y="137"/>
                      <a:pt x="767" y="137"/>
                    </a:cubicBezTo>
                    <a:cubicBezTo>
                      <a:pt x="756" y="135"/>
                      <a:pt x="746" y="136"/>
                      <a:pt x="738" y="144"/>
                    </a:cubicBezTo>
                    <a:cubicBezTo>
                      <a:pt x="733" y="149"/>
                      <a:pt x="730" y="154"/>
                      <a:pt x="728" y="159"/>
                    </a:cubicBezTo>
                    <a:cubicBezTo>
                      <a:pt x="728" y="160"/>
                      <a:pt x="728" y="161"/>
                      <a:pt x="727" y="162"/>
                    </a:cubicBezTo>
                    <a:cubicBezTo>
                      <a:pt x="727" y="155"/>
                      <a:pt x="727" y="148"/>
                      <a:pt x="727" y="142"/>
                    </a:cubicBezTo>
                    <a:cubicBezTo>
                      <a:pt x="727" y="138"/>
                      <a:pt x="727" y="138"/>
                      <a:pt x="723" y="138"/>
                    </a:cubicBezTo>
                    <a:cubicBezTo>
                      <a:pt x="719" y="138"/>
                      <a:pt x="715" y="138"/>
                      <a:pt x="711" y="138"/>
                    </a:cubicBezTo>
                    <a:cubicBezTo>
                      <a:pt x="707" y="138"/>
                      <a:pt x="708" y="138"/>
                      <a:pt x="708" y="142"/>
                    </a:cubicBezTo>
                    <a:cubicBezTo>
                      <a:pt x="708" y="179"/>
                      <a:pt x="708" y="215"/>
                      <a:pt x="708" y="252"/>
                    </a:cubicBezTo>
                    <a:cubicBezTo>
                      <a:pt x="708" y="252"/>
                      <a:pt x="708" y="253"/>
                      <a:pt x="708" y="253"/>
                    </a:cubicBezTo>
                    <a:cubicBezTo>
                      <a:pt x="708" y="256"/>
                      <a:pt x="708" y="256"/>
                      <a:pt x="710" y="256"/>
                    </a:cubicBezTo>
                    <a:cubicBezTo>
                      <a:pt x="713" y="256"/>
                      <a:pt x="717" y="256"/>
                      <a:pt x="720" y="256"/>
                    </a:cubicBezTo>
                    <a:cubicBezTo>
                      <a:pt x="722" y="256"/>
                      <a:pt x="723" y="256"/>
                      <a:pt x="725" y="256"/>
                    </a:cubicBezTo>
                    <a:cubicBezTo>
                      <a:pt x="726" y="256"/>
                      <a:pt x="727" y="255"/>
                      <a:pt x="727" y="254"/>
                    </a:cubicBezTo>
                    <a:cubicBezTo>
                      <a:pt x="726" y="253"/>
                      <a:pt x="727" y="252"/>
                      <a:pt x="727" y="252"/>
                    </a:cubicBezTo>
                    <a:cubicBezTo>
                      <a:pt x="727" y="233"/>
                      <a:pt x="727" y="214"/>
                      <a:pt x="727" y="195"/>
                    </a:cubicBezTo>
                    <a:cubicBezTo>
                      <a:pt x="727" y="191"/>
                      <a:pt x="727" y="186"/>
                      <a:pt x="728" y="182"/>
                    </a:cubicBezTo>
                    <a:cubicBezTo>
                      <a:pt x="729" y="174"/>
                      <a:pt x="732" y="167"/>
                      <a:pt x="737" y="162"/>
                    </a:cubicBezTo>
                    <a:cubicBezTo>
                      <a:pt x="741" y="157"/>
                      <a:pt x="747" y="154"/>
                      <a:pt x="753" y="154"/>
                    </a:cubicBezTo>
                    <a:cubicBezTo>
                      <a:pt x="758" y="153"/>
                      <a:pt x="764" y="154"/>
                      <a:pt x="769" y="157"/>
                    </a:cubicBezTo>
                    <a:cubicBezTo>
                      <a:pt x="769" y="151"/>
                      <a:pt x="769" y="145"/>
                      <a:pt x="769" y="139"/>
                    </a:cubicBezTo>
                    <a:close/>
                    <a:moveTo>
                      <a:pt x="576" y="158"/>
                    </a:moveTo>
                    <a:cubicBezTo>
                      <a:pt x="576" y="152"/>
                      <a:pt x="576" y="146"/>
                      <a:pt x="576" y="141"/>
                    </a:cubicBezTo>
                    <a:cubicBezTo>
                      <a:pt x="576" y="138"/>
                      <a:pt x="576" y="138"/>
                      <a:pt x="573" y="138"/>
                    </a:cubicBezTo>
                    <a:cubicBezTo>
                      <a:pt x="569" y="138"/>
                      <a:pt x="565" y="138"/>
                      <a:pt x="560" y="138"/>
                    </a:cubicBezTo>
                    <a:cubicBezTo>
                      <a:pt x="557" y="138"/>
                      <a:pt x="557" y="138"/>
                      <a:pt x="557" y="141"/>
                    </a:cubicBezTo>
                    <a:cubicBezTo>
                      <a:pt x="557" y="141"/>
                      <a:pt x="557" y="141"/>
                      <a:pt x="557" y="142"/>
                    </a:cubicBezTo>
                    <a:cubicBezTo>
                      <a:pt x="557" y="179"/>
                      <a:pt x="557" y="215"/>
                      <a:pt x="557" y="252"/>
                    </a:cubicBezTo>
                    <a:cubicBezTo>
                      <a:pt x="557" y="253"/>
                      <a:pt x="557" y="254"/>
                      <a:pt x="557" y="254"/>
                    </a:cubicBezTo>
                    <a:cubicBezTo>
                      <a:pt x="557" y="255"/>
                      <a:pt x="558" y="256"/>
                      <a:pt x="559" y="256"/>
                    </a:cubicBezTo>
                    <a:cubicBezTo>
                      <a:pt x="564" y="256"/>
                      <a:pt x="569" y="256"/>
                      <a:pt x="575" y="256"/>
                    </a:cubicBezTo>
                    <a:cubicBezTo>
                      <a:pt x="576" y="256"/>
                      <a:pt x="576" y="255"/>
                      <a:pt x="576" y="254"/>
                    </a:cubicBezTo>
                    <a:cubicBezTo>
                      <a:pt x="576" y="254"/>
                      <a:pt x="576" y="253"/>
                      <a:pt x="576" y="252"/>
                    </a:cubicBezTo>
                    <a:cubicBezTo>
                      <a:pt x="576" y="234"/>
                      <a:pt x="576" y="216"/>
                      <a:pt x="576" y="197"/>
                    </a:cubicBezTo>
                    <a:cubicBezTo>
                      <a:pt x="576" y="184"/>
                      <a:pt x="576" y="171"/>
                      <a:pt x="576" y="158"/>
                    </a:cubicBezTo>
                    <a:close/>
                    <a:moveTo>
                      <a:pt x="2013" y="256"/>
                    </a:moveTo>
                    <a:cubicBezTo>
                      <a:pt x="2017" y="256"/>
                      <a:pt x="2017" y="256"/>
                      <a:pt x="2017" y="252"/>
                    </a:cubicBezTo>
                    <a:cubicBezTo>
                      <a:pt x="2017" y="215"/>
                      <a:pt x="2017" y="179"/>
                      <a:pt x="2017" y="142"/>
                    </a:cubicBezTo>
                    <a:cubicBezTo>
                      <a:pt x="2017" y="141"/>
                      <a:pt x="2017" y="141"/>
                      <a:pt x="2017" y="140"/>
                    </a:cubicBezTo>
                    <a:cubicBezTo>
                      <a:pt x="2017" y="139"/>
                      <a:pt x="2016" y="138"/>
                      <a:pt x="2015" y="138"/>
                    </a:cubicBezTo>
                    <a:cubicBezTo>
                      <a:pt x="2010" y="138"/>
                      <a:pt x="2006" y="138"/>
                      <a:pt x="2002" y="138"/>
                    </a:cubicBezTo>
                    <a:cubicBezTo>
                      <a:pt x="1997" y="138"/>
                      <a:pt x="1998" y="137"/>
                      <a:pt x="1998" y="142"/>
                    </a:cubicBezTo>
                    <a:cubicBezTo>
                      <a:pt x="1998" y="179"/>
                      <a:pt x="1998" y="215"/>
                      <a:pt x="1998" y="252"/>
                    </a:cubicBezTo>
                    <a:cubicBezTo>
                      <a:pt x="1998" y="253"/>
                      <a:pt x="1998" y="254"/>
                      <a:pt x="1998" y="256"/>
                    </a:cubicBezTo>
                    <a:cubicBezTo>
                      <a:pt x="2003" y="256"/>
                      <a:pt x="2008" y="256"/>
                      <a:pt x="2013" y="256"/>
                    </a:cubicBezTo>
                    <a:close/>
                    <a:moveTo>
                      <a:pt x="1995" y="100"/>
                    </a:moveTo>
                    <a:cubicBezTo>
                      <a:pt x="1995" y="107"/>
                      <a:pt x="2000" y="112"/>
                      <a:pt x="2008" y="112"/>
                    </a:cubicBezTo>
                    <a:cubicBezTo>
                      <a:pt x="2015" y="112"/>
                      <a:pt x="2020" y="107"/>
                      <a:pt x="2020" y="100"/>
                    </a:cubicBezTo>
                    <a:cubicBezTo>
                      <a:pt x="2020" y="93"/>
                      <a:pt x="2015" y="87"/>
                      <a:pt x="2008" y="87"/>
                    </a:cubicBezTo>
                    <a:cubicBezTo>
                      <a:pt x="2001" y="87"/>
                      <a:pt x="1995" y="93"/>
                      <a:pt x="1995" y="100"/>
                    </a:cubicBezTo>
                    <a:close/>
                    <a:moveTo>
                      <a:pt x="555" y="100"/>
                    </a:moveTo>
                    <a:cubicBezTo>
                      <a:pt x="555" y="107"/>
                      <a:pt x="560" y="112"/>
                      <a:pt x="567" y="112"/>
                    </a:cubicBezTo>
                    <a:cubicBezTo>
                      <a:pt x="574" y="112"/>
                      <a:pt x="580" y="107"/>
                      <a:pt x="580" y="100"/>
                    </a:cubicBezTo>
                    <a:cubicBezTo>
                      <a:pt x="580" y="93"/>
                      <a:pt x="574" y="87"/>
                      <a:pt x="567" y="87"/>
                    </a:cubicBezTo>
                    <a:cubicBezTo>
                      <a:pt x="560" y="87"/>
                      <a:pt x="555" y="93"/>
                      <a:pt x="555" y="100"/>
                    </a:cubicBezTo>
                    <a:close/>
                    <a:moveTo>
                      <a:pt x="12" y="250"/>
                    </a:moveTo>
                    <a:cubicBezTo>
                      <a:pt x="12" y="250"/>
                      <a:pt x="12" y="250"/>
                      <a:pt x="12" y="250"/>
                    </a:cubicBezTo>
                    <a:cubicBezTo>
                      <a:pt x="16" y="249"/>
                      <a:pt x="19" y="248"/>
                      <a:pt x="22" y="246"/>
                    </a:cubicBezTo>
                    <a:cubicBezTo>
                      <a:pt x="22" y="246"/>
                      <a:pt x="21" y="246"/>
                      <a:pt x="21" y="245"/>
                    </a:cubicBezTo>
                    <a:cubicBezTo>
                      <a:pt x="18" y="246"/>
                      <a:pt x="15" y="248"/>
                      <a:pt x="12" y="250"/>
                    </a:cubicBezTo>
                    <a:cubicBezTo>
                      <a:pt x="12" y="250"/>
                      <a:pt x="12" y="250"/>
                      <a:pt x="12" y="250"/>
                    </a:cubicBezTo>
                    <a:close/>
                    <a:moveTo>
                      <a:pt x="22" y="240"/>
                    </a:moveTo>
                    <a:cubicBezTo>
                      <a:pt x="21" y="241"/>
                      <a:pt x="21" y="241"/>
                      <a:pt x="20" y="242"/>
                    </a:cubicBezTo>
                    <a:cubicBezTo>
                      <a:pt x="20" y="242"/>
                      <a:pt x="20" y="242"/>
                      <a:pt x="21" y="242"/>
                    </a:cubicBezTo>
                    <a:cubicBezTo>
                      <a:pt x="22" y="242"/>
                      <a:pt x="22" y="242"/>
                      <a:pt x="23" y="241"/>
                    </a:cubicBezTo>
                    <a:cubicBezTo>
                      <a:pt x="22" y="241"/>
                      <a:pt x="22" y="241"/>
                      <a:pt x="22" y="240"/>
                    </a:cubicBezTo>
                    <a:close/>
                    <a:moveTo>
                      <a:pt x="6" y="253"/>
                    </a:moveTo>
                    <a:cubicBezTo>
                      <a:pt x="6" y="253"/>
                      <a:pt x="6" y="253"/>
                      <a:pt x="6" y="253"/>
                    </a:cubicBezTo>
                    <a:cubicBezTo>
                      <a:pt x="6" y="253"/>
                      <a:pt x="6" y="253"/>
                      <a:pt x="6" y="253"/>
                    </a:cubicBezTo>
                    <a:cubicBezTo>
                      <a:pt x="6" y="252"/>
                      <a:pt x="6" y="252"/>
                      <a:pt x="6" y="252"/>
                    </a:cubicBezTo>
                    <a:cubicBezTo>
                      <a:pt x="6" y="252"/>
                      <a:pt x="5" y="252"/>
                      <a:pt x="5" y="252"/>
                    </a:cubicBezTo>
                    <a:cubicBezTo>
                      <a:pt x="4" y="253"/>
                      <a:pt x="3" y="254"/>
                      <a:pt x="2" y="255"/>
                    </a:cubicBezTo>
                    <a:cubicBezTo>
                      <a:pt x="3" y="255"/>
                      <a:pt x="4" y="255"/>
                      <a:pt x="5" y="254"/>
                    </a:cubicBezTo>
                    <a:cubicBezTo>
                      <a:pt x="5" y="253"/>
                      <a:pt x="6" y="253"/>
                      <a:pt x="6" y="253"/>
                    </a:cubicBezTo>
                    <a:close/>
                    <a:moveTo>
                      <a:pt x="17" y="243"/>
                    </a:moveTo>
                    <a:cubicBezTo>
                      <a:pt x="16" y="244"/>
                      <a:pt x="15" y="245"/>
                      <a:pt x="14" y="246"/>
                    </a:cubicBezTo>
                    <a:cubicBezTo>
                      <a:pt x="14" y="246"/>
                      <a:pt x="14" y="246"/>
                      <a:pt x="14" y="246"/>
                    </a:cubicBezTo>
                    <a:cubicBezTo>
                      <a:pt x="14" y="246"/>
                      <a:pt x="14" y="246"/>
                      <a:pt x="14" y="246"/>
                    </a:cubicBezTo>
                    <a:cubicBezTo>
                      <a:pt x="15" y="246"/>
                      <a:pt x="17" y="245"/>
                      <a:pt x="18" y="244"/>
                    </a:cubicBezTo>
                    <a:cubicBezTo>
                      <a:pt x="18" y="244"/>
                      <a:pt x="17" y="244"/>
                      <a:pt x="17" y="243"/>
                    </a:cubicBezTo>
                    <a:close/>
                    <a:moveTo>
                      <a:pt x="20" y="243"/>
                    </a:moveTo>
                    <a:cubicBezTo>
                      <a:pt x="20" y="243"/>
                      <a:pt x="21" y="242"/>
                      <a:pt x="21" y="242"/>
                    </a:cubicBezTo>
                    <a:cubicBezTo>
                      <a:pt x="21" y="242"/>
                      <a:pt x="21" y="242"/>
                      <a:pt x="21" y="242"/>
                    </a:cubicBezTo>
                    <a:cubicBezTo>
                      <a:pt x="21" y="242"/>
                      <a:pt x="20" y="242"/>
                      <a:pt x="20" y="242"/>
                    </a:cubicBezTo>
                    <a:cubicBezTo>
                      <a:pt x="19" y="242"/>
                      <a:pt x="18" y="243"/>
                      <a:pt x="17" y="243"/>
                    </a:cubicBezTo>
                    <a:cubicBezTo>
                      <a:pt x="17" y="244"/>
                      <a:pt x="18" y="244"/>
                      <a:pt x="18" y="244"/>
                    </a:cubicBezTo>
                    <a:cubicBezTo>
                      <a:pt x="19" y="244"/>
                      <a:pt x="19" y="243"/>
                      <a:pt x="20" y="243"/>
                    </a:cubicBezTo>
                    <a:close/>
                    <a:moveTo>
                      <a:pt x="10" y="249"/>
                    </a:moveTo>
                    <a:cubicBezTo>
                      <a:pt x="10" y="249"/>
                      <a:pt x="10" y="249"/>
                      <a:pt x="10" y="248"/>
                    </a:cubicBezTo>
                    <a:cubicBezTo>
                      <a:pt x="9" y="249"/>
                      <a:pt x="8" y="249"/>
                      <a:pt x="8" y="250"/>
                    </a:cubicBezTo>
                    <a:cubicBezTo>
                      <a:pt x="9" y="250"/>
                      <a:pt x="9" y="250"/>
                      <a:pt x="10" y="249"/>
                    </a:cubicBezTo>
                    <a:cubicBezTo>
                      <a:pt x="10" y="249"/>
                      <a:pt x="10" y="249"/>
                      <a:pt x="10" y="249"/>
                    </a:cubicBezTo>
                    <a:close/>
                    <a:moveTo>
                      <a:pt x="7" y="250"/>
                    </a:moveTo>
                    <a:cubicBezTo>
                      <a:pt x="7" y="251"/>
                      <a:pt x="6" y="251"/>
                      <a:pt x="6" y="252"/>
                    </a:cubicBezTo>
                    <a:cubicBezTo>
                      <a:pt x="6" y="252"/>
                      <a:pt x="6" y="252"/>
                      <a:pt x="6" y="252"/>
                    </a:cubicBezTo>
                    <a:cubicBezTo>
                      <a:pt x="6" y="252"/>
                      <a:pt x="6" y="252"/>
                      <a:pt x="6" y="252"/>
                    </a:cubicBezTo>
                    <a:cubicBezTo>
                      <a:pt x="7" y="252"/>
                      <a:pt x="7" y="252"/>
                      <a:pt x="7" y="252"/>
                    </a:cubicBezTo>
                    <a:cubicBezTo>
                      <a:pt x="7" y="252"/>
                      <a:pt x="7" y="251"/>
                      <a:pt x="7" y="251"/>
                    </a:cubicBezTo>
                    <a:cubicBezTo>
                      <a:pt x="8" y="251"/>
                      <a:pt x="8" y="250"/>
                      <a:pt x="7" y="250"/>
                    </a:cubicBezTo>
                    <a:close/>
                    <a:moveTo>
                      <a:pt x="14" y="246"/>
                    </a:moveTo>
                    <a:cubicBezTo>
                      <a:pt x="14" y="246"/>
                      <a:pt x="14" y="246"/>
                      <a:pt x="13" y="246"/>
                    </a:cubicBezTo>
                    <a:cubicBezTo>
                      <a:pt x="13" y="246"/>
                      <a:pt x="12" y="246"/>
                      <a:pt x="12" y="247"/>
                    </a:cubicBezTo>
                    <a:cubicBezTo>
                      <a:pt x="12" y="247"/>
                      <a:pt x="12" y="247"/>
                      <a:pt x="12" y="247"/>
                    </a:cubicBezTo>
                    <a:cubicBezTo>
                      <a:pt x="12" y="247"/>
                      <a:pt x="12" y="247"/>
                      <a:pt x="12" y="248"/>
                    </a:cubicBezTo>
                    <a:cubicBezTo>
                      <a:pt x="13" y="247"/>
                      <a:pt x="13" y="247"/>
                      <a:pt x="13" y="247"/>
                    </a:cubicBezTo>
                    <a:cubicBezTo>
                      <a:pt x="14" y="247"/>
                      <a:pt x="14" y="247"/>
                      <a:pt x="14" y="246"/>
                    </a:cubicBezTo>
                    <a:close/>
                    <a:moveTo>
                      <a:pt x="12" y="247"/>
                    </a:moveTo>
                    <a:cubicBezTo>
                      <a:pt x="11" y="247"/>
                      <a:pt x="11" y="248"/>
                      <a:pt x="10" y="248"/>
                    </a:cubicBezTo>
                    <a:cubicBezTo>
                      <a:pt x="10" y="248"/>
                      <a:pt x="10" y="248"/>
                      <a:pt x="10" y="248"/>
                    </a:cubicBezTo>
                    <a:cubicBezTo>
                      <a:pt x="10" y="249"/>
                      <a:pt x="10" y="249"/>
                      <a:pt x="10" y="249"/>
                    </a:cubicBezTo>
                    <a:cubicBezTo>
                      <a:pt x="11" y="249"/>
                      <a:pt x="11" y="248"/>
                      <a:pt x="12" y="248"/>
                    </a:cubicBezTo>
                    <a:cubicBezTo>
                      <a:pt x="12" y="248"/>
                      <a:pt x="12" y="247"/>
                      <a:pt x="12" y="247"/>
                    </a:cubicBezTo>
                    <a:close/>
                    <a:moveTo>
                      <a:pt x="10" y="251"/>
                    </a:moveTo>
                    <a:cubicBezTo>
                      <a:pt x="10" y="251"/>
                      <a:pt x="11" y="251"/>
                      <a:pt x="11" y="251"/>
                    </a:cubicBezTo>
                    <a:cubicBezTo>
                      <a:pt x="12" y="251"/>
                      <a:pt x="12" y="251"/>
                      <a:pt x="12" y="250"/>
                    </a:cubicBezTo>
                    <a:cubicBezTo>
                      <a:pt x="12" y="250"/>
                      <a:pt x="12" y="250"/>
                      <a:pt x="12" y="250"/>
                    </a:cubicBezTo>
                    <a:cubicBezTo>
                      <a:pt x="11" y="250"/>
                      <a:pt x="11" y="250"/>
                      <a:pt x="10" y="251"/>
                    </a:cubicBezTo>
                    <a:close/>
                    <a:moveTo>
                      <a:pt x="9" y="251"/>
                    </a:moveTo>
                    <a:cubicBezTo>
                      <a:pt x="9" y="251"/>
                      <a:pt x="9" y="251"/>
                      <a:pt x="9" y="251"/>
                    </a:cubicBezTo>
                    <a:cubicBezTo>
                      <a:pt x="9" y="252"/>
                      <a:pt x="9" y="252"/>
                      <a:pt x="9" y="252"/>
                    </a:cubicBezTo>
                    <a:cubicBezTo>
                      <a:pt x="10" y="252"/>
                      <a:pt x="11" y="251"/>
                      <a:pt x="11" y="251"/>
                    </a:cubicBezTo>
                    <a:cubicBezTo>
                      <a:pt x="11" y="251"/>
                      <a:pt x="10" y="251"/>
                      <a:pt x="10" y="251"/>
                    </a:cubicBezTo>
                    <a:cubicBezTo>
                      <a:pt x="10" y="251"/>
                      <a:pt x="9" y="251"/>
                      <a:pt x="9" y="251"/>
                    </a:cubicBezTo>
                    <a:close/>
                    <a:moveTo>
                      <a:pt x="7" y="252"/>
                    </a:moveTo>
                    <a:cubicBezTo>
                      <a:pt x="7" y="252"/>
                      <a:pt x="7" y="253"/>
                      <a:pt x="7" y="253"/>
                    </a:cubicBezTo>
                    <a:cubicBezTo>
                      <a:pt x="8" y="253"/>
                      <a:pt x="8" y="252"/>
                      <a:pt x="9" y="252"/>
                    </a:cubicBezTo>
                    <a:cubicBezTo>
                      <a:pt x="9" y="252"/>
                      <a:pt x="9" y="252"/>
                      <a:pt x="9" y="252"/>
                    </a:cubicBezTo>
                    <a:cubicBezTo>
                      <a:pt x="9" y="252"/>
                      <a:pt x="9" y="252"/>
                      <a:pt x="9" y="251"/>
                    </a:cubicBezTo>
                    <a:cubicBezTo>
                      <a:pt x="8" y="252"/>
                      <a:pt x="8" y="252"/>
                      <a:pt x="7" y="252"/>
                    </a:cubicBezTo>
                    <a:cubicBezTo>
                      <a:pt x="7" y="252"/>
                      <a:pt x="7" y="252"/>
                      <a:pt x="7" y="252"/>
                    </a:cubicBezTo>
                    <a:close/>
                    <a:moveTo>
                      <a:pt x="7" y="252"/>
                    </a:moveTo>
                    <a:cubicBezTo>
                      <a:pt x="7" y="252"/>
                      <a:pt x="7" y="252"/>
                      <a:pt x="7" y="252"/>
                    </a:cubicBezTo>
                    <a:cubicBezTo>
                      <a:pt x="7" y="252"/>
                      <a:pt x="6" y="252"/>
                      <a:pt x="6" y="253"/>
                    </a:cubicBezTo>
                    <a:cubicBezTo>
                      <a:pt x="6" y="253"/>
                      <a:pt x="6" y="253"/>
                      <a:pt x="6" y="253"/>
                    </a:cubicBezTo>
                    <a:cubicBezTo>
                      <a:pt x="7" y="253"/>
                      <a:pt x="7" y="253"/>
                      <a:pt x="7" y="253"/>
                    </a:cubicBezTo>
                    <a:cubicBezTo>
                      <a:pt x="7" y="252"/>
                      <a:pt x="7" y="252"/>
                      <a:pt x="7" y="252"/>
                    </a:cubicBezTo>
                    <a:cubicBezTo>
                      <a:pt x="7" y="252"/>
                      <a:pt x="7" y="252"/>
                      <a:pt x="7" y="252"/>
                    </a:cubicBezTo>
                    <a:close/>
                    <a:moveTo>
                      <a:pt x="6" y="253"/>
                    </a:moveTo>
                    <a:cubicBezTo>
                      <a:pt x="6" y="253"/>
                      <a:pt x="5" y="253"/>
                      <a:pt x="5" y="254"/>
                    </a:cubicBezTo>
                    <a:cubicBezTo>
                      <a:pt x="5" y="254"/>
                      <a:pt x="6" y="254"/>
                      <a:pt x="6" y="253"/>
                    </a:cubicBezTo>
                    <a:close/>
                    <a:moveTo>
                      <a:pt x="14" y="246"/>
                    </a:moveTo>
                    <a:cubicBezTo>
                      <a:pt x="14" y="246"/>
                      <a:pt x="14" y="246"/>
                      <a:pt x="14" y="246"/>
                    </a:cubicBezTo>
                    <a:cubicBezTo>
                      <a:pt x="14" y="246"/>
                      <a:pt x="14" y="246"/>
                      <a:pt x="13" y="246"/>
                    </a:cubicBezTo>
                    <a:cubicBezTo>
                      <a:pt x="13" y="246"/>
                      <a:pt x="13" y="246"/>
                      <a:pt x="13" y="247"/>
                    </a:cubicBezTo>
                    <a:cubicBezTo>
                      <a:pt x="14" y="247"/>
                      <a:pt x="14" y="246"/>
                      <a:pt x="14" y="246"/>
                    </a:cubicBezTo>
                    <a:close/>
                    <a:moveTo>
                      <a:pt x="12" y="248"/>
                    </a:moveTo>
                    <a:cubicBezTo>
                      <a:pt x="12" y="247"/>
                      <a:pt x="12" y="247"/>
                      <a:pt x="12" y="247"/>
                    </a:cubicBezTo>
                    <a:cubicBezTo>
                      <a:pt x="12" y="247"/>
                      <a:pt x="12" y="247"/>
                      <a:pt x="12" y="247"/>
                    </a:cubicBezTo>
                    <a:cubicBezTo>
                      <a:pt x="12" y="247"/>
                      <a:pt x="12" y="248"/>
                      <a:pt x="12" y="248"/>
                    </a:cubicBezTo>
                    <a:cubicBezTo>
                      <a:pt x="12" y="248"/>
                      <a:pt x="12" y="248"/>
                      <a:pt x="12" y="248"/>
                    </a:cubicBezTo>
                    <a:close/>
                    <a:moveTo>
                      <a:pt x="10" y="248"/>
                    </a:moveTo>
                    <a:cubicBezTo>
                      <a:pt x="10" y="249"/>
                      <a:pt x="10" y="249"/>
                      <a:pt x="10" y="249"/>
                    </a:cubicBezTo>
                    <a:cubicBezTo>
                      <a:pt x="10" y="249"/>
                      <a:pt x="10" y="249"/>
                      <a:pt x="10" y="249"/>
                    </a:cubicBezTo>
                    <a:cubicBezTo>
                      <a:pt x="10" y="249"/>
                      <a:pt x="10" y="248"/>
                      <a:pt x="10" y="248"/>
                    </a:cubicBezTo>
                    <a:cubicBezTo>
                      <a:pt x="10" y="248"/>
                      <a:pt x="10" y="248"/>
                      <a:pt x="10" y="248"/>
                    </a:cubicBezTo>
                    <a:close/>
                    <a:moveTo>
                      <a:pt x="8" y="250"/>
                    </a:moveTo>
                    <a:cubicBezTo>
                      <a:pt x="8" y="250"/>
                      <a:pt x="8" y="250"/>
                      <a:pt x="7" y="250"/>
                    </a:cubicBezTo>
                    <a:cubicBezTo>
                      <a:pt x="7" y="250"/>
                      <a:pt x="7" y="251"/>
                      <a:pt x="7" y="251"/>
                    </a:cubicBezTo>
                    <a:cubicBezTo>
                      <a:pt x="8" y="251"/>
                      <a:pt x="8" y="251"/>
                      <a:pt x="8" y="250"/>
                    </a:cubicBezTo>
                    <a:close/>
                    <a:moveTo>
                      <a:pt x="9" y="252"/>
                    </a:moveTo>
                    <a:cubicBezTo>
                      <a:pt x="9" y="252"/>
                      <a:pt x="9" y="251"/>
                      <a:pt x="9" y="251"/>
                    </a:cubicBezTo>
                    <a:cubicBezTo>
                      <a:pt x="9" y="251"/>
                      <a:pt x="9" y="251"/>
                      <a:pt x="9" y="251"/>
                    </a:cubicBezTo>
                    <a:cubicBezTo>
                      <a:pt x="9" y="252"/>
                      <a:pt x="9" y="252"/>
                      <a:pt x="9" y="252"/>
                    </a:cubicBezTo>
                    <a:cubicBezTo>
                      <a:pt x="9" y="252"/>
                      <a:pt x="9" y="252"/>
                      <a:pt x="9" y="252"/>
                    </a:cubicBezTo>
                    <a:close/>
                    <a:moveTo>
                      <a:pt x="6" y="252"/>
                    </a:moveTo>
                    <a:cubicBezTo>
                      <a:pt x="6" y="252"/>
                      <a:pt x="6" y="252"/>
                      <a:pt x="6" y="252"/>
                    </a:cubicBezTo>
                    <a:cubicBezTo>
                      <a:pt x="6" y="252"/>
                      <a:pt x="6" y="252"/>
                      <a:pt x="6" y="252"/>
                    </a:cubicBezTo>
                    <a:cubicBezTo>
                      <a:pt x="5" y="252"/>
                      <a:pt x="5" y="252"/>
                      <a:pt x="5" y="252"/>
                    </a:cubicBezTo>
                    <a:cubicBezTo>
                      <a:pt x="5" y="252"/>
                      <a:pt x="5" y="252"/>
                      <a:pt x="5" y="253"/>
                    </a:cubicBezTo>
                    <a:cubicBezTo>
                      <a:pt x="6" y="253"/>
                      <a:pt x="6" y="252"/>
                      <a:pt x="6" y="252"/>
                    </a:cubicBezTo>
                    <a:close/>
                    <a:moveTo>
                      <a:pt x="21" y="242"/>
                    </a:moveTo>
                    <a:cubicBezTo>
                      <a:pt x="21" y="242"/>
                      <a:pt x="20" y="243"/>
                      <a:pt x="20" y="243"/>
                    </a:cubicBezTo>
                    <a:cubicBezTo>
                      <a:pt x="20" y="243"/>
                      <a:pt x="21" y="243"/>
                      <a:pt x="21" y="242"/>
                    </a:cubicBezTo>
                    <a:close/>
                    <a:moveTo>
                      <a:pt x="6" y="253"/>
                    </a:moveTo>
                    <a:cubicBezTo>
                      <a:pt x="6" y="252"/>
                      <a:pt x="7" y="252"/>
                      <a:pt x="7" y="252"/>
                    </a:cubicBezTo>
                    <a:cubicBezTo>
                      <a:pt x="6" y="252"/>
                      <a:pt x="6" y="252"/>
                      <a:pt x="6" y="252"/>
                    </a:cubicBezTo>
                    <a:cubicBezTo>
                      <a:pt x="6" y="252"/>
                      <a:pt x="5" y="252"/>
                      <a:pt x="5" y="253"/>
                    </a:cubicBezTo>
                    <a:cubicBezTo>
                      <a:pt x="6" y="253"/>
                      <a:pt x="6" y="253"/>
                      <a:pt x="6" y="253"/>
                    </a:cubicBezTo>
                    <a:close/>
                    <a:moveTo>
                      <a:pt x="1433" y="197"/>
                    </a:moveTo>
                    <a:cubicBezTo>
                      <a:pt x="1425" y="224"/>
                      <a:pt x="1408" y="241"/>
                      <a:pt x="1383" y="250"/>
                    </a:cubicBezTo>
                    <a:cubicBezTo>
                      <a:pt x="1372" y="254"/>
                      <a:pt x="1361" y="256"/>
                      <a:pt x="1350" y="256"/>
                    </a:cubicBezTo>
                    <a:cubicBezTo>
                      <a:pt x="1335" y="256"/>
                      <a:pt x="1321" y="256"/>
                      <a:pt x="1307" y="256"/>
                    </a:cubicBezTo>
                    <a:cubicBezTo>
                      <a:pt x="1306" y="256"/>
                      <a:pt x="1306" y="256"/>
                      <a:pt x="1305" y="256"/>
                    </a:cubicBezTo>
                    <a:cubicBezTo>
                      <a:pt x="1304" y="256"/>
                      <a:pt x="1304" y="255"/>
                      <a:pt x="1304" y="254"/>
                    </a:cubicBezTo>
                    <a:cubicBezTo>
                      <a:pt x="1304" y="253"/>
                      <a:pt x="1304" y="253"/>
                      <a:pt x="1304" y="252"/>
                    </a:cubicBezTo>
                    <a:cubicBezTo>
                      <a:pt x="1304" y="226"/>
                      <a:pt x="1304" y="199"/>
                      <a:pt x="1304" y="173"/>
                    </a:cubicBezTo>
                    <a:cubicBezTo>
                      <a:pt x="1304" y="147"/>
                      <a:pt x="1304" y="122"/>
                      <a:pt x="1304" y="96"/>
                    </a:cubicBezTo>
                    <a:cubicBezTo>
                      <a:pt x="1304" y="95"/>
                      <a:pt x="1304" y="94"/>
                      <a:pt x="1304" y="94"/>
                    </a:cubicBezTo>
                    <a:cubicBezTo>
                      <a:pt x="1304" y="91"/>
                      <a:pt x="1304" y="91"/>
                      <a:pt x="1307" y="91"/>
                    </a:cubicBezTo>
                    <a:cubicBezTo>
                      <a:pt x="1322" y="91"/>
                      <a:pt x="1338" y="91"/>
                      <a:pt x="1353" y="91"/>
                    </a:cubicBezTo>
                    <a:cubicBezTo>
                      <a:pt x="1366" y="92"/>
                      <a:pt x="1378" y="93"/>
                      <a:pt x="1390" y="97"/>
                    </a:cubicBezTo>
                    <a:cubicBezTo>
                      <a:pt x="1412" y="105"/>
                      <a:pt x="1426" y="120"/>
                      <a:pt x="1432" y="142"/>
                    </a:cubicBezTo>
                    <a:cubicBezTo>
                      <a:pt x="1437" y="160"/>
                      <a:pt x="1438" y="179"/>
                      <a:pt x="1433" y="197"/>
                    </a:cubicBezTo>
                    <a:close/>
                    <a:moveTo>
                      <a:pt x="1412" y="147"/>
                    </a:moveTo>
                    <a:cubicBezTo>
                      <a:pt x="1408" y="131"/>
                      <a:pt x="1397" y="120"/>
                      <a:pt x="1381" y="114"/>
                    </a:cubicBezTo>
                    <a:cubicBezTo>
                      <a:pt x="1372" y="110"/>
                      <a:pt x="1363" y="109"/>
                      <a:pt x="1353" y="109"/>
                    </a:cubicBezTo>
                    <a:cubicBezTo>
                      <a:pt x="1344" y="109"/>
                      <a:pt x="1335" y="109"/>
                      <a:pt x="1326" y="109"/>
                    </a:cubicBezTo>
                    <a:cubicBezTo>
                      <a:pt x="1325" y="109"/>
                      <a:pt x="1325" y="109"/>
                      <a:pt x="1325" y="109"/>
                    </a:cubicBezTo>
                    <a:cubicBezTo>
                      <a:pt x="1324" y="109"/>
                      <a:pt x="1323" y="109"/>
                      <a:pt x="1323" y="110"/>
                    </a:cubicBezTo>
                    <a:cubicBezTo>
                      <a:pt x="1323" y="111"/>
                      <a:pt x="1323" y="112"/>
                      <a:pt x="1323" y="112"/>
                    </a:cubicBezTo>
                    <a:cubicBezTo>
                      <a:pt x="1323" y="133"/>
                      <a:pt x="1323" y="153"/>
                      <a:pt x="1323" y="173"/>
                    </a:cubicBezTo>
                    <a:cubicBezTo>
                      <a:pt x="1323" y="194"/>
                      <a:pt x="1323" y="215"/>
                      <a:pt x="1323" y="235"/>
                    </a:cubicBezTo>
                    <a:cubicBezTo>
                      <a:pt x="1323" y="238"/>
                      <a:pt x="1323" y="238"/>
                      <a:pt x="1326" y="238"/>
                    </a:cubicBezTo>
                    <a:cubicBezTo>
                      <a:pt x="1333" y="238"/>
                      <a:pt x="1339" y="238"/>
                      <a:pt x="1346" y="238"/>
                    </a:cubicBezTo>
                    <a:cubicBezTo>
                      <a:pt x="1354" y="238"/>
                      <a:pt x="1363" y="238"/>
                      <a:pt x="1371" y="236"/>
                    </a:cubicBezTo>
                    <a:cubicBezTo>
                      <a:pt x="1391" y="230"/>
                      <a:pt x="1406" y="218"/>
                      <a:pt x="1412" y="198"/>
                    </a:cubicBezTo>
                    <a:cubicBezTo>
                      <a:pt x="1417" y="181"/>
                      <a:pt x="1417" y="164"/>
                      <a:pt x="1412" y="147"/>
                    </a:cubicBezTo>
                    <a:close/>
                    <a:moveTo>
                      <a:pt x="1772" y="256"/>
                    </a:moveTo>
                    <a:cubicBezTo>
                      <a:pt x="1769" y="256"/>
                      <a:pt x="1765" y="256"/>
                      <a:pt x="1762" y="256"/>
                    </a:cubicBezTo>
                    <a:cubicBezTo>
                      <a:pt x="1760" y="256"/>
                      <a:pt x="1757" y="256"/>
                      <a:pt x="1756" y="255"/>
                    </a:cubicBezTo>
                    <a:cubicBezTo>
                      <a:pt x="1755" y="254"/>
                      <a:pt x="1756" y="251"/>
                      <a:pt x="1756" y="249"/>
                    </a:cubicBezTo>
                    <a:cubicBezTo>
                      <a:pt x="1756" y="245"/>
                      <a:pt x="1756" y="242"/>
                      <a:pt x="1756" y="238"/>
                    </a:cubicBezTo>
                    <a:cubicBezTo>
                      <a:pt x="1754" y="238"/>
                      <a:pt x="1754" y="239"/>
                      <a:pt x="1754" y="240"/>
                    </a:cubicBezTo>
                    <a:cubicBezTo>
                      <a:pt x="1749" y="248"/>
                      <a:pt x="1742" y="254"/>
                      <a:pt x="1733" y="256"/>
                    </a:cubicBezTo>
                    <a:cubicBezTo>
                      <a:pt x="1723" y="260"/>
                      <a:pt x="1713" y="259"/>
                      <a:pt x="1703" y="256"/>
                    </a:cubicBezTo>
                    <a:cubicBezTo>
                      <a:pt x="1690" y="251"/>
                      <a:pt x="1682" y="240"/>
                      <a:pt x="1682" y="226"/>
                    </a:cubicBezTo>
                    <a:cubicBezTo>
                      <a:pt x="1682" y="222"/>
                      <a:pt x="1682" y="217"/>
                      <a:pt x="1683" y="213"/>
                    </a:cubicBezTo>
                    <a:cubicBezTo>
                      <a:pt x="1685" y="203"/>
                      <a:pt x="1692" y="196"/>
                      <a:pt x="1701" y="192"/>
                    </a:cubicBezTo>
                    <a:cubicBezTo>
                      <a:pt x="1707" y="189"/>
                      <a:pt x="1714" y="187"/>
                      <a:pt x="1721" y="186"/>
                    </a:cubicBezTo>
                    <a:cubicBezTo>
                      <a:pt x="1731" y="185"/>
                      <a:pt x="1742" y="183"/>
                      <a:pt x="1752" y="182"/>
                    </a:cubicBezTo>
                    <a:cubicBezTo>
                      <a:pt x="1756" y="181"/>
                      <a:pt x="1756" y="181"/>
                      <a:pt x="1755" y="178"/>
                    </a:cubicBezTo>
                    <a:cubicBezTo>
                      <a:pt x="1755" y="175"/>
                      <a:pt x="1755" y="172"/>
                      <a:pt x="1754" y="168"/>
                    </a:cubicBezTo>
                    <a:cubicBezTo>
                      <a:pt x="1751" y="157"/>
                      <a:pt x="1744" y="152"/>
                      <a:pt x="1732" y="152"/>
                    </a:cubicBezTo>
                    <a:cubicBezTo>
                      <a:pt x="1719" y="151"/>
                      <a:pt x="1707" y="155"/>
                      <a:pt x="1696" y="164"/>
                    </a:cubicBezTo>
                    <a:cubicBezTo>
                      <a:pt x="1695" y="164"/>
                      <a:pt x="1695" y="165"/>
                      <a:pt x="1693" y="165"/>
                    </a:cubicBezTo>
                    <a:cubicBezTo>
                      <a:pt x="1693" y="159"/>
                      <a:pt x="1693" y="154"/>
                      <a:pt x="1693" y="148"/>
                    </a:cubicBezTo>
                    <a:cubicBezTo>
                      <a:pt x="1693" y="147"/>
                      <a:pt x="1694" y="146"/>
                      <a:pt x="1695" y="145"/>
                    </a:cubicBezTo>
                    <a:cubicBezTo>
                      <a:pt x="1696" y="145"/>
                      <a:pt x="1697" y="144"/>
                      <a:pt x="1699" y="143"/>
                    </a:cubicBezTo>
                    <a:cubicBezTo>
                      <a:pt x="1711" y="138"/>
                      <a:pt x="1724" y="135"/>
                      <a:pt x="1738" y="136"/>
                    </a:cubicBezTo>
                    <a:cubicBezTo>
                      <a:pt x="1742" y="136"/>
                      <a:pt x="1746" y="137"/>
                      <a:pt x="1750" y="138"/>
                    </a:cubicBezTo>
                    <a:cubicBezTo>
                      <a:pt x="1763" y="142"/>
                      <a:pt x="1770" y="151"/>
                      <a:pt x="1773" y="163"/>
                    </a:cubicBezTo>
                    <a:cubicBezTo>
                      <a:pt x="1774" y="169"/>
                      <a:pt x="1774" y="175"/>
                      <a:pt x="1774" y="181"/>
                    </a:cubicBezTo>
                    <a:cubicBezTo>
                      <a:pt x="1775" y="205"/>
                      <a:pt x="1775" y="229"/>
                      <a:pt x="1775" y="253"/>
                    </a:cubicBezTo>
                    <a:cubicBezTo>
                      <a:pt x="1775" y="256"/>
                      <a:pt x="1775" y="256"/>
                      <a:pt x="1772" y="256"/>
                    </a:cubicBezTo>
                    <a:close/>
                    <a:moveTo>
                      <a:pt x="1756" y="204"/>
                    </a:moveTo>
                    <a:cubicBezTo>
                      <a:pt x="1756" y="202"/>
                      <a:pt x="1756" y="200"/>
                      <a:pt x="1756" y="199"/>
                    </a:cubicBezTo>
                    <a:cubicBezTo>
                      <a:pt x="1756" y="196"/>
                      <a:pt x="1756" y="196"/>
                      <a:pt x="1753" y="197"/>
                    </a:cubicBezTo>
                    <a:cubicBezTo>
                      <a:pt x="1753" y="197"/>
                      <a:pt x="1753" y="197"/>
                      <a:pt x="1753" y="197"/>
                    </a:cubicBezTo>
                    <a:cubicBezTo>
                      <a:pt x="1746" y="198"/>
                      <a:pt x="1739" y="199"/>
                      <a:pt x="1732" y="200"/>
                    </a:cubicBezTo>
                    <a:cubicBezTo>
                      <a:pt x="1726" y="201"/>
                      <a:pt x="1720" y="201"/>
                      <a:pt x="1714" y="203"/>
                    </a:cubicBezTo>
                    <a:cubicBezTo>
                      <a:pt x="1706" y="206"/>
                      <a:pt x="1702" y="211"/>
                      <a:pt x="1701" y="219"/>
                    </a:cubicBezTo>
                    <a:cubicBezTo>
                      <a:pt x="1700" y="231"/>
                      <a:pt x="1706" y="239"/>
                      <a:pt x="1717" y="242"/>
                    </a:cubicBezTo>
                    <a:cubicBezTo>
                      <a:pt x="1736" y="246"/>
                      <a:pt x="1749" y="234"/>
                      <a:pt x="1753" y="221"/>
                    </a:cubicBezTo>
                    <a:cubicBezTo>
                      <a:pt x="1755" y="216"/>
                      <a:pt x="1756" y="210"/>
                      <a:pt x="1756" y="204"/>
                    </a:cubicBezTo>
                    <a:close/>
                    <a:moveTo>
                      <a:pt x="1099" y="203"/>
                    </a:moveTo>
                    <a:cubicBezTo>
                      <a:pt x="1098" y="211"/>
                      <a:pt x="1097" y="219"/>
                      <a:pt x="1093" y="226"/>
                    </a:cubicBezTo>
                    <a:cubicBezTo>
                      <a:pt x="1084" y="245"/>
                      <a:pt x="1070" y="256"/>
                      <a:pt x="1049" y="258"/>
                    </a:cubicBezTo>
                    <a:cubicBezTo>
                      <a:pt x="1040" y="259"/>
                      <a:pt x="1031" y="259"/>
                      <a:pt x="1022" y="256"/>
                    </a:cubicBezTo>
                    <a:cubicBezTo>
                      <a:pt x="1005" y="251"/>
                      <a:pt x="994" y="240"/>
                      <a:pt x="988" y="224"/>
                    </a:cubicBezTo>
                    <a:cubicBezTo>
                      <a:pt x="981" y="205"/>
                      <a:pt x="982" y="186"/>
                      <a:pt x="990" y="167"/>
                    </a:cubicBezTo>
                    <a:cubicBezTo>
                      <a:pt x="997" y="150"/>
                      <a:pt x="1010" y="140"/>
                      <a:pt x="1028" y="137"/>
                    </a:cubicBezTo>
                    <a:cubicBezTo>
                      <a:pt x="1033" y="136"/>
                      <a:pt x="1038" y="135"/>
                      <a:pt x="1044" y="135"/>
                    </a:cubicBezTo>
                    <a:cubicBezTo>
                      <a:pt x="1051" y="135"/>
                      <a:pt x="1059" y="136"/>
                      <a:pt x="1067" y="140"/>
                    </a:cubicBezTo>
                    <a:cubicBezTo>
                      <a:pt x="1081" y="145"/>
                      <a:pt x="1090" y="156"/>
                      <a:pt x="1095" y="170"/>
                    </a:cubicBezTo>
                    <a:cubicBezTo>
                      <a:pt x="1099" y="180"/>
                      <a:pt x="1100" y="192"/>
                      <a:pt x="1099" y="203"/>
                    </a:cubicBezTo>
                    <a:close/>
                    <a:moveTo>
                      <a:pt x="1079" y="189"/>
                    </a:moveTo>
                    <a:cubicBezTo>
                      <a:pt x="1079" y="183"/>
                      <a:pt x="1078" y="178"/>
                      <a:pt x="1075" y="172"/>
                    </a:cubicBezTo>
                    <a:cubicBezTo>
                      <a:pt x="1071" y="162"/>
                      <a:pt x="1064" y="156"/>
                      <a:pt x="1053" y="153"/>
                    </a:cubicBezTo>
                    <a:cubicBezTo>
                      <a:pt x="1049" y="152"/>
                      <a:pt x="1044" y="151"/>
                      <a:pt x="1039" y="152"/>
                    </a:cubicBezTo>
                    <a:cubicBezTo>
                      <a:pt x="1023" y="152"/>
                      <a:pt x="1011" y="161"/>
                      <a:pt x="1006" y="177"/>
                    </a:cubicBezTo>
                    <a:cubicBezTo>
                      <a:pt x="1004" y="183"/>
                      <a:pt x="1003" y="190"/>
                      <a:pt x="1003" y="198"/>
                    </a:cubicBezTo>
                    <a:cubicBezTo>
                      <a:pt x="1003" y="201"/>
                      <a:pt x="1003" y="205"/>
                      <a:pt x="1004" y="208"/>
                    </a:cubicBezTo>
                    <a:cubicBezTo>
                      <a:pt x="1004" y="210"/>
                      <a:pt x="1004" y="212"/>
                      <a:pt x="1005" y="214"/>
                    </a:cubicBezTo>
                    <a:cubicBezTo>
                      <a:pt x="1009" y="227"/>
                      <a:pt x="1016" y="237"/>
                      <a:pt x="1030" y="241"/>
                    </a:cubicBezTo>
                    <a:cubicBezTo>
                      <a:pt x="1035" y="243"/>
                      <a:pt x="1042" y="243"/>
                      <a:pt x="1048" y="242"/>
                    </a:cubicBezTo>
                    <a:cubicBezTo>
                      <a:pt x="1060" y="241"/>
                      <a:pt x="1069" y="235"/>
                      <a:pt x="1075" y="223"/>
                    </a:cubicBezTo>
                    <a:cubicBezTo>
                      <a:pt x="1076" y="221"/>
                      <a:pt x="1077" y="219"/>
                      <a:pt x="1077" y="217"/>
                    </a:cubicBezTo>
                    <a:cubicBezTo>
                      <a:pt x="1080" y="208"/>
                      <a:pt x="1080" y="198"/>
                      <a:pt x="1079" y="189"/>
                    </a:cubicBezTo>
                    <a:close/>
                    <a:moveTo>
                      <a:pt x="886" y="195"/>
                    </a:moveTo>
                    <a:cubicBezTo>
                      <a:pt x="886" y="206"/>
                      <a:pt x="885" y="218"/>
                      <a:pt x="879" y="228"/>
                    </a:cubicBezTo>
                    <a:cubicBezTo>
                      <a:pt x="870" y="246"/>
                      <a:pt x="855" y="256"/>
                      <a:pt x="836" y="258"/>
                    </a:cubicBezTo>
                    <a:cubicBezTo>
                      <a:pt x="826" y="259"/>
                      <a:pt x="817" y="259"/>
                      <a:pt x="808" y="256"/>
                    </a:cubicBezTo>
                    <a:cubicBezTo>
                      <a:pt x="791" y="251"/>
                      <a:pt x="780" y="239"/>
                      <a:pt x="774" y="223"/>
                    </a:cubicBezTo>
                    <a:cubicBezTo>
                      <a:pt x="768" y="205"/>
                      <a:pt x="769" y="186"/>
                      <a:pt x="776" y="169"/>
                    </a:cubicBezTo>
                    <a:cubicBezTo>
                      <a:pt x="784" y="150"/>
                      <a:pt x="798" y="139"/>
                      <a:pt x="819" y="136"/>
                    </a:cubicBezTo>
                    <a:cubicBezTo>
                      <a:pt x="828" y="135"/>
                      <a:pt x="837" y="135"/>
                      <a:pt x="846" y="137"/>
                    </a:cubicBezTo>
                    <a:cubicBezTo>
                      <a:pt x="865" y="142"/>
                      <a:pt x="876" y="154"/>
                      <a:pt x="882" y="172"/>
                    </a:cubicBezTo>
                    <a:cubicBezTo>
                      <a:pt x="885" y="179"/>
                      <a:pt x="886" y="186"/>
                      <a:pt x="886" y="195"/>
                    </a:cubicBezTo>
                    <a:close/>
                    <a:moveTo>
                      <a:pt x="867" y="198"/>
                    </a:moveTo>
                    <a:cubicBezTo>
                      <a:pt x="867" y="190"/>
                      <a:pt x="866" y="183"/>
                      <a:pt x="864" y="176"/>
                    </a:cubicBezTo>
                    <a:cubicBezTo>
                      <a:pt x="860" y="164"/>
                      <a:pt x="852" y="156"/>
                      <a:pt x="840" y="153"/>
                    </a:cubicBezTo>
                    <a:cubicBezTo>
                      <a:pt x="836" y="152"/>
                      <a:pt x="831" y="151"/>
                      <a:pt x="827" y="152"/>
                    </a:cubicBezTo>
                    <a:cubicBezTo>
                      <a:pt x="811" y="152"/>
                      <a:pt x="799" y="161"/>
                      <a:pt x="793" y="176"/>
                    </a:cubicBezTo>
                    <a:cubicBezTo>
                      <a:pt x="788" y="189"/>
                      <a:pt x="788" y="203"/>
                      <a:pt x="793" y="217"/>
                    </a:cubicBezTo>
                    <a:cubicBezTo>
                      <a:pt x="796" y="229"/>
                      <a:pt x="804" y="237"/>
                      <a:pt x="816" y="241"/>
                    </a:cubicBezTo>
                    <a:cubicBezTo>
                      <a:pt x="822" y="242"/>
                      <a:pt x="827" y="243"/>
                      <a:pt x="833" y="242"/>
                    </a:cubicBezTo>
                    <a:cubicBezTo>
                      <a:pt x="847" y="241"/>
                      <a:pt x="857" y="234"/>
                      <a:pt x="862" y="221"/>
                    </a:cubicBezTo>
                    <a:cubicBezTo>
                      <a:pt x="866" y="214"/>
                      <a:pt x="867" y="205"/>
                      <a:pt x="867" y="198"/>
                    </a:cubicBezTo>
                    <a:close/>
                  </a:path>
                </a:pathLst>
              </a:custGeom>
              <a:solidFill>
                <a:schemeClr val="bg1"/>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sz="1800" kern="0">
                  <a:solidFill>
                    <a:prstClr val="black"/>
                  </a:solidFill>
                </a:endParaRPr>
              </a:p>
            </p:txBody>
          </p:sp>
          <p:sp>
            <p:nvSpPr>
              <p:cNvPr id="109" name="Freeform 26"/>
              <p:cNvSpPr>
                <a:spLocks noChangeAspect="1" noEditPoints="1"/>
              </p:cNvSpPr>
              <p:nvPr/>
            </p:nvSpPr>
            <p:spPr bwMode="black">
              <a:xfrm>
                <a:off x="1962380" y="2610463"/>
                <a:ext cx="999521" cy="220466"/>
              </a:xfrm>
              <a:custGeom>
                <a:avLst/>
                <a:gdLst>
                  <a:gd name="T0" fmla="*/ 1225 w 3933"/>
                  <a:gd name="T1" fmla="*/ 701 h 865"/>
                  <a:gd name="T2" fmla="*/ 1013 w 3933"/>
                  <a:gd name="T3" fmla="*/ 295 h 865"/>
                  <a:gd name="T4" fmla="*/ 1442 w 3933"/>
                  <a:gd name="T5" fmla="*/ 291 h 865"/>
                  <a:gd name="T6" fmla="*/ 1229 w 3933"/>
                  <a:gd name="T7" fmla="*/ 220 h 865"/>
                  <a:gd name="T8" fmla="*/ 1068 w 3933"/>
                  <a:gd name="T9" fmla="*/ 545 h 865"/>
                  <a:gd name="T10" fmla="*/ 1409 w 3933"/>
                  <a:gd name="T11" fmla="*/ 435 h 865"/>
                  <a:gd name="T12" fmla="*/ 1633 w 3933"/>
                  <a:gd name="T13" fmla="*/ 322 h 865"/>
                  <a:gd name="T14" fmla="*/ 1633 w 3933"/>
                  <a:gd name="T15" fmla="*/ 692 h 865"/>
                  <a:gd name="T16" fmla="*/ 1511 w 3933"/>
                  <a:gd name="T17" fmla="*/ 322 h 865"/>
                  <a:gd name="T18" fmla="*/ 1692 w 3933"/>
                  <a:gd name="T19" fmla="*/ 136 h 865"/>
                  <a:gd name="T20" fmla="*/ 1899 w 3933"/>
                  <a:gd name="T21" fmla="*/ 186 h 865"/>
                  <a:gd name="T22" fmla="*/ 1924 w 3933"/>
                  <a:gd name="T23" fmla="*/ 372 h 865"/>
                  <a:gd name="T24" fmla="*/ 1777 w 3933"/>
                  <a:gd name="T25" fmla="*/ 372 h 865"/>
                  <a:gd name="T26" fmla="*/ 1777 w 3933"/>
                  <a:gd name="T27" fmla="*/ 262 h 865"/>
                  <a:gd name="T28" fmla="*/ 1938 w 3933"/>
                  <a:gd name="T29" fmla="*/ 196 h 865"/>
                  <a:gd name="T30" fmla="*/ 1981 w 3933"/>
                  <a:gd name="T31" fmla="*/ 217 h 865"/>
                  <a:gd name="T32" fmla="*/ 2037 w 3933"/>
                  <a:gd name="T33" fmla="*/ 162 h 865"/>
                  <a:gd name="T34" fmla="*/ 1978 w 3933"/>
                  <a:gd name="T35" fmla="*/ 322 h 865"/>
                  <a:gd name="T36" fmla="*/ 2275 w 3933"/>
                  <a:gd name="T37" fmla="*/ 701 h 865"/>
                  <a:gd name="T38" fmla="*/ 2151 w 3933"/>
                  <a:gd name="T39" fmla="*/ 369 h 865"/>
                  <a:gd name="T40" fmla="*/ 2289 w 3933"/>
                  <a:gd name="T41" fmla="*/ 364 h 865"/>
                  <a:gd name="T42" fmla="*/ 2285 w 3933"/>
                  <a:gd name="T43" fmla="*/ 651 h 865"/>
                  <a:gd name="T44" fmla="*/ 2480 w 3933"/>
                  <a:gd name="T45" fmla="*/ 522 h 865"/>
                  <a:gd name="T46" fmla="*/ 2716 w 3933"/>
                  <a:gd name="T47" fmla="*/ 666 h 865"/>
                  <a:gd name="T48" fmla="*/ 2441 w 3933"/>
                  <a:gd name="T49" fmla="*/ 408 h 865"/>
                  <a:gd name="T50" fmla="*/ 2742 w 3933"/>
                  <a:gd name="T51" fmla="*/ 491 h 865"/>
                  <a:gd name="T52" fmla="*/ 2588 w 3933"/>
                  <a:gd name="T53" fmla="*/ 364 h 865"/>
                  <a:gd name="T54" fmla="*/ 3193 w 3933"/>
                  <a:gd name="T55" fmla="*/ 546 h 865"/>
                  <a:gd name="T56" fmla="*/ 2892 w 3933"/>
                  <a:gd name="T57" fmla="*/ 610 h 865"/>
                  <a:gd name="T58" fmla="*/ 2987 w 3933"/>
                  <a:gd name="T59" fmla="*/ 449 h 865"/>
                  <a:gd name="T60" fmla="*/ 3113 w 3933"/>
                  <a:gd name="T61" fmla="*/ 304 h 865"/>
                  <a:gd name="T62" fmla="*/ 3030 w 3933"/>
                  <a:gd name="T63" fmla="*/ 165 h 865"/>
                  <a:gd name="T64" fmla="*/ 3070 w 3933"/>
                  <a:gd name="T65" fmla="*/ 422 h 865"/>
                  <a:gd name="T66" fmla="*/ 3563 w 3933"/>
                  <a:gd name="T67" fmla="*/ 617 h 865"/>
                  <a:gd name="T68" fmla="*/ 3254 w 3933"/>
                  <a:gd name="T69" fmla="*/ 464 h 865"/>
                  <a:gd name="T70" fmla="*/ 3552 w 3933"/>
                  <a:gd name="T71" fmla="*/ 180 h 865"/>
                  <a:gd name="T72" fmla="*/ 3316 w 3933"/>
                  <a:gd name="T73" fmla="*/ 441 h 865"/>
                  <a:gd name="T74" fmla="*/ 3584 w 3933"/>
                  <a:gd name="T75" fmla="*/ 528 h 865"/>
                  <a:gd name="T76" fmla="*/ 3349 w 3933"/>
                  <a:gd name="T77" fmla="*/ 449 h 865"/>
                  <a:gd name="T78" fmla="*/ 3495 w 3933"/>
                  <a:gd name="T79" fmla="*/ 619 h 865"/>
                  <a:gd name="T80" fmla="*/ 3749 w 3933"/>
                  <a:gd name="T81" fmla="*/ 701 h 865"/>
                  <a:gd name="T82" fmla="*/ 3838 w 3933"/>
                  <a:gd name="T83" fmla="*/ 620 h 865"/>
                  <a:gd name="T84" fmla="*/ 3651 w 3933"/>
                  <a:gd name="T85" fmla="*/ 434 h 865"/>
                  <a:gd name="T86" fmla="*/ 3721 w 3933"/>
                  <a:gd name="T87" fmla="*/ 227 h 865"/>
                  <a:gd name="T88" fmla="*/ 3933 w 3933"/>
                  <a:gd name="T89" fmla="*/ 534 h 865"/>
                  <a:gd name="T90" fmla="*/ 464 w 3933"/>
                  <a:gd name="T91" fmla="*/ 0 h 865"/>
                  <a:gd name="T92" fmla="*/ 158 w 3933"/>
                  <a:gd name="T93" fmla="*/ 632 h 865"/>
                  <a:gd name="T94" fmla="*/ 1 w 3933"/>
                  <a:gd name="T95" fmla="*/ 694 h 865"/>
                  <a:gd name="T96" fmla="*/ 722 w 3933"/>
                  <a:gd name="T97" fmla="*/ 793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933" h="865">
                    <a:moveTo>
                      <a:pt x="1472" y="427"/>
                    </a:moveTo>
                    <a:cubicBezTo>
                      <a:pt x="1472" y="482"/>
                      <a:pt x="1462" y="530"/>
                      <a:pt x="1442" y="572"/>
                    </a:cubicBezTo>
                    <a:cubicBezTo>
                      <a:pt x="1422" y="613"/>
                      <a:pt x="1393" y="645"/>
                      <a:pt x="1355" y="668"/>
                    </a:cubicBezTo>
                    <a:cubicBezTo>
                      <a:pt x="1318" y="690"/>
                      <a:pt x="1274" y="701"/>
                      <a:pt x="1225" y="701"/>
                    </a:cubicBezTo>
                    <a:cubicBezTo>
                      <a:pt x="1177" y="701"/>
                      <a:pt x="1135" y="691"/>
                      <a:pt x="1098" y="669"/>
                    </a:cubicBezTo>
                    <a:cubicBezTo>
                      <a:pt x="1061" y="647"/>
                      <a:pt x="1033" y="616"/>
                      <a:pt x="1012" y="576"/>
                    </a:cubicBezTo>
                    <a:cubicBezTo>
                      <a:pt x="992" y="536"/>
                      <a:pt x="982" y="490"/>
                      <a:pt x="982" y="439"/>
                    </a:cubicBezTo>
                    <a:cubicBezTo>
                      <a:pt x="982" y="384"/>
                      <a:pt x="992" y="336"/>
                      <a:pt x="1013" y="295"/>
                    </a:cubicBezTo>
                    <a:cubicBezTo>
                      <a:pt x="1033" y="253"/>
                      <a:pt x="1063" y="221"/>
                      <a:pt x="1101" y="199"/>
                    </a:cubicBezTo>
                    <a:cubicBezTo>
                      <a:pt x="1139" y="176"/>
                      <a:pt x="1184" y="165"/>
                      <a:pt x="1234" y="165"/>
                    </a:cubicBezTo>
                    <a:cubicBezTo>
                      <a:pt x="1280" y="165"/>
                      <a:pt x="1321" y="176"/>
                      <a:pt x="1358" y="198"/>
                    </a:cubicBezTo>
                    <a:cubicBezTo>
                      <a:pt x="1394" y="220"/>
                      <a:pt x="1423" y="251"/>
                      <a:pt x="1442" y="291"/>
                    </a:cubicBezTo>
                    <a:cubicBezTo>
                      <a:pt x="1462" y="330"/>
                      <a:pt x="1472" y="376"/>
                      <a:pt x="1472" y="427"/>
                    </a:cubicBezTo>
                    <a:close/>
                    <a:moveTo>
                      <a:pt x="1409" y="435"/>
                    </a:moveTo>
                    <a:cubicBezTo>
                      <a:pt x="1409" y="367"/>
                      <a:pt x="1393" y="314"/>
                      <a:pt x="1361" y="276"/>
                    </a:cubicBezTo>
                    <a:cubicBezTo>
                      <a:pt x="1330" y="239"/>
                      <a:pt x="1286" y="220"/>
                      <a:pt x="1229" y="220"/>
                    </a:cubicBezTo>
                    <a:cubicBezTo>
                      <a:pt x="1194" y="220"/>
                      <a:pt x="1162" y="229"/>
                      <a:pt x="1134" y="247"/>
                    </a:cubicBezTo>
                    <a:cubicBezTo>
                      <a:pt x="1106" y="265"/>
                      <a:pt x="1084" y="290"/>
                      <a:pt x="1069" y="323"/>
                    </a:cubicBezTo>
                    <a:cubicBezTo>
                      <a:pt x="1053" y="356"/>
                      <a:pt x="1046" y="393"/>
                      <a:pt x="1046" y="434"/>
                    </a:cubicBezTo>
                    <a:cubicBezTo>
                      <a:pt x="1046" y="475"/>
                      <a:pt x="1053" y="512"/>
                      <a:pt x="1068" y="545"/>
                    </a:cubicBezTo>
                    <a:cubicBezTo>
                      <a:pt x="1083" y="577"/>
                      <a:pt x="1104" y="602"/>
                      <a:pt x="1131" y="620"/>
                    </a:cubicBezTo>
                    <a:cubicBezTo>
                      <a:pt x="1159" y="638"/>
                      <a:pt x="1190" y="646"/>
                      <a:pt x="1225" y="646"/>
                    </a:cubicBezTo>
                    <a:cubicBezTo>
                      <a:pt x="1282" y="646"/>
                      <a:pt x="1327" y="628"/>
                      <a:pt x="1360" y="590"/>
                    </a:cubicBezTo>
                    <a:cubicBezTo>
                      <a:pt x="1392" y="552"/>
                      <a:pt x="1409" y="501"/>
                      <a:pt x="1409" y="435"/>
                    </a:cubicBezTo>
                    <a:close/>
                    <a:moveTo>
                      <a:pt x="1735" y="196"/>
                    </a:moveTo>
                    <a:cubicBezTo>
                      <a:pt x="1723" y="190"/>
                      <a:pt x="1710" y="186"/>
                      <a:pt x="1695" y="186"/>
                    </a:cubicBezTo>
                    <a:cubicBezTo>
                      <a:pt x="1654" y="186"/>
                      <a:pt x="1633" y="213"/>
                      <a:pt x="1633" y="265"/>
                    </a:cubicBezTo>
                    <a:cubicBezTo>
                      <a:pt x="1633" y="322"/>
                      <a:pt x="1633" y="322"/>
                      <a:pt x="1633" y="322"/>
                    </a:cubicBezTo>
                    <a:cubicBezTo>
                      <a:pt x="1720" y="322"/>
                      <a:pt x="1720" y="322"/>
                      <a:pt x="1720" y="322"/>
                    </a:cubicBezTo>
                    <a:cubicBezTo>
                      <a:pt x="1720" y="372"/>
                      <a:pt x="1720" y="372"/>
                      <a:pt x="1720" y="372"/>
                    </a:cubicBezTo>
                    <a:cubicBezTo>
                      <a:pt x="1633" y="372"/>
                      <a:pt x="1633" y="372"/>
                      <a:pt x="1633" y="372"/>
                    </a:cubicBezTo>
                    <a:cubicBezTo>
                      <a:pt x="1633" y="692"/>
                      <a:pt x="1633" y="692"/>
                      <a:pt x="1633" y="692"/>
                    </a:cubicBezTo>
                    <a:cubicBezTo>
                      <a:pt x="1574" y="692"/>
                      <a:pt x="1574" y="692"/>
                      <a:pt x="1574" y="692"/>
                    </a:cubicBezTo>
                    <a:cubicBezTo>
                      <a:pt x="1574" y="372"/>
                      <a:pt x="1574" y="372"/>
                      <a:pt x="1574" y="372"/>
                    </a:cubicBezTo>
                    <a:cubicBezTo>
                      <a:pt x="1511" y="372"/>
                      <a:pt x="1511" y="372"/>
                      <a:pt x="1511" y="372"/>
                    </a:cubicBezTo>
                    <a:cubicBezTo>
                      <a:pt x="1511" y="322"/>
                      <a:pt x="1511" y="322"/>
                      <a:pt x="1511" y="322"/>
                    </a:cubicBezTo>
                    <a:cubicBezTo>
                      <a:pt x="1574" y="322"/>
                      <a:pt x="1574" y="322"/>
                      <a:pt x="1574" y="322"/>
                    </a:cubicBezTo>
                    <a:cubicBezTo>
                      <a:pt x="1574" y="262"/>
                      <a:pt x="1574" y="262"/>
                      <a:pt x="1574" y="262"/>
                    </a:cubicBezTo>
                    <a:cubicBezTo>
                      <a:pt x="1574" y="224"/>
                      <a:pt x="1585" y="194"/>
                      <a:pt x="1607" y="171"/>
                    </a:cubicBezTo>
                    <a:cubicBezTo>
                      <a:pt x="1629" y="148"/>
                      <a:pt x="1657" y="136"/>
                      <a:pt x="1692" y="136"/>
                    </a:cubicBezTo>
                    <a:cubicBezTo>
                      <a:pt x="1710" y="136"/>
                      <a:pt x="1724" y="138"/>
                      <a:pt x="1735" y="143"/>
                    </a:cubicBezTo>
                    <a:lnTo>
                      <a:pt x="1735" y="196"/>
                    </a:lnTo>
                    <a:close/>
                    <a:moveTo>
                      <a:pt x="1938" y="196"/>
                    </a:moveTo>
                    <a:cubicBezTo>
                      <a:pt x="1927" y="190"/>
                      <a:pt x="1914" y="186"/>
                      <a:pt x="1899" y="186"/>
                    </a:cubicBezTo>
                    <a:cubicBezTo>
                      <a:pt x="1858" y="186"/>
                      <a:pt x="1837" y="213"/>
                      <a:pt x="1837" y="265"/>
                    </a:cubicBezTo>
                    <a:cubicBezTo>
                      <a:pt x="1837" y="322"/>
                      <a:pt x="1837" y="322"/>
                      <a:pt x="1837" y="322"/>
                    </a:cubicBezTo>
                    <a:cubicBezTo>
                      <a:pt x="1924" y="322"/>
                      <a:pt x="1924" y="322"/>
                      <a:pt x="1924" y="322"/>
                    </a:cubicBezTo>
                    <a:cubicBezTo>
                      <a:pt x="1924" y="372"/>
                      <a:pt x="1924" y="372"/>
                      <a:pt x="1924" y="372"/>
                    </a:cubicBezTo>
                    <a:cubicBezTo>
                      <a:pt x="1837" y="372"/>
                      <a:pt x="1837" y="372"/>
                      <a:pt x="1837" y="372"/>
                    </a:cubicBezTo>
                    <a:cubicBezTo>
                      <a:pt x="1837" y="692"/>
                      <a:pt x="1837" y="692"/>
                      <a:pt x="1837" y="692"/>
                    </a:cubicBezTo>
                    <a:cubicBezTo>
                      <a:pt x="1777" y="692"/>
                      <a:pt x="1777" y="692"/>
                      <a:pt x="1777" y="692"/>
                    </a:cubicBezTo>
                    <a:cubicBezTo>
                      <a:pt x="1777" y="372"/>
                      <a:pt x="1777" y="372"/>
                      <a:pt x="1777" y="372"/>
                    </a:cubicBezTo>
                    <a:cubicBezTo>
                      <a:pt x="1715" y="372"/>
                      <a:pt x="1715" y="372"/>
                      <a:pt x="1715" y="372"/>
                    </a:cubicBezTo>
                    <a:cubicBezTo>
                      <a:pt x="1715" y="322"/>
                      <a:pt x="1715" y="322"/>
                      <a:pt x="1715" y="322"/>
                    </a:cubicBezTo>
                    <a:cubicBezTo>
                      <a:pt x="1777" y="322"/>
                      <a:pt x="1777" y="322"/>
                      <a:pt x="1777" y="322"/>
                    </a:cubicBezTo>
                    <a:cubicBezTo>
                      <a:pt x="1777" y="262"/>
                      <a:pt x="1777" y="262"/>
                      <a:pt x="1777" y="262"/>
                    </a:cubicBezTo>
                    <a:cubicBezTo>
                      <a:pt x="1777" y="224"/>
                      <a:pt x="1789" y="194"/>
                      <a:pt x="1811" y="171"/>
                    </a:cubicBezTo>
                    <a:cubicBezTo>
                      <a:pt x="1833" y="148"/>
                      <a:pt x="1861" y="136"/>
                      <a:pt x="1895" y="136"/>
                    </a:cubicBezTo>
                    <a:cubicBezTo>
                      <a:pt x="1913" y="136"/>
                      <a:pt x="1928" y="138"/>
                      <a:pt x="1938" y="143"/>
                    </a:cubicBezTo>
                    <a:lnTo>
                      <a:pt x="1938" y="196"/>
                    </a:lnTo>
                    <a:close/>
                    <a:moveTo>
                      <a:pt x="2048" y="189"/>
                    </a:moveTo>
                    <a:cubicBezTo>
                      <a:pt x="2048" y="200"/>
                      <a:pt x="2044" y="210"/>
                      <a:pt x="2036" y="217"/>
                    </a:cubicBezTo>
                    <a:cubicBezTo>
                      <a:pt x="2029" y="224"/>
                      <a:pt x="2019" y="228"/>
                      <a:pt x="2009" y="228"/>
                    </a:cubicBezTo>
                    <a:cubicBezTo>
                      <a:pt x="1998" y="228"/>
                      <a:pt x="1989" y="224"/>
                      <a:pt x="1981" y="217"/>
                    </a:cubicBezTo>
                    <a:cubicBezTo>
                      <a:pt x="1974" y="210"/>
                      <a:pt x="1970" y="201"/>
                      <a:pt x="1970" y="189"/>
                    </a:cubicBezTo>
                    <a:cubicBezTo>
                      <a:pt x="1970" y="179"/>
                      <a:pt x="1974" y="170"/>
                      <a:pt x="1981" y="162"/>
                    </a:cubicBezTo>
                    <a:cubicBezTo>
                      <a:pt x="1988" y="155"/>
                      <a:pt x="1998" y="151"/>
                      <a:pt x="2009" y="151"/>
                    </a:cubicBezTo>
                    <a:cubicBezTo>
                      <a:pt x="2020" y="151"/>
                      <a:pt x="2029" y="155"/>
                      <a:pt x="2037" y="162"/>
                    </a:cubicBezTo>
                    <a:cubicBezTo>
                      <a:pt x="2044" y="170"/>
                      <a:pt x="2048" y="179"/>
                      <a:pt x="2048" y="189"/>
                    </a:cubicBezTo>
                    <a:close/>
                    <a:moveTo>
                      <a:pt x="2038" y="692"/>
                    </a:moveTo>
                    <a:cubicBezTo>
                      <a:pt x="1978" y="692"/>
                      <a:pt x="1978" y="692"/>
                      <a:pt x="1978" y="692"/>
                    </a:cubicBezTo>
                    <a:cubicBezTo>
                      <a:pt x="1978" y="322"/>
                      <a:pt x="1978" y="322"/>
                      <a:pt x="1978" y="322"/>
                    </a:cubicBezTo>
                    <a:cubicBezTo>
                      <a:pt x="2038" y="322"/>
                      <a:pt x="2038" y="322"/>
                      <a:pt x="2038" y="322"/>
                    </a:cubicBezTo>
                    <a:lnTo>
                      <a:pt x="2038" y="692"/>
                    </a:lnTo>
                    <a:close/>
                    <a:moveTo>
                      <a:pt x="2376" y="675"/>
                    </a:moveTo>
                    <a:cubicBezTo>
                      <a:pt x="2348" y="693"/>
                      <a:pt x="2314" y="701"/>
                      <a:pt x="2275" y="701"/>
                    </a:cubicBezTo>
                    <a:cubicBezTo>
                      <a:pt x="2241" y="701"/>
                      <a:pt x="2211" y="694"/>
                      <a:pt x="2184" y="678"/>
                    </a:cubicBezTo>
                    <a:cubicBezTo>
                      <a:pt x="2157" y="663"/>
                      <a:pt x="2136" y="641"/>
                      <a:pt x="2121" y="612"/>
                    </a:cubicBezTo>
                    <a:cubicBezTo>
                      <a:pt x="2106" y="584"/>
                      <a:pt x="2099" y="552"/>
                      <a:pt x="2099" y="516"/>
                    </a:cubicBezTo>
                    <a:cubicBezTo>
                      <a:pt x="2099" y="455"/>
                      <a:pt x="2116" y="406"/>
                      <a:pt x="2151" y="369"/>
                    </a:cubicBezTo>
                    <a:cubicBezTo>
                      <a:pt x="2186" y="332"/>
                      <a:pt x="2233" y="313"/>
                      <a:pt x="2291" y="313"/>
                    </a:cubicBezTo>
                    <a:cubicBezTo>
                      <a:pt x="2324" y="313"/>
                      <a:pt x="2352" y="319"/>
                      <a:pt x="2377" y="332"/>
                    </a:cubicBezTo>
                    <a:cubicBezTo>
                      <a:pt x="2377" y="393"/>
                      <a:pt x="2377" y="393"/>
                      <a:pt x="2377" y="393"/>
                    </a:cubicBezTo>
                    <a:cubicBezTo>
                      <a:pt x="2349" y="373"/>
                      <a:pt x="2320" y="364"/>
                      <a:pt x="2289" y="364"/>
                    </a:cubicBezTo>
                    <a:cubicBezTo>
                      <a:pt x="2250" y="364"/>
                      <a:pt x="2219" y="377"/>
                      <a:pt x="2195" y="405"/>
                    </a:cubicBezTo>
                    <a:cubicBezTo>
                      <a:pt x="2171" y="432"/>
                      <a:pt x="2159" y="467"/>
                      <a:pt x="2159" y="511"/>
                    </a:cubicBezTo>
                    <a:cubicBezTo>
                      <a:pt x="2159" y="554"/>
                      <a:pt x="2171" y="588"/>
                      <a:pt x="2193" y="613"/>
                    </a:cubicBezTo>
                    <a:cubicBezTo>
                      <a:pt x="2216" y="638"/>
                      <a:pt x="2247" y="651"/>
                      <a:pt x="2285" y="651"/>
                    </a:cubicBezTo>
                    <a:cubicBezTo>
                      <a:pt x="2317" y="651"/>
                      <a:pt x="2348" y="640"/>
                      <a:pt x="2376" y="619"/>
                    </a:cubicBezTo>
                    <a:lnTo>
                      <a:pt x="2376" y="675"/>
                    </a:lnTo>
                    <a:close/>
                    <a:moveTo>
                      <a:pt x="2742" y="522"/>
                    </a:moveTo>
                    <a:cubicBezTo>
                      <a:pt x="2480" y="522"/>
                      <a:pt x="2480" y="522"/>
                      <a:pt x="2480" y="522"/>
                    </a:cubicBezTo>
                    <a:cubicBezTo>
                      <a:pt x="2481" y="564"/>
                      <a:pt x="2492" y="596"/>
                      <a:pt x="2513" y="618"/>
                    </a:cubicBezTo>
                    <a:cubicBezTo>
                      <a:pt x="2534" y="640"/>
                      <a:pt x="2564" y="651"/>
                      <a:pt x="2601" y="651"/>
                    </a:cubicBezTo>
                    <a:cubicBezTo>
                      <a:pt x="2643" y="651"/>
                      <a:pt x="2681" y="637"/>
                      <a:pt x="2716" y="610"/>
                    </a:cubicBezTo>
                    <a:cubicBezTo>
                      <a:pt x="2716" y="666"/>
                      <a:pt x="2716" y="666"/>
                      <a:pt x="2716" y="666"/>
                    </a:cubicBezTo>
                    <a:cubicBezTo>
                      <a:pt x="2683" y="689"/>
                      <a:pt x="2640" y="701"/>
                      <a:pt x="2587" y="701"/>
                    </a:cubicBezTo>
                    <a:cubicBezTo>
                      <a:pt x="2534" y="701"/>
                      <a:pt x="2493" y="684"/>
                      <a:pt x="2463" y="650"/>
                    </a:cubicBezTo>
                    <a:cubicBezTo>
                      <a:pt x="2433" y="616"/>
                      <a:pt x="2419" y="569"/>
                      <a:pt x="2419" y="509"/>
                    </a:cubicBezTo>
                    <a:cubicBezTo>
                      <a:pt x="2419" y="472"/>
                      <a:pt x="2426" y="439"/>
                      <a:pt x="2441" y="408"/>
                    </a:cubicBezTo>
                    <a:cubicBezTo>
                      <a:pt x="2456" y="378"/>
                      <a:pt x="2476" y="355"/>
                      <a:pt x="2502" y="338"/>
                    </a:cubicBezTo>
                    <a:cubicBezTo>
                      <a:pt x="2528" y="321"/>
                      <a:pt x="2557" y="313"/>
                      <a:pt x="2589" y="313"/>
                    </a:cubicBezTo>
                    <a:cubicBezTo>
                      <a:pt x="2637" y="313"/>
                      <a:pt x="2674" y="329"/>
                      <a:pt x="2701" y="360"/>
                    </a:cubicBezTo>
                    <a:cubicBezTo>
                      <a:pt x="2728" y="391"/>
                      <a:pt x="2742" y="435"/>
                      <a:pt x="2742" y="491"/>
                    </a:cubicBezTo>
                    <a:lnTo>
                      <a:pt x="2742" y="522"/>
                    </a:lnTo>
                    <a:close/>
                    <a:moveTo>
                      <a:pt x="2681" y="472"/>
                    </a:moveTo>
                    <a:cubicBezTo>
                      <a:pt x="2680" y="438"/>
                      <a:pt x="2672" y="411"/>
                      <a:pt x="2656" y="392"/>
                    </a:cubicBezTo>
                    <a:cubicBezTo>
                      <a:pt x="2640" y="373"/>
                      <a:pt x="2617" y="364"/>
                      <a:pt x="2588" y="364"/>
                    </a:cubicBezTo>
                    <a:cubicBezTo>
                      <a:pt x="2561" y="364"/>
                      <a:pt x="2537" y="374"/>
                      <a:pt x="2518" y="393"/>
                    </a:cubicBezTo>
                    <a:cubicBezTo>
                      <a:pt x="2498" y="413"/>
                      <a:pt x="2486" y="439"/>
                      <a:pt x="2481" y="472"/>
                    </a:cubicBezTo>
                    <a:lnTo>
                      <a:pt x="2681" y="472"/>
                    </a:lnTo>
                    <a:close/>
                    <a:moveTo>
                      <a:pt x="3193" y="546"/>
                    </a:moveTo>
                    <a:cubicBezTo>
                      <a:pt x="3193" y="592"/>
                      <a:pt x="3176" y="630"/>
                      <a:pt x="3142" y="659"/>
                    </a:cubicBezTo>
                    <a:cubicBezTo>
                      <a:pt x="3109" y="687"/>
                      <a:pt x="3065" y="701"/>
                      <a:pt x="3010" y="701"/>
                    </a:cubicBezTo>
                    <a:cubicBezTo>
                      <a:pt x="2961" y="701"/>
                      <a:pt x="2922" y="692"/>
                      <a:pt x="2892" y="673"/>
                    </a:cubicBezTo>
                    <a:cubicBezTo>
                      <a:pt x="2892" y="610"/>
                      <a:pt x="2892" y="610"/>
                      <a:pt x="2892" y="610"/>
                    </a:cubicBezTo>
                    <a:cubicBezTo>
                      <a:pt x="2927" y="637"/>
                      <a:pt x="2967" y="651"/>
                      <a:pt x="3013" y="651"/>
                    </a:cubicBezTo>
                    <a:cubicBezTo>
                      <a:pt x="3049" y="651"/>
                      <a:pt x="3078" y="642"/>
                      <a:pt x="3100" y="624"/>
                    </a:cubicBezTo>
                    <a:cubicBezTo>
                      <a:pt x="3121" y="606"/>
                      <a:pt x="3132" y="582"/>
                      <a:pt x="3132" y="551"/>
                    </a:cubicBezTo>
                    <a:cubicBezTo>
                      <a:pt x="3132" y="483"/>
                      <a:pt x="3084" y="449"/>
                      <a:pt x="2987" y="449"/>
                    </a:cubicBezTo>
                    <a:cubicBezTo>
                      <a:pt x="2944" y="449"/>
                      <a:pt x="2944" y="449"/>
                      <a:pt x="2944" y="449"/>
                    </a:cubicBezTo>
                    <a:cubicBezTo>
                      <a:pt x="2944" y="399"/>
                      <a:pt x="2944" y="399"/>
                      <a:pt x="2944" y="399"/>
                    </a:cubicBezTo>
                    <a:cubicBezTo>
                      <a:pt x="2985" y="399"/>
                      <a:pt x="2985" y="399"/>
                      <a:pt x="2985" y="399"/>
                    </a:cubicBezTo>
                    <a:cubicBezTo>
                      <a:pt x="3070" y="399"/>
                      <a:pt x="3113" y="367"/>
                      <a:pt x="3113" y="304"/>
                    </a:cubicBezTo>
                    <a:cubicBezTo>
                      <a:pt x="3113" y="245"/>
                      <a:pt x="3081" y="215"/>
                      <a:pt x="3015" y="215"/>
                    </a:cubicBezTo>
                    <a:cubicBezTo>
                      <a:pt x="2979" y="215"/>
                      <a:pt x="2944" y="228"/>
                      <a:pt x="2912" y="252"/>
                    </a:cubicBezTo>
                    <a:cubicBezTo>
                      <a:pt x="2912" y="195"/>
                      <a:pt x="2912" y="195"/>
                      <a:pt x="2912" y="195"/>
                    </a:cubicBezTo>
                    <a:cubicBezTo>
                      <a:pt x="2945" y="175"/>
                      <a:pt x="2985" y="165"/>
                      <a:pt x="3030" y="165"/>
                    </a:cubicBezTo>
                    <a:cubicBezTo>
                      <a:pt x="3073" y="165"/>
                      <a:pt x="3108" y="176"/>
                      <a:pt x="3134" y="199"/>
                    </a:cubicBezTo>
                    <a:cubicBezTo>
                      <a:pt x="3161" y="222"/>
                      <a:pt x="3174" y="252"/>
                      <a:pt x="3174" y="289"/>
                    </a:cubicBezTo>
                    <a:cubicBezTo>
                      <a:pt x="3174" y="357"/>
                      <a:pt x="3139" y="401"/>
                      <a:pt x="3070" y="420"/>
                    </a:cubicBezTo>
                    <a:cubicBezTo>
                      <a:pt x="3070" y="422"/>
                      <a:pt x="3070" y="422"/>
                      <a:pt x="3070" y="422"/>
                    </a:cubicBezTo>
                    <a:cubicBezTo>
                      <a:pt x="3107" y="426"/>
                      <a:pt x="3137" y="439"/>
                      <a:pt x="3159" y="462"/>
                    </a:cubicBezTo>
                    <a:cubicBezTo>
                      <a:pt x="3181" y="484"/>
                      <a:pt x="3193" y="512"/>
                      <a:pt x="3193" y="546"/>
                    </a:cubicBezTo>
                    <a:close/>
                    <a:moveTo>
                      <a:pt x="3584" y="528"/>
                    </a:moveTo>
                    <a:cubicBezTo>
                      <a:pt x="3584" y="561"/>
                      <a:pt x="3577" y="590"/>
                      <a:pt x="3563" y="617"/>
                    </a:cubicBezTo>
                    <a:cubicBezTo>
                      <a:pt x="3548" y="644"/>
                      <a:pt x="3529" y="665"/>
                      <a:pt x="3504" y="679"/>
                    </a:cubicBezTo>
                    <a:cubicBezTo>
                      <a:pt x="3479" y="694"/>
                      <a:pt x="3451" y="701"/>
                      <a:pt x="3421" y="701"/>
                    </a:cubicBezTo>
                    <a:cubicBezTo>
                      <a:pt x="3369" y="701"/>
                      <a:pt x="3328" y="681"/>
                      <a:pt x="3299" y="639"/>
                    </a:cubicBezTo>
                    <a:cubicBezTo>
                      <a:pt x="3269" y="597"/>
                      <a:pt x="3254" y="539"/>
                      <a:pt x="3254" y="464"/>
                    </a:cubicBezTo>
                    <a:cubicBezTo>
                      <a:pt x="3254" y="405"/>
                      <a:pt x="3263" y="352"/>
                      <a:pt x="3280" y="307"/>
                    </a:cubicBezTo>
                    <a:cubicBezTo>
                      <a:pt x="3298" y="262"/>
                      <a:pt x="3323" y="227"/>
                      <a:pt x="3355" y="202"/>
                    </a:cubicBezTo>
                    <a:cubicBezTo>
                      <a:pt x="3387" y="177"/>
                      <a:pt x="3424" y="165"/>
                      <a:pt x="3466" y="165"/>
                    </a:cubicBezTo>
                    <a:cubicBezTo>
                      <a:pt x="3502" y="165"/>
                      <a:pt x="3530" y="170"/>
                      <a:pt x="3552" y="180"/>
                    </a:cubicBezTo>
                    <a:cubicBezTo>
                      <a:pt x="3552" y="236"/>
                      <a:pt x="3552" y="236"/>
                      <a:pt x="3552" y="236"/>
                    </a:cubicBezTo>
                    <a:cubicBezTo>
                      <a:pt x="3525" y="222"/>
                      <a:pt x="3497" y="215"/>
                      <a:pt x="3467" y="215"/>
                    </a:cubicBezTo>
                    <a:cubicBezTo>
                      <a:pt x="3421" y="215"/>
                      <a:pt x="3385" y="236"/>
                      <a:pt x="3357" y="277"/>
                    </a:cubicBezTo>
                    <a:cubicBezTo>
                      <a:pt x="3330" y="318"/>
                      <a:pt x="3316" y="373"/>
                      <a:pt x="3316" y="441"/>
                    </a:cubicBezTo>
                    <a:cubicBezTo>
                      <a:pt x="3317" y="441"/>
                      <a:pt x="3317" y="441"/>
                      <a:pt x="3317" y="441"/>
                    </a:cubicBezTo>
                    <a:cubicBezTo>
                      <a:pt x="3341" y="392"/>
                      <a:pt x="3380" y="368"/>
                      <a:pt x="3435" y="368"/>
                    </a:cubicBezTo>
                    <a:cubicBezTo>
                      <a:pt x="3480" y="368"/>
                      <a:pt x="3516" y="383"/>
                      <a:pt x="3543" y="412"/>
                    </a:cubicBezTo>
                    <a:cubicBezTo>
                      <a:pt x="3570" y="441"/>
                      <a:pt x="3584" y="480"/>
                      <a:pt x="3584" y="528"/>
                    </a:cubicBezTo>
                    <a:close/>
                    <a:moveTo>
                      <a:pt x="3523" y="535"/>
                    </a:moveTo>
                    <a:cubicBezTo>
                      <a:pt x="3523" y="499"/>
                      <a:pt x="3514" y="471"/>
                      <a:pt x="3496" y="450"/>
                    </a:cubicBezTo>
                    <a:cubicBezTo>
                      <a:pt x="3479" y="429"/>
                      <a:pt x="3454" y="418"/>
                      <a:pt x="3422" y="418"/>
                    </a:cubicBezTo>
                    <a:cubicBezTo>
                      <a:pt x="3393" y="418"/>
                      <a:pt x="3369" y="428"/>
                      <a:pt x="3349" y="449"/>
                    </a:cubicBezTo>
                    <a:cubicBezTo>
                      <a:pt x="3329" y="469"/>
                      <a:pt x="3319" y="494"/>
                      <a:pt x="3319" y="523"/>
                    </a:cubicBezTo>
                    <a:cubicBezTo>
                      <a:pt x="3319" y="559"/>
                      <a:pt x="3329" y="590"/>
                      <a:pt x="3349" y="614"/>
                    </a:cubicBezTo>
                    <a:cubicBezTo>
                      <a:pt x="3368" y="639"/>
                      <a:pt x="3393" y="651"/>
                      <a:pt x="3423" y="651"/>
                    </a:cubicBezTo>
                    <a:cubicBezTo>
                      <a:pt x="3453" y="651"/>
                      <a:pt x="3477" y="640"/>
                      <a:pt x="3495" y="619"/>
                    </a:cubicBezTo>
                    <a:cubicBezTo>
                      <a:pt x="3514" y="597"/>
                      <a:pt x="3523" y="570"/>
                      <a:pt x="3523" y="535"/>
                    </a:cubicBezTo>
                    <a:close/>
                    <a:moveTo>
                      <a:pt x="3933" y="534"/>
                    </a:moveTo>
                    <a:cubicBezTo>
                      <a:pt x="3933" y="584"/>
                      <a:pt x="3916" y="625"/>
                      <a:pt x="3883" y="655"/>
                    </a:cubicBezTo>
                    <a:cubicBezTo>
                      <a:pt x="3849" y="686"/>
                      <a:pt x="3805" y="701"/>
                      <a:pt x="3749" y="701"/>
                    </a:cubicBezTo>
                    <a:cubicBezTo>
                      <a:pt x="3701" y="701"/>
                      <a:pt x="3665" y="694"/>
                      <a:pt x="3642" y="680"/>
                    </a:cubicBezTo>
                    <a:cubicBezTo>
                      <a:pt x="3642" y="617"/>
                      <a:pt x="3642" y="617"/>
                      <a:pt x="3642" y="617"/>
                    </a:cubicBezTo>
                    <a:cubicBezTo>
                      <a:pt x="3677" y="639"/>
                      <a:pt x="3713" y="651"/>
                      <a:pt x="3750" y="651"/>
                    </a:cubicBezTo>
                    <a:cubicBezTo>
                      <a:pt x="3786" y="651"/>
                      <a:pt x="3816" y="641"/>
                      <a:pt x="3838" y="620"/>
                    </a:cubicBezTo>
                    <a:cubicBezTo>
                      <a:pt x="3861" y="600"/>
                      <a:pt x="3872" y="572"/>
                      <a:pt x="3872" y="538"/>
                    </a:cubicBezTo>
                    <a:cubicBezTo>
                      <a:pt x="3872" y="504"/>
                      <a:pt x="3861" y="477"/>
                      <a:pt x="3838" y="458"/>
                    </a:cubicBezTo>
                    <a:cubicBezTo>
                      <a:pt x="3815" y="439"/>
                      <a:pt x="3782" y="429"/>
                      <a:pt x="3739" y="429"/>
                    </a:cubicBezTo>
                    <a:cubicBezTo>
                      <a:pt x="3705" y="429"/>
                      <a:pt x="3676" y="431"/>
                      <a:pt x="3651" y="434"/>
                    </a:cubicBezTo>
                    <a:cubicBezTo>
                      <a:pt x="3669" y="174"/>
                      <a:pt x="3669" y="174"/>
                      <a:pt x="3669" y="174"/>
                    </a:cubicBezTo>
                    <a:cubicBezTo>
                      <a:pt x="3909" y="174"/>
                      <a:pt x="3909" y="174"/>
                      <a:pt x="3909" y="174"/>
                    </a:cubicBezTo>
                    <a:cubicBezTo>
                      <a:pt x="3909" y="227"/>
                      <a:pt x="3909" y="227"/>
                      <a:pt x="3909" y="227"/>
                    </a:cubicBezTo>
                    <a:cubicBezTo>
                      <a:pt x="3721" y="227"/>
                      <a:pt x="3721" y="227"/>
                      <a:pt x="3721" y="227"/>
                    </a:cubicBezTo>
                    <a:cubicBezTo>
                      <a:pt x="3710" y="380"/>
                      <a:pt x="3710" y="380"/>
                      <a:pt x="3710" y="380"/>
                    </a:cubicBezTo>
                    <a:cubicBezTo>
                      <a:pt x="3758" y="378"/>
                      <a:pt x="3758" y="378"/>
                      <a:pt x="3758" y="378"/>
                    </a:cubicBezTo>
                    <a:cubicBezTo>
                      <a:pt x="3812" y="378"/>
                      <a:pt x="3854" y="391"/>
                      <a:pt x="3886" y="419"/>
                    </a:cubicBezTo>
                    <a:cubicBezTo>
                      <a:pt x="3917" y="446"/>
                      <a:pt x="3933" y="484"/>
                      <a:pt x="3933" y="534"/>
                    </a:cubicBezTo>
                    <a:close/>
                    <a:moveTo>
                      <a:pt x="722" y="793"/>
                    </a:moveTo>
                    <a:cubicBezTo>
                      <a:pt x="722" y="793"/>
                      <a:pt x="722" y="793"/>
                      <a:pt x="722" y="793"/>
                    </a:cubicBezTo>
                    <a:cubicBezTo>
                      <a:pt x="722" y="74"/>
                      <a:pt x="722" y="74"/>
                      <a:pt x="722" y="74"/>
                    </a:cubicBezTo>
                    <a:cubicBezTo>
                      <a:pt x="464" y="0"/>
                      <a:pt x="464" y="0"/>
                      <a:pt x="464" y="0"/>
                    </a:cubicBezTo>
                    <a:cubicBezTo>
                      <a:pt x="2" y="174"/>
                      <a:pt x="2" y="174"/>
                      <a:pt x="2"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1" y="694"/>
                      <a:pt x="1" y="694"/>
                      <a:pt x="1" y="694"/>
                    </a:cubicBezTo>
                    <a:cubicBezTo>
                      <a:pt x="464" y="865"/>
                      <a:pt x="464" y="865"/>
                      <a:pt x="464" y="865"/>
                    </a:cubicBezTo>
                    <a:cubicBezTo>
                      <a:pt x="464" y="865"/>
                      <a:pt x="464" y="865"/>
                      <a:pt x="464" y="865"/>
                    </a:cubicBezTo>
                    <a:cubicBezTo>
                      <a:pt x="722" y="794"/>
                      <a:pt x="722" y="794"/>
                      <a:pt x="722" y="794"/>
                    </a:cubicBezTo>
                    <a:cubicBezTo>
                      <a:pt x="722" y="793"/>
                      <a:pt x="722" y="793"/>
                      <a:pt x="722" y="793"/>
                    </a:cubicBezTo>
                    <a:close/>
                  </a:path>
                </a:pathLst>
              </a:custGeom>
              <a:solidFill>
                <a:schemeClr val="bg1"/>
              </a:solidFill>
              <a:ln>
                <a:noFill/>
              </a:ln>
            </p:spPr>
            <p:txBody>
              <a:bodyPr vert="horz" wrap="square" lIns="89618" tIns="44809" rIns="89618" bIns="44809" numCol="1" anchor="t" anchorCtr="0" compatLnSpc="1">
                <a:prstTxWarp prst="textNoShape">
                  <a:avLst/>
                </a:prstTxWarp>
              </a:bodyPr>
              <a:lstStyle/>
              <a:p>
                <a:pPr defTabSz="914191">
                  <a:defRPr/>
                </a:pPr>
                <a:endParaRPr lang="en-US" sz="1764" kern="0">
                  <a:solidFill>
                    <a:srgbClr val="505050"/>
                  </a:solidFill>
                </a:endParaRPr>
              </a:p>
            </p:txBody>
          </p:sp>
          <p:grpSp>
            <p:nvGrpSpPr>
              <p:cNvPr id="110" name="Group 25"/>
              <p:cNvGrpSpPr>
                <a:grpSpLocks noChangeAspect="1"/>
              </p:cNvGrpSpPr>
              <p:nvPr/>
            </p:nvGrpSpPr>
            <p:grpSpPr bwMode="auto">
              <a:xfrm>
                <a:off x="463940" y="2653554"/>
                <a:ext cx="1160019" cy="140576"/>
                <a:chOff x="-1699" y="1488"/>
                <a:chExt cx="11074" cy="1342"/>
              </a:xfrm>
              <a:solidFill>
                <a:schemeClr val="accent6"/>
              </a:solidFill>
            </p:grpSpPr>
            <p:sp>
              <p:nvSpPr>
                <p:cNvPr id="111" name="Freeform 26"/>
                <p:cNvSpPr>
                  <a:spLocks/>
                </p:cNvSpPr>
                <p:nvPr/>
              </p:nvSpPr>
              <p:spPr bwMode="auto">
                <a:xfrm>
                  <a:off x="-1699" y="1578"/>
                  <a:ext cx="1250" cy="1231"/>
                </a:xfrm>
                <a:custGeom>
                  <a:avLst/>
                  <a:gdLst>
                    <a:gd name="T0" fmla="*/ 1250 w 1250"/>
                    <a:gd name="T1" fmla="*/ 1231 h 1231"/>
                    <a:gd name="T2" fmla="*/ 1109 w 1250"/>
                    <a:gd name="T3" fmla="*/ 1231 h 1231"/>
                    <a:gd name="T4" fmla="*/ 1109 w 1250"/>
                    <a:gd name="T5" fmla="*/ 228 h 1231"/>
                    <a:gd name="T6" fmla="*/ 1104 w 1250"/>
                    <a:gd name="T7" fmla="*/ 228 h 1231"/>
                    <a:gd name="T8" fmla="*/ 662 w 1250"/>
                    <a:gd name="T9" fmla="*/ 1231 h 1231"/>
                    <a:gd name="T10" fmla="*/ 591 w 1250"/>
                    <a:gd name="T11" fmla="*/ 1231 h 1231"/>
                    <a:gd name="T12" fmla="*/ 142 w 1250"/>
                    <a:gd name="T13" fmla="*/ 223 h 1231"/>
                    <a:gd name="T14" fmla="*/ 139 w 1250"/>
                    <a:gd name="T15" fmla="*/ 223 h 1231"/>
                    <a:gd name="T16" fmla="*/ 139 w 1250"/>
                    <a:gd name="T17" fmla="*/ 1231 h 1231"/>
                    <a:gd name="T18" fmla="*/ 0 w 1250"/>
                    <a:gd name="T19" fmla="*/ 1231 h 1231"/>
                    <a:gd name="T20" fmla="*/ 0 w 1250"/>
                    <a:gd name="T21" fmla="*/ 0 h 1231"/>
                    <a:gd name="T22" fmla="*/ 191 w 1250"/>
                    <a:gd name="T23" fmla="*/ 0 h 1231"/>
                    <a:gd name="T24" fmla="*/ 622 w 1250"/>
                    <a:gd name="T25" fmla="*/ 986 h 1231"/>
                    <a:gd name="T26" fmla="*/ 629 w 1250"/>
                    <a:gd name="T27" fmla="*/ 986 h 1231"/>
                    <a:gd name="T28" fmla="*/ 1071 w 1250"/>
                    <a:gd name="T29" fmla="*/ 0 h 1231"/>
                    <a:gd name="T30" fmla="*/ 1250 w 1250"/>
                    <a:gd name="T31" fmla="*/ 0 h 1231"/>
                    <a:gd name="T32" fmla="*/ 1250 w 1250"/>
                    <a:gd name="T33" fmla="*/ 1231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0" h="1231">
                      <a:moveTo>
                        <a:pt x="1250" y="1231"/>
                      </a:moveTo>
                      <a:lnTo>
                        <a:pt x="1109" y="1231"/>
                      </a:lnTo>
                      <a:lnTo>
                        <a:pt x="1109" y="228"/>
                      </a:lnTo>
                      <a:lnTo>
                        <a:pt x="1104" y="228"/>
                      </a:lnTo>
                      <a:lnTo>
                        <a:pt x="662" y="1231"/>
                      </a:lnTo>
                      <a:lnTo>
                        <a:pt x="591" y="1231"/>
                      </a:lnTo>
                      <a:lnTo>
                        <a:pt x="142" y="223"/>
                      </a:lnTo>
                      <a:lnTo>
                        <a:pt x="139" y="223"/>
                      </a:lnTo>
                      <a:lnTo>
                        <a:pt x="139" y="1231"/>
                      </a:lnTo>
                      <a:lnTo>
                        <a:pt x="0" y="1231"/>
                      </a:lnTo>
                      <a:lnTo>
                        <a:pt x="0" y="0"/>
                      </a:lnTo>
                      <a:lnTo>
                        <a:pt x="191" y="0"/>
                      </a:lnTo>
                      <a:lnTo>
                        <a:pt x="622" y="986"/>
                      </a:lnTo>
                      <a:lnTo>
                        <a:pt x="629" y="986"/>
                      </a:lnTo>
                      <a:lnTo>
                        <a:pt x="1071" y="0"/>
                      </a:lnTo>
                      <a:lnTo>
                        <a:pt x="1250" y="0"/>
                      </a:lnTo>
                      <a:lnTo>
                        <a:pt x="1250" y="123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sp>
              <p:nvSpPr>
                <p:cNvPr id="112" name="Freeform 27"/>
                <p:cNvSpPr>
                  <a:spLocks noEditPoints="1"/>
                </p:cNvSpPr>
                <p:nvPr/>
              </p:nvSpPr>
              <p:spPr bwMode="auto">
                <a:xfrm>
                  <a:off x="-222" y="1523"/>
                  <a:ext cx="185" cy="1286"/>
                </a:xfrm>
                <a:custGeom>
                  <a:avLst/>
                  <a:gdLst>
                    <a:gd name="T0" fmla="*/ 78 w 78"/>
                    <a:gd name="T1" fmla="*/ 38 h 541"/>
                    <a:gd name="T2" fmla="*/ 67 w 78"/>
                    <a:gd name="T3" fmla="*/ 66 h 541"/>
                    <a:gd name="T4" fmla="*/ 39 w 78"/>
                    <a:gd name="T5" fmla="*/ 77 h 541"/>
                    <a:gd name="T6" fmla="*/ 12 w 78"/>
                    <a:gd name="T7" fmla="*/ 66 h 541"/>
                    <a:gd name="T8" fmla="*/ 0 w 78"/>
                    <a:gd name="T9" fmla="*/ 38 h 541"/>
                    <a:gd name="T10" fmla="*/ 11 w 78"/>
                    <a:gd name="T11" fmla="*/ 11 h 541"/>
                    <a:gd name="T12" fmla="*/ 39 w 78"/>
                    <a:gd name="T13" fmla="*/ 0 h 541"/>
                    <a:gd name="T14" fmla="*/ 67 w 78"/>
                    <a:gd name="T15" fmla="*/ 11 h 541"/>
                    <a:gd name="T16" fmla="*/ 78 w 78"/>
                    <a:gd name="T17" fmla="*/ 38 h 541"/>
                    <a:gd name="T18" fmla="*/ 68 w 78"/>
                    <a:gd name="T19" fmla="*/ 541 h 541"/>
                    <a:gd name="T20" fmla="*/ 9 w 78"/>
                    <a:gd name="T21" fmla="*/ 541 h 541"/>
                    <a:gd name="T22" fmla="*/ 9 w 78"/>
                    <a:gd name="T23" fmla="*/ 171 h 541"/>
                    <a:gd name="T24" fmla="*/ 68 w 78"/>
                    <a:gd name="T25" fmla="*/ 171 h 541"/>
                    <a:gd name="T26" fmla="*/ 68 w 78"/>
                    <a:gd name="T27" fmla="*/ 541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41">
                      <a:moveTo>
                        <a:pt x="78" y="38"/>
                      </a:moveTo>
                      <a:cubicBezTo>
                        <a:pt x="78" y="49"/>
                        <a:pt x="74" y="59"/>
                        <a:pt x="67" y="66"/>
                      </a:cubicBezTo>
                      <a:cubicBezTo>
                        <a:pt x="59" y="73"/>
                        <a:pt x="50" y="77"/>
                        <a:pt x="39" y="77"/>
                      </a:cubicBezTo>
                      <a:cubicBezTo>
                        <a:pt x="28" y="77"/>
                        <a:pt x="19" y="73"/>
                        <a:pt x="12" y="66"/>
                      </a:cubicBezTo>
                      <a:cubicBezTo>
                        <a:pt x="4" y="59"/>
                        <a:pt x="0" y="50"/>
                        <a:pt x="0" y="38"/>
                      </a:cubicBezTo>
                      <a:cubicBezTo>
                        <a:pt x="0" y="28"/>
                        <a:pt x="4" y="19"/>
                        <a:pt x="11" y="11"/>
                      </a:cubicBezTo>
                      <a:cubicBezTo>
                        <a:pt x="19" y="4"/>
                        <a:pt x="28" y="0"/>
                        <a:pt x="39" y="0"/>
                      </a:cubicBezTo>
                      <a:cubicBezTo>
                        <a:pt x="50" y="0"/>
                        <a:pt x="59" y="4"/>
                        <a:pt x="67" y="11"/>
                      </a:cubicBezTo>
                      <a:cubicBezTo>
                        <a:pt x="74" y="19"/>
                        <a:pt x="78" y="28"/>
                        <a:pt x="78" y="38"/>
                      </a:cubicBezTo>
                      <a:close/>
                      <a:moveTo>
                        <a:pt x="68" y="541"/>
                      </a:moveTo>
                      <a:cubicBezTo>
                        <a:pt x="9" y="541"/>
                        <a:pt x="9" y="541"/>
                        <a:pt x="9" y="541"/>
                      </a:cubicBezTo>
                      <a:cubicBezTo>
                        <a:pt x="9" y="171"/>
                        <a:pt x="9" y="171"/>
                        <a:pt x="9" y="171"/>
                      </a:cubicBezTo>
                      <a:cubicBezTo>
                        <a:pt x="68" y="171"/>
                        <a:pt x="68" y="171"/>
                        <a:pt x="68" y="171"/>
                      </a:cubicBezTo>
                      <a:lnTo>
                        <a:pt x="68" y="5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sp>
              <p:nvSpPr>
                <p:cNvPr id="113" name="Freeform 28"/>
                <p:cNvSpPr>
                  <a:spLocks/>
                </p:cNvSpPr>
                <p:nvPr/>
              </p:nvSpPr>
              <p:spPr bwMode="auto">
                <a:xfrm>
                  <a:off x="100" y="1908"/>
                  <a:ext cx="659" cy="922"/>
                </a:xfrm>
                <a:custGeom>
                  <a:avLst/>
                  <a:gdLst>
                    <a:gd name="T0" fmla="*/ 278 w 279"/>
                    <a:gd name="T1" fmla="*/ 362 h 388"/>
                    <a:gd name="T2" fmla="*/ 176 w 279"/>
                    <a:gd name="T3" fmla="*/ 388 h 388"/>
                    <a:gd name="T4" fmla="*/ 85 w 279"/>
                    <a:gd name="T5" fmla="*/ 365 h 388"/>
                    <a:gd name="T6" fmla="*/ 23 w 279"/>
                    <a:gd name="T7" fmla="*/ 299 h 388"/>
                    <a:gd name="T8" fmla="*/ 0 w 279"/>
                    <a:gd name="T9" fmla="*/ 203 h 388"/>
                    <a:gd name="T10" fmla="*/ 53 w 279"/>
                    <a:gd name="T11" fmla="*/ 56 h 388"/>
                    <a:gd name="T12" fmla="*/ 193 w 279"/>
                    <a:gd name="T13" fmla="*/ 0 h 388"/>
                    <a:gd name="T14" fmla="*/ 279 w 279"/>
                    <a:gd name="T15" fmla="*/ 19 h 388"/>
                    <a:gd name="T16" fmla="*/ 279 w 279"/>
                    <a:gd name="T17" fmla="*/ 80 h 388"/>
                    <a:gd name="T18" fmla="*/ 191 w 279"/>
                    <a:gd name="T19" fmla="*/ 51 h 388"/>
                    <a:gd name="T20" fmla="*/ 97 w 279"/>
                    <a:gd name="T21" fmla="*/ 92 h 388"/>
                    <a:gd name="T22" fmla="*/ 61 w 279"/>
                    <a:gd name="T23" fmla="*/ 198 h 388"/>
                    <a:gd name="T24" fmla="*/ 95 w 279"/>
                    <a:gd name="T25" fmla="*/ 300 h 388"/>
                    <a:gd name="T26" fmla="*/ 187 w 279"/>
                    <a:gd name="T27" fmla="*/ 338 h 388"/>
                    <a:gd name="T28" fmla="*/ 278 w 279"/>
                    <a:gd name="T29" fmla="*/ 306 h 388"/>
                    <a:gd name="T30" fmla="*/ 278 w 279"/>
                    <a:gd name="T31" fmla="*/ 36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9" h="388">
                      <a:moveTo>
                        <a:pt x="278" y="362"/>
                      </a:moveTo>
                      <a:cubicBezTo>
                        <a:pt x="249" y="380"/>
                        <a:pt x="215" y="388"/>
                        <a:pt x="176" y="388"/>
                      </a:cubicBezTo>
                      <a:cubicBezTo>
                        <a:pt x="143" y="388"/>
                        <a:pt x="112" y="381"/>
                        <a:pt x="85" y="365"/>
                      </a:cubicBezTo>
                      <a:cubicBezTo>
                        <a:pt x="59" y="349"/>
                        <a:pt x="38" y="327"/>
                        <a:pt x="23" y="299"/>
                      </a:cubicBezTo>
                      <a:cubicBezTo>
                        <a:pt x="8" y="271"/>
                        <a:pt x="0" y="239"/>
                        <a:pt x="0" y="203"/>
                      </a:cubicBezTo>
                      <a:cubicBezTo>
                        <a:pt x="0" y="142"/>
                        <a:pt x="18" y="93"/>
                        <a:pt x="53" y="56"/>
                      </a:cubicBezTo>
                      <a:cubicBezTo>
                        <a:pt x="88" y="19"/>
                        <a:pt x="135" y="0"/>
                        <a:pt x="193" y="0"/>
                      </a:cubicBezTo>
                      <a:cubicBezTo>
                        <a:pt x="225" y="0"/>
                        <a:pt x="254" y="6"/>
                        <a:pt x="279" y="19"/>
                      </a:cubicBezTo>
                      <a:cubicBezTo>
                        <a:pt x="279" y="80"/>
                        <a:pt x="279" y="80"/>
                        <a:pt x="279" y="80"/>
                      </a:cubicBezTo>
                      <a:cubicBezTo>
                        <a:pt x="251" y="60"/>
                        <a:pt x="222" y="51"/>
                        <a:pt x="191" y="51"/>
                      </a:cubicBezTo>
                      <a:cubicBezTo>
                        <a:pt x="152" y="51"/>
                        <a:pt x="121" y="64"/>
                        <a:pt x="97" y="92"/>
                      </a:cubicBezTo>
                      <a:cubicBezTo>
                        <a:pt x="73" y="119"/>
                        <a:pt x="61" y="154"/>
                        <a:pt x="61" y="198"/>
                      </a:cubicBezTo>
                      <a:cubicBezTo>
                        <a:pt x="61" y="241"/>
                        <a:pt x="72" y="275"/>
                        <a:pt x="95" y="300"/>
                      </a:cubicBezTo>
                      <a:cubicBezTo>
                        <a:pt x="118" y="325"/>
                        <a:pt x="149" y="338"/>
                        <a:pt x="187" y="338"/>
                      </a:cubicBezTo>
                      <a:cubicBezTo>
                        <a:pt x="219" y="338"/>
                        <a:pt x="250" y="327"/>
                        <a:pt x="278" y="306"/>
                      </a:cubicBezTo>
                      <a:lnTo>
                        <a:pt x="278" y="36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sp>
              <p:nvSpPr>
                <p:cNvPr id="114" name="Freeform 29"/>
                <p:cNvSpPr>
                  <a:spLocks/>
                </p:cNvSpPr>
                <p:nvPr/>
              </p:nvSpPr>
              <p:spPr bwMode="auto">
                <a:xfrm>
                  <a:off x="913" y="1913"/>
                  <a:ext cx="456" cy="896"/>
                </a:xfrm>
                <a:custGeom>
                  <a:avLst/>
                  <a:gdLst>
                    <a:gd name="T0" fmla="*/ 193 w 193"/>
                    <a:gd name="T1" fmla="*/ 67 h 377"/>
                    <a:gd name="T2" fmla="*/ 148 w 193"/>
                    <a:gd name="T3" fmla="*/ 55 h 377"/>
                    <a:gd name="T4" fmla="*/ 84 w 193"/>
                    <a:gd name="T5" fmla="*/ 92 h 377"/>
                    <a:gd name="T6" fmla="*/ 59 w 193"/>
                    <a:gd name="T7" fmla="*/ 189 h 377"/>
                    <a:gd name="T8" fmla="*/ 59 w 193"/>
                    <a:gd name="T9" fmla="*/ 377 h 377"/>
                    <a:gd name="T10" fmla="*/ 0 w 193"/>
                    <a:gd name="T11" fmla="*/ 377 h 377"/>
                    <a:gd name="T12" fmla="*/ 0 w 193"/>
                    <a:gd name="T13" fmla="*/ 7 h 377"/>
                    <a:gd name="T14" fmla="*/ 59 w 193"/>
                    <a:gd name="T15" fmla="*/ 7 h 377"/>
                    <a:gd name="T16" fmla="*/ 59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0" y="67"/>
                        <a:pt x="84" y="92"/>
                      </a:cubicBezTo>
                      <a:cubicBezTo>
                        <a:pt x="68" y="117"/>
                        <a:pt x="59" y="149"/>
                        <a:pt x="59" y="189"/>
                      </a:cubicBezTo>
                      <a:cubicBezTo>
                        <a:pt x="59" y="377"/>
                        <a:pt x="59" y="377"/>
                        <a:pt x="59" y="377"/>
                      </a:cubicBezTo>
                      <a:cubicBezTo>
                        <a:pt x="0" y="377"/>
                        <a:pt x="0" y="377"/>
                        <a:pt x="0" y="377"/>
                      </a:cubicBezTo>
                      <a:cubicBezTo>
                        <a:pt x="0" y="7"/>
                        <a:pt x="0" y="7"/>
                        <a:pt x="0" y="7"/>
                      </a:cubicBezTo>
                      <a:cubicBezTo>
                        <a:pt x="59" y="7"/>
                        <a:pt x="59" y="7"/>
                        <a:pt x="59" y="7"/>
                      </a:cubicBezTo>
                      <a:cubicBezTo>
                        <a:pt x="59" y="83"/>
                        <a:pt x="59" y="83"/>
                        <a:pt x="59"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sp>
              <p:nvSpPr>
                <p:cNvPr id="115" name="Freeform 30"/>
                <p:cNvSpPr>
                  <a:spLocks noEditPoints="1"/>
                </p:cNvSpPr>
                <p:nvPr/>
              </p:nvSpPr>
              <p:spPr bwMode="auto">
                <a:xfrm>
                  <a:off x="1376" y="1908"/>
                  <a:ext cx="863" cy="922"/>
                </a:xfrm>
                <a:custGeom>
                  <a:avLst/>
                  <a:gdLst>
                    <a:gd name="T0" fmla="*/ 365 w 365"/>
                    <a:gd name="T1" fmla="*/ 193 h 388"/>
                    <a:gd name="T2" fmla="*/ 315 w 365"/>
                    <a:gd name="T3" fmla="*/ 335 h 388"/>
                    <a:gd name="T4" fmla="*/ 181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1"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sp>
              <p:nvSpPr>
                <p:cNvPr id="116" name="Freeform 31"/>
                <p:cNvSpPr>
                  <a:spLocks/>
                </p:cNvSpPr>
                <p:nvPr/>
              </p:nvSpPr>
              <p:spPr bwMode="auto">
                <a:xfrm>
                  <a:off x="2341" y="1908"/>
                  <a:ext cx="536" cy="922"/>
                </a:xfrm>
                <a:custGeom>
                  <a:avLst/>
                  <a:gdLst>
                    <a:gd name="T0" fmla="*/ 227 w 227"/>
                    <a:gd name="T1" fmla="*/ 280 h 388"/>
                    <a:gd name="T2" fmla="*/ 190 w 227"/>
                    <a:gd name="T3" fmla="*/ 358 h 388"/>
                    <a:gd name="T4" fmla="*/ 92 w 227"/>
                    <a:gd name="T5" fmla="*/ 388 h 388"/>
                    <a:gd name="T6" fmla="*/ 0 w 227"/>
                    <a:gd name="T7" fmla="*/ 366 h 388"/>
                    <a:gd name="T8" fmla="*/ 0 w 227"/>
                    <a:gd name="T9" fmla="*/ 302 h 388"/>
                    <a:gd name="T10" fmla="*/ 96 w 227"/>
                    <a:gd name="T11" fmla="*/ 338 h 388"/>
                    <a:gd name="T12" fmla="*/ 167 w 227"/>
                    <a:gd name="T13" fmla="*/ 286 h 388"/>
                    <a:gd name="T14" fmla="*/ 153 w 227"/>
                    <a:gd name="T15" fmla="*/ 252 h 388"/>
                    <a:gd name="T16" fmla="*/ 90 w 227"/>
                    <a:gd name="T17" fmla="*/ 216 h 388"/>
                    <a:gd name="T18" fmla="*/ 21 w 227"/>
                    <a:gd name="T19" fmla="*/ 171 h 388"/>
                    <a:gd name="T20" fmla="*/ 1 w 227"/>
                    <a:gd name="T21" fmla="*/ 107 h 388"/>
                    <a:gd name="T22" fmla="*/ 38 w 227"/>
                    <a:gd name="T23" fmla="*/ 31 h 388"/>
                    <a:gd name="T24" fmla="*/ 131 w 227"/>
                    <a:gd name="T25" fmla="*/ 0 h 388"/>
                    <a:gd name="T26" fmla="*/ 210 w 227"/>
                    <a:gd name="T27" fmla="*/ 17 h 388"/>
                    <a:gd name="T28" fmla="*/ 210 w 227"/>
                    <a:gd name="T29" fmla="*/ 77 h 388"/>
                    <a:gd name="T30" fmla="*/ 126 w 227"/>
                    <a:gd name="T31" fmla="*/ 51 h 388"/>
                    <a:gd name="T32" fmla="*/ 79 w 227"/>
                    <a:gd name="T33" fmla="*/ 65 h 388"/>
                    <a:gd name="T34" fmla="*/ 61 w 227"/>
                    <a:gd name="T35" fmla="*/ 102 h 388"/>
                    <a:gd name="T36" fmla="*/ 75 w 227"/>
                    <a:gd name="T37" fmla="*/ 140 h 388"/>
                    <a:gd name="T38" fmla="*/ 132 w 227"/>
                    <a:gd name="T39" fmla="*/ 171 h 388"/>
                    <a:gd name="T40" fmla="*/ 206 w 227"/>
                    <a:gd name="T41" fmla="*/ 218 h 388"/>
                    <a:gd name="T42" fmla="*/ 227 w 227"/>
                    <a:gd name="T43" fmla="*/ 28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8">
                      <a:moveTo>
                        <a:pt x="227" y="280"/>
                      </a:moveTo>
                      <a:cubicBezTo>
                        <a:pt x="227" y="312"/>
                        <a:pt x="215" y="338"/>
                        <a:pt x="190" y="358"/>
                      </a:cubicBezTo>
                      <a:cubicBezTo>
                        <a:pt x="166" y="378"/>
                        <a:pt x="133" y="388"/>
                        <a:pt x="92" y="388"/>
                      </a:cubicBezTo>
                      <a:cubicBezTo>
                        <a:pt x="57" y="388"/>
                        <a:pt x="26" y="381"/>
                        <a:pt x="0" y="366"/>
                      </a:cubicBezTo>
                      <a:cubicBezTo>
                        <a:pt x="0" y="302"/>
                        <a:pt x="0" y="302"/>
                        <a:pt x="0" y="302"/>
                      </a:cubicBezTo>
                      <a:cubicBezTo>
                        <a:pt x="29" y="326"/>
                        <a:pt x="61" y="338"/>
                        <a:pt x="96" y="338"/>
                      </a:cubicBezTo>
                      <a:cubicBezTo>
                        <a:pt x="143" y="338"/>
                        <a:pt x="167" y="320"/>
                        <a:pt x="167" y="286"/>
                      </a:cubicBezTo>
                      <a:cubicBezTo>
                        <a:pt x="167" y="272"/>
                        <a:pt x="162" y="261"/>
                        <a:pt x="153" y="252"/>
                      </a:cubicBezTo>
                      <a:cubicBezTo>
                        <a:pt x="144" y="243"/>
                        <a:pt x="123" y="231"/>
                        <a:pt x="90" y="216"/>
                      </a:cubicBezTo>
                      <a:cubicBezTo>
                        <a:pt x="58" y="202"/>
                        <a:pt x="34" y="187"/>
                        <a:pt x="21" y="171"/>
                      </a:cubicBezTo>
                      <a:cubicBezTo>
                        <a:pt x="7" y="155"/>
                        <a:pt x="1" y="134"/>
                        <a:pt x="1" y="107"/>
                      </a:cubicBezTo>
                      <a:cubicBezTo>
                        <a:pt x="1" y="77"/>
                        <a:pt x="13" y="51"/>
                        <a:pt x="38" y="31"/>
                      </a:cubicBezTo>
                      <a:cubicBezTo>
                        <a:pt x="62" y="10"/>
                        <a:pt x="93" y="0"/>
                        <a:pt x="131" y="0"/>
                      </a:cubicBezTo>
                      <a:cubicBezTo>
                        <a:pt x="160" y="0"/>
                        <a:pt x="187" y="6"/>
                        <a:pt x="210" y="17"/>
                      </a:cubicBezTo>
                      <a:cubicBezTo>
                        <a:pt x="210" y="77"/>
                        <a:pt x="210" y="77"/>
                        <a:pt x="210" y="77"/>
                      </a:cubicBezTo>
                      <a:cubicBezTo>
                        <a:pt x="186" y="59"/>
                        <a:pt x="158" y="51"/>
                        <a:pt x="126" y="51"/>
                      </a:cubicBezTo>
                      <a:cubicBezTo>
                        <a:pt x="107" y="51"/>
                        <a:pt x="91" y="55"/>
                        <a:pt x="79" y="65"/>
                      </a:cubicBezTo>
                      <a:cubicBezTo>
                        <a:pt x="67" y="75"/>
                        <a:pt x="61" y="87"/>
                        <a:pt x="61" y="102"/>
                      </a:cubicBezTo>
                      <a:cubicBezTo>
                        <a:pt x="61" y="119"/>
                        <a:pt x="66" y="131"/>
                        <a:pt x="75" y="140"/>
                      </a:cubicBezTo>
                      <a:cubicBezTo>
                        <a:pt x="84" y="149"/>
                        <a:pt x="103" y="159"/>
                        <a:pt x="132" y="171"/>
                      </a:cubicBezTo>
                      <a:cubicBezTo>
                        <a:pt x="167" y="186"/>
                        <a:pt x="192" y="202"/>
                        <a:pt x="206" y="218"/>
                      </a:cubicBezTo>
                      <a:cubicBezTo>
                        <a:pt x="220" y="235"/>
                        <a:pt x="227" y="255"/>
                        <a:pt x="227" y="28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sp>
              <p:nvSpPr>
                <p:cNvPr id="117" name="Freeform 32"/>
                <p:cNvSpPr>
                  <a:spLocks noEditPoints="1"/>
                </p:cNvSpPr>
                <p:nvPr/>
              </p:nvSpPr>
              <p:spPr bwMode="auto">
                <a:xfrm>
                  <a:off x="2960" y="1908"/>
                  <a:ext cx="863" cy="922"/>
                </a:xfrm>
                <a:custGeom>
                  <a:avLst/>
                  <a:gdLst>
                    <a:gd name="T0" fmla="*/ 365 w 365"/>
                    <a:gd name="T1" fmla="*/ 193 h 388"/>
                    <a:gd name="T2" fmla="*/ 315 w 365"/>
                    <a:gd name="T3" fmla="*/ 335 h 388"/>
                    <a:gd name="T4" fmla="*/ 180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0"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sp>
              <p:nvSpPr>
                <p:cNvPr id="118" name="Freeform 33"/>
                <p:cNvSpPr>
                  <a:spLocks/>
                </p:cNvSpPr>
                <p:nvPr/>
              </p:nvSpPr>
              <p:spPr bwMode="auto">
                <a:xfrm>
                  <a:off x="3856" y="1488"/>
                  <a:ext cx="529" cy="1321"/>
                </a:xfrm>
                <a:custGeom>
                  <a:avLst/>
                  <a:gdLst>
                    <a:gd name="T0" fmla="*/ 224 w 224"/>
                    <a:gd name="T1" fmla="*/ 60 h 556"/>
                    <a:gd name="T2" fmla="*/ 184 w 224"/>
                    <a:gd name="T3" fmla="*/ 50 h 556"/>
                    <a:gd name="T4" fmla="*/ 122 w 224"/>
                    <a:gd name="T5" fmla="*/ 129 h 556"/>
                    <a:gd name="T6" fmla="*/ 122 w 224"/>
                    <a:gd name="T7" fmla="*/ 186 h 556"/>
                    <a:gd name="T8" fmla="*/ 209 w 224"/>
                    <a:gd name="T9" fmla="*/ 186 h 556"/>
                    <a:gd name="T10" fmla="*/ 209 w 224"/>
                    <a:gd name="T11" fmla="*/ 236 h 556"/>
                    <a:gd name="T12" fmla="*/ 122 w 224"/>
                    <a:gd name="T13" fmla="*/ 236 h 556"/>
                    <a:gd name="T14" fmla="*/ 122 w 224"/>
                    <a:gd name="T15" fmla="*/ 556 h 556"/>
                    <a:gd name="T16" fmla="*/ 63 w 224"/>
                    <a:gd name="T17" fmla="*/ 556 h 556"/>
                    <a:gd name="T18" fmla="*/ 63 w 224"/>
                    <a:gd name="T19" fmla="*/ 236 h 556"/>
                    <a:gd name="T20" fmla="*/ 0 w 224"/>
                    <a:gd name="T21" fmla="*/ 236 h 556"/>
                    <a:gd name="T22" fmla="*/ 0 w 224"/>
                    <a:gd name="T23" fmla="*/ 186 h 556"/>
                    <a:gd name="T24" fmla="*/ 63 w 224"/>
                    <a:gd name="T25" fmla="*/ 186 h 556"/>
                    <a:gd name="T26" fmla="*/ 63 w 224"/>
                    <a:gd name="T27" fmla="*/ 126 h 556"/>
                    <a:gd name="T28" fmla="*/ 96 w 224"/>
                    <a:gd name="T29" fmla="*/ 35 h 556"/>
                    <a:gd name="T30" fmla="*/ 181 w 224"/>
                    <a:gd name="T31" fmla="*/ 0 h 556"/>
                    <a:gd name="T32" fmla="*/ 224 w 224"/>
                    <a:gd name="T33" fmla="*/ 7 h 556"/>
                    <a:gd name="T34" fmla="*/ 224 w 224"/>
                    <a:gd name="T35" fmla="*/ 6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556">
                      <a:moveTo>
                        <a:pt x="224" y="60"/>
                      </a:moveTo>
                      <a:cubicBezTo>
                        <a:pt x="212" y="54"/>
                        <a:pt x="199" y="50"/>
                        <a:pt x="184" y="50"/>
                      </a:cubicBezTo>
                      <a:cubicBezTo>
                        <a:pt x="143" y="50"/>
                        <a:pt x="122" y="77"/>
                        <a:pt x="122" y="129"/>
                      </a:cubicBezTo>
                      <a:cubicBezTo>
                        <a:pt x="122" y="186"/>
                        <a:pt x="122" y="186"/>
                        <a:pt x="122" y="186"/>
                      </a:cubicBezTo>
                      <a:cubicBezTo>
                        <a:pt x="209" y="186"/>
                        <a:pt x="209" y="186"/>
                        <a:pt x="209" y="186"/>
                      </a:cubicBezTo>
                      <a:cubicBezTo>
                        <a:pt x="209" y="236"/>
                        <a:pt x="209" y="236"/>
                        <a:pt x="209" y="236"/>
                      </a:cubicBezTo>
                      <a:cubicBezTo>
                        <a:pt x="122" y="236"/>
                        <a:pt x="122" y="236"/>
                        <a:pt x="122" y="236"/>
                      </a:cubicBezTo>
                      <a:cubicBezTo>
                        <a:pt x="122" y="556"/>
                        <a:pt x="122" y="556"/>
                        <a:pt x="122" y="556"/>
                      </a:cubicBezTo>
                      <a:cubicBezTo>
                        <a:pt x="63" y="556"/>
                        <a:pt x="63" y="556"/>
                        <a:pt x="63" y="556"/>
                      </a:cubicBezTo>
                      <a:cubicBezTo>
                        <a:pt x="63" y="236"/>
                        <a:pt x="63" y="236"/>
                        <a:pt x="63" y="236"/>
                      </a:cubicBezTo>
                      <a:cubicBezTo>
                        <a:pt x="0" y="236"/>
                        <a:pt x="0" y="236"/>
                        <a:pt x="0" y="236"/>
                      </a:cubicBezTo>
                      <a:cubicBezTo>
                        <a:pt x="0" y="186"/>
                        <a:pt x="0" y="186"/>
                        <a:pt x="0" y="186"/>
                      </a:cubicBezTo>
                      <a:cubicBezTo>
                        <a:pt x="63" y="186"/>
                        <a:pt x="63" y="186"/>
                        <a:pt x="63" y="186"/>
                      </a:cubicBezTo>
                      <a:cubicBezTo>
                        <a:pt x="63" y="126"/>
                        <a:pt x="63" y="126"/>
                        <a:pt x="63" y="126"/>
                      </a:cubicBezTo>
                      <a:cubicBezTo>
                        <a:pt x="63" y="88"/>
                        <a:pt x="74" y="58"/>
                        <a:pt x="96" y="35"/>
                      </a:cubicBezTo>
                      <a:cubicBezTo>
                        <a:pt x="118" y="12"/>
                        <a:pt x="146" y="0"/>
                        <a:pt x="181" y="0"/>
                      </a:cubicBezTo>
                      <a:cubicBezTo>
                        <a:pt x="199" y="0"/>
                        <a:pt x="213" y="2"/>
                        <a:pt x="224" y="7"/>
                      </a:cubicBezTo>
                      <a:lnTo>
                        <a:pt x="224" y="6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sp>
              <p:nvSpPr>
                <p:cNvPr id="119" name="Freeform 34"/>
                <p:cNvSpPr>
                  <a:spLocks/>
                </p:cNvSpPr>
                <p:nvPr/>
              </p:nvSpPr>
              <p:spPr bwMode="auto">
                <a:xfrm>
                  <a:off x="4338" y="1668"/>
                  <a:ext cx="513" cy="1162"/>
                </a:xfrm>
                <a:custGeom>
                  <a:avLst/>
                  <a:gdLst>
                    <a:gd name="T0" fmla="*/ 217 w 217"/>
                    <a:gd name="T1" fmla="*/ 477 h 489"/>
                    <a:gd name="T2" fmla="*/ 161 w 217"/>
                    <a:gd name="T3" fmla="*/ 489 h 489"/>
                    <a:gd name="T4" fmla="*/ 64 w 217"/>
                    <a:gd name="T5" fmla="*/ 379 h 489"/>
                    <a:gd name="T6" fmla="*/ 64 w 217"/>
                    <a:gd name="T7" fmla="*/ 160 h 489"/>
                    <a:gd name="T8" fmla="*/ 0 w 217"/>
                    <a:gd name="T9" fmla="*/ 160 h 489"/>
                    <a:gd name="T10" fmla="*/ 0 w 217"/>
                    <a:gd name="T11" fmla="*/ 110 h 489"/>
                    <a:gd name="T12" fmla="*/ 64 w 217"/>
                    <a:gd name="T13" fmla="*/ 110 h 489"/>
                    <a:gd name="T14" fmla="*/ 64 w 217"/>
                    <a:gd name="T15" fmla="*/ 20 h 489"/>
                    <a:gd name="T16" fmla="*/ 123 w 217"/>
                    <a:gd name="T17" fmla="*/ 0 h 489"/>
                    <a:gd name="T18" fmla="*/ 123 w 217"/>
                    <a:gd name="T19" fmla="*/ 110 h 489"/>
                    <a:gd name="T20" fmla="*/ 217 w 217"/>
                    <a:gd name="T21" fmla="*/ 110 h 489"/>
                    <a:gd name="T22" fmla="*/ 217 w 217"/>
                    <a:gd name="T23" fmla="*/ 160 h 489"/>
                    <a:gd name="T24" fmla="*/ 123 w 217"/>
                    <a:gd name="T25" fmla="*/ 160 h 489"/>
                    <a:gd name="T26" fmla="*/ 123 w 217"/>
                    <a:gd name="T27" fmla="*/ 369 h 489"/>
                    <a:gd name="T28" fmla="*/ 136 w 217"/>
                    <a:gd name="T29" fmla="*/ 422 h 489"/>
                    <a:gd name="T30" fmla="*/ 178 w 217"/>
                    <a:gd name="T31" fmla="*/ 438 h 489"/>
                    <a:gd name="T32" fmla="*/ 217 w 217"/>
                    <a:gd name="T33" fmla="*/ 426 h 489"/>
                    <a:gd name="T34" fmla="*/ 217 w 217"/>
                    <a:gd name="T35" fmla="*/ 477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489">
                      <a:moveTo>
                        <a:pt x="217" y="477"/>
                      </a:moveTo>
                      <a:cubicBezTo>
                        <a:pt x="203" y="485"/>
                        <a:pt x="184" y="489"/>
                        <a:pt x="161" y="489"/>
                      </a:cubicBezTo>
                      <a:cubicBezTo>
                        <a:pt x="96" y="489"/>
                        <a:pt x="64" y="452"/>
                        <a:pt x="64" y="379"/>
                      </a:cubicBezTo>
                      <a:cubicBezTo>
                        <a:pt x="64" y="160"/>
                        <a:pt x="64" y="160"/>
                        <a:pt x="64" y="160"/>
                      </a:cubicBezTo>
                      <a:cubicBezTo>
                        <a:pt x="0" y="160"/>
                        <a:pt x="0" y="160"/>
                        <a:pt x="0" y="160"/>
                      </a:cubicBezTo>
                      <a:cubicBezTo>
                        <a:pt x="0" y="110"/>
                        <a:pt x="0" y="110"/>
                        <a:pt x="0" y="110"/>
                      </a:cubicBezTo>
                      <a:cubicBezTo>
                        <a:pt x="64" y="110"/>
                        <a:pt x="64" y="110"/>
                        <a:pt x="64" y="110"/>
                      </a:cubicBezTo>
                      <a:cubicBezTo>
                        <a:pt x="64" y="20"/>
                        <a:pt x="64" y="20"/>
                        <a:pt x="64" y="20"/>
                      </a:cubicBezTo>
                      <a:cubicBezTo>
                        <a:pt x="123" y="0"/>
                        <a:pt x="123" y="0"/>
                        <a:pt x="123" y="0"/>
                      </a:cubicBezTo>
                      <a:cubicBezTo>
                        <a:pt x="123" y="110"/>
                        <a:pt x="123" y="110"/>
                        <a:pt x="123" y="110"/>
                      </a:cubicBezTo>
                      <a:cubicBezTo>
                        <a:pt x="217" y="110"/>
                        <a:pt x="217" y="110"/>
                        <a:pt x="217" y="110"/>
                      </a:cubicBezTo>
                      <a:cubicBezTo>
                        <a:pt x="217" y="160"/>
                        <a:pt x="217" y="160"/>
                        <a:pt x="217" y="160"/>
                      </a:cubicBezTo>
                      <a:cubicBezTo>
                        <a:pt x="123" y="160"/>
                        <a:pt x="123" y="160"/>
                        <a:pt x="123" y="160"/>
                      </a:cubicBezTo>
                      <a:cubicBezTo>
                        <a:pt x="123" y="369"/>
                        <a:pt x="123" y="369"/>
                        <a:pt x="123" y="369"/>
                      </a:cubicBezTo>
                      <a:cubicBezTo>
                        <a:pt x="123" y="394"/>
                        <a:pt x="128" y="412"/>
                        <a:pt x="136" y="422"/>
                      </a:cubicBezTo>
                      <a:cubicBezTo>
                        <a:pt x="145" y="433"/>
                        <a:pt x="159" y="438"/>
                        <a:pt x="178" y="438"/>
                      </a:cubicBezTo>
                      <a:cubicBezTo>
                        <a:pt x="193" y="438"/>
                        <a:pt x="206" y="434"/>
                        <a:pt x="217" y="426"/>
                      </a:cubicBezTo>
                      <a:lnTo>
                        <a:pt x="217" y="47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sp>
              <p:nvSpPr>
                <p:cNvPr id="120" name="Freeform 35"/>
                <p:cNvSpPr>
                  <a:spLocks noEditPoints="1"/>
                </p:cNvSpPr>
                <p:nvPr/>
              </p:nvSpPr>
              <p:spPr bwMode="auto">
                <a:xfrm>
                  <a:off x="5212" y="1578"/>
                  <a:ext cx="1090" cy="1231"/>
                </a:xfrm>
                <a:custGeom>
                  <a:avLst/>
                  <a:gdLst>
                    <a:gd name="T0" fmla="*/ 1090 w 1090"/>
                    <a:gd name="T1" fmla="*/ 1231 h 1231"/>
                    <a:gd name="T2" fmla="*/ 932 w 1090"/>
                    <a:gd name="T3" fmla="*/ 1231 h 1231"/>
                    <a:gd name="T4" fmla="*/ 802 w 1090"/>
                    <a:gd name="T5" fmla="*/ 886 h 1231"/>
                    <a:gd name="T6" fmla="*/ 282 w 1090"/>
                    <a:gd name="T7" fmla="*/ 886 h 1231"/>
                    <a:gd name="T8" fmla="*/ 159 w 1090"/>
                    <a:gd name="T9" fmla="*/ 1231 h 1231"/>
                    <a:gd name="T10" fmla="*/ 0 w 1090"/>
                    <a:gd name="T11" fmla="*/ 1231 h 1231"/>
                    <a:gd name="T12" fmla="*/ 468 w 1090"/>
                    <a:gd name="T13" fmla="*/ 0 h 1231"/>
                    <a:gd name="T14" fmla="*/ 617 w 1090"/>
                    <a:gd name="T15" fmla="*/ 0 h 1231"/>
                    <a:gd name="T16" fmla="*/ 1090 w 1090"/>
                    <a:gd name="T17" fmla="*/ 1231 h 1231"/>
                    <a:gd name="T18" fmla="*/ 754 w 1090"/>
                    <a:gd name="T19" fmla="*/ 755 h 1231"/>
                    <a:gd name="T20" fmla="*/ 542 w 1090"/>
                    <a:gd name="T21" fmla="*/ 180 h 1231"/>
                    <a:gd name="T22" fmla="*/ 539 w 1090"/>
                    <a:gd name="T23" fmla="*/ 180 h 1231"/>
                    <a:gd name="T24" fmla="*/ 329 w 1090"/>
                    <a:gd name="T25" fmla="*/ 755 h 1231"/>
                    <a:gd name="T26" fmla="*/ 754 w 1090"/>
                    <a:gd name="T27" fmla="*/ 755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0" h="1231">
                      <a:moveTo>
                        <a:pt x="1090" y="1231"/>
                      </a:moveTo>
                      <a:lnTo>
                        <a:pt x="932" y="1231"/>
                      </a:lnTo>
                      <a:lnTo>
                        <a:pt x="802" y="886"/>
                      </a:lnTo>
                      <a:lnTo>
                        <a:pt x="282" y="886"/>
                      </a:lnTo>
                      <a:lnTo>
                        <a:pt x="159" y="1231"/>
                      </a:lnTo>
                      <a:lnTo>
                        <a:pt x="0" y="1231"/>
                      </a:lnTo>
                      <a:lnTo>
                        <a:pt x="468" y="0"/>
                      </a:lnTo>
                      <a:lnTo>
                        <a:pt x="617" y="0"/>
                      </a:lnTo>
                      <a:lnTo>
                        <a:pt x="1090" y="1231"/>
                      </a:lnTo>
                      <a:close/>
                      <a:moveTo>
                        <a:pt x="754" y="755"/>
                      </a:moveTo>
                      <a:lnTo>
                        <a:pt x="542" y="180"/>
                      </a:lnTo>
                      <a:lnTo>
                        <a:pt x="539" y="180"/>
                      </a:lnTo>
                      <a:lnTo>
                        <a:pt x="329" y="755"/>
                      </a:lnTo>
                      <a:lnTo>
                        <a:pt x="754" y="75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sp>
              <p:nvSpPr>
                <p:cNvPr id="121" name="Freeform 36"/>
                <p:cNvSpPr>
                  <a:spLocks/>
                </p:cNvSpPr>
                <p:nvPr/>
              </p:nvSpPr>
              <p:spPr bwMode="auto">
                <a:xfrm>
                  <a:off x="6363" y="1930"/>
                  <a:ext cx="726" cy="879"/>
                </a:xfrm>
                <a:custGeom>
                  <a:avLst/>
                  <a:gdLst>
                    <a:gd name="T0" fmla="*/ 726 w 726"/>
                    <a:gd name="T1" fmla="*/ 40 h 879"/>
                    <a:gd name="T2" fmla="*/ 206 w 726"/>
                    <a:gd name="T3" fmla="*/ 760 h 879"/>
                    <a:gd name="T4" fmla="*/ 719 w 726"/>
                    <a:gd name="T5" fmla="*/ 760 h 879"/>
                    <a:gd name="T6" fmla="*/ 719 w 726"/>
                    <a:gd name="T7" fmla="*/ 879 h 879"/>
                    <a:gd name="T8" fmla="*/ 0 w 726"/>
                    <a:gd name="T9" fmla="*/ 879 h 879"/>
                    <a:gd name="T10" fmla="*/ 0 w 726"/>
                    <a:gd name="T11" fmla="*/ 836 h 879"/>
                    <a:gd name="T12" fmla="*/ 518 w 726"/>
                    <a:gd name="T13" fmla="*/ 118 h 879"/>
                    <a:gd name="T14" fmla="*/ 50 w 726"/>
                    <a:gd name="T15" fmla="*/ 118 h 879"/>
                    <a:gd name="T16" fmla="*/ 50 w 726"/>
                    <a:gd name="T17" fmla="*/ 0 h 879"/>
                    <a:gd name="T18" fmla="*/ 726 w 726"/>
                    <a:gd name="T19" fmla="*/ 0 h 879"/>
                    <a:gd name="T20" fmla="*/ 726 w 726"/>
                    <a:gd name="T21" fmla="*/ 40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6" h="879">
                      <a:moveTo>
                        <a:pt x="726" y="40"/>
                      </a:moveTo>
                      <a:lnTo>
                        <a:pt x="206" y="760"/>
                      </a:lnTo>
                      <a:lnTo>
                        <a:pt x="719" y="760"/>
                      </a:lnTo>
                      <a:lnTo>
                        <a:pt x="719" y="879"/>
                      </a:lnTo>
                      <a:lnTo>
                        <a:pt x="0" y="879"/>
                      </a:lnTo>
                      <a:lnTo>
                        <a:pt x="0" y="836"/>
                      </a:lnTo>
                      <a:lnTo>
                        <a:pt x="518" y="118"/>
                      </a:lnTo>
                      <a:lnTo>
                        <a:pt x="50" y="118"/>
                      </a:lnTo>
                      <a:lnTo>
                        <a:pt x="50" y="0"/>
                      </a:lnTo>
                      <a:lnTo>
                        <a:pt x="726" y="0"/>
                      </a:lnTo>
                      <a:lnTo>
                        <a:pt x="726" y="4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sp>
              <p:nvSpPr>
                <p:cNvPr id="122" name="Freeform 37"/>
                <p:cNvSpPr>
                  <a:spLocks/>
                </p:cNvSpPr>
                <p:nvPr/>
              </p:nvSpPr>
              <p:spPr bwMode="auto">
                <a:xfrm>
                  <a:off x="7193" y="1930"/>
                  <a:ext cx="728" cy="900"/>
                </a:xfrm>
                <a:custGeom>
                  <a:avLst/>
                  <a:gdLst>
                    <a:gd name="T0" fmla="*/ 308 w 308"/>
                    <a:gd name="T1" fmla="*/ 370 h 379"/>
                    <a:gd name="T2" fmla="*/ 248 w 308"/>
                    <a:gd name="T3" fmla="*/ 370 h 379"/>
                    <a:gd name="T4" fmla="*/ 248 w 308"/>
                    <a:gd name="T5" fmla="*/ 312 h 379"/>
                    <a:gd name="T6" fmla="*/ 247 w 308"/>
                    <a:gd name="T7" fmla="*/ 312 h 379"/>
                    <a:gd name="T8" fmla="*/ 133 w 308"/>
                    <a:gd name="T9" fmla="*/ 379 h 379"/>
                    <a:gd name="T10" fmla="*/ 0 w 308"/>
                    <a:gd name="T11" fmla="*/ 221 h 379"/>
                    <a:gd name="T12" fmla="*/ 0 w 308"/>
                    <a:gd name="T13" fmla="*/ 0 h 379"/>
                    <a:gd name="T14" fmla="*/ 60 w 308"/>
                    <a:gd name="T15" fmla="*/ 0 h 379"/>
                    <a:gd name="T16" fmla="*/ 60 w 308"/>
                    <a:gd name="T17" fmla="*/ 212 h 379"/>
                    <a:gd name="T18" fmla="*/ 149 w 308"/>
                    <a:gd name="T19" fmla="*/ 329 h 379"/>
                    <a:gd name="T20" fmla="*/ 221 w 308"/>
                    <a:gd name="T21" fmla="*/ 297 h 379"/>
                    <a:gd name="T22" fmla="*/ 248 w 308"/>
                    <a:gd name="T23" fmla="*/ 213 h 379"/>
                    <a:gd name="T24" fmla="*/ 248 w 308"/>
                    <a:gd name="T25" fmla="*/ 0 h 379"/>
                    <a:gd name="T26" fmla="*/ 308 w 308"/>
                    <a:gd name="T27" fmla="*/ 0 h 379"/>
                    <a:gd name="T28" fmla="*/ 308 w 308"/>
                    <a:gd name="T29" fmla="*/ 37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8" h="379">
                      <a:moveTo>
                        <a:pt x="308" y="370"/>
                      </a:moveTo>
                      <a:cubicBezTo>
                        <a:pt x="248" y="370"/>
                        <a:pt x="248" y="370"/>
                        <a:pt x="248" y="370"/>
                      </a:cubicBezTo>
                      <a:cubicBezTo>
                        <a:pt x="248" y="312"/>
                        <a:pt x="248" y="312"/>
                        <a:pt x="248" y="312"/>
                      </a:cubicBezTo>
                      <a:cubicBezTo>
                        <a:pt x="247" y="312"/>
                        <a:pt x="247" y="312"/>
                        <a:pt x="247" y="312"/>
                      </a:cubicBezTo>
                      <a:cubicBezTo>
                        <a:pt x="222" y="357"/>
                        <a:pt x="184" y="379"/>
                        <a:pt x="133" y="379"/>
                      </a:cubicBezTo>
                      <a:cubicBezTo>
                        <a:pt x="45" y="379"/>
                        <a:pt x="0" y="327"/>
                        <a:pt x="0" y="221"/>
                      </a:cubicBezTo>
                      <a:cubicBezTo>
                        <a:pt x="0" y="0"/>
                        <a:pt x="0" y="0"/>
                        <a:pt x="0" y="0"/>
                      </a:cubicBezTo>
                      <a:cubicBezTo>
                        <a:pt x="60" y="0"/>
                        <a:pt x="60" y="0"/>
                        <a:pt x="60" y="0"/>
                      </a:cubicBezTo>
                      <a:cubicBezTo>
                        <a:pt x="60" y="212"/>
                        <a:pt x="60" y="212"/>
                        <a:pt x="60" y="212"/>
                      </a:cubicBezTo>
                      <a:cubicBezTo>
                        <a:pt x="60" y="290"/>
                        <a:pt x="90" y="329"/>
                        <a:pt x="149" y="329"/>
                      </a:cubicBezTo>
                      <a:cubicBezTo>
                        <a:pt x="179" y="329"/>
                        <a:pt x="203" y="318"/>
                        <a:pt x="221" y="297"/>
                      </a:cubicBezTo>
                      <a:cubicBezTo>
                        <a:pt x="239" y="275"/>
                        <a:pt x="248" y="248"/>
                        <a:pt x="248" y="213"/>
                      </a:cubicBezTo>
                      <a:cubicBezTo>
                        <a:pt x="248" y="0"/>
                        <a:pt x="248" y="0"/>
                        <a:pt x="248" y="0"/>
                      </a:cubicBezTo>
                      <a:cubicBezTo>
                        <a:pt x="308" y="0"/>
                        <a:pt x="308" y="0"/>
                        <a:pt x="308" y="0"/>
                      </a:cubicBezTo>
                      <a:lnTo>
                        <a:pt x="308" y="37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sp>
              <p:nvSpPr>
                <p:cNvPr id="123" name="Freeform 38"/>
                <p:cNvSpPr>
                  <a:spLocks/>
                </p:cNvSpPr>
                <p:nvPr/>
              </p:nvSpPr>
              <p:spPr bwMode="auto">
                <a:xfrm>
                  <a:off x="8148" y="1913"/>
                  <a:ext cx="456" cy="896"/>
                </a:xfrm>
                <a:custGeom>
                  <a:avLst/>
                  <a:gdLst>
                    <a:gd name="T0" fmla="*/ 193 w 193"/>
                    <a:gd name="T1" fmla="*/ 67 h 377"/>
                    <a:gd name="T2" fmla="*/ 148 w 193"/>
                    <a:gd name="T3" fmla="*/ 55 h 377"/>
                    <a:gd name="T4" fmla="*/ 84 w 193"/>
                    <a:gd name="T5" fmla="*/ 92 h 377"/>
                    <a:gd name="T6" fmla="*/ 60 w 193"/>
                    <a:gd name="T7" fmla="*/ 189 h 377"/>
                    <a:gd name="T8" fmla="*/ 60 w 193"/>
                    <a:gd name="T9" fmla="*/ 377 h 377"/>
                    <a:gd name="T10" fmla="*/ 0 w 193"/>
                    <a:gd name="T11" fmla="*/ 377 h 377"/>
                    <a:gd name="T12" fmla="*/ 0 w 193"/>
                    <a:gd name="T13" fmla="*/ 7 h 377"/>
                    <a:gd name="T14" fmla="*/ 60 w 193"/>
                    <a:gd name="T15" fmla="*/ 7 h 377"/>
                    <a:gd name="T16" fmla="*/ 60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1" y="67"/>
                        <a:pt x="84" y="92"/>
                      </a:cubicBezTo>
                      <a:cubicBezTo>
                        <a:pt x="68" y="117"/>
                        <a:pt x="60" y="149"/>
                        <a:pt x="60" y="189"/>
                      </a:cubicBezTo>
                      <a:cubicBezTo>
                        <a:pt x="60" y="377"/>
                        <a:pt x="60" y="377"/>
                        <a:pt x="60" y="377"/>
                      </a:cubicBezTo>
                      <a:cubicBezTo>
                        <a:pt x="0" y="377"/>
                        <a:pt x="0" y="377"/>
                        <a:pt x="0" y="377"/>
                      </a:cubicBezTo>
                      <a:cubicBezTo>
                        <a:pt x="0" y="7"/>
                        <a:pt x="0" y="7"/>
                        <a:pt x="0" y="7"/>
                      </a:cubicBezTo>
                      <a:cubicBezTo>
                        <a:pt x="60" y="7"/>
                        <a:pt x="60" y="7"/>
                        <a:pt x="60" y="7"/>
                      </a:cubicBezTo>
                      <a:cubicBezTo>
                        <a:pt x="60" y="83"/>
                        <a:pt x="60" y="83"/>
                        <a:pt x="60"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sp>
              <p:nvSpPr>
                <p:cNvPr id="124" name="Freeform 39"/>
                <p:cNvSpPr>
                  <a:spLocks noEditPoints="1"/>
                </p:cNvSpPr>
                <p:nvPr/>
              </p:nvSpPr>
              <p:spPr bwMode="auto">
                <a:xfrm>
                  <a:off x="8611" y="1908"/>
                  <a:ext cx="764" cy="922"/>
                </a:xfrm>
                <a:custGeom>
                  <a:avLst/>
                  <a:gdLst>
                    <a:gd name="T0" fmla="*/ 323 w 323"/>
                    <a:gd name="T1" fmla="*/ 209 h 388"/>
                    <a:gd name="T2" fmla="*/ 62 w 323"/>
                    <a:gd name="T3" fmla="*/ 209 h 388"/>
                    <a:gd name="T4" fmla="*/ 95 w 323"/>
                    <a:gd name="T5" fmla="*/ 305 h 388"/>
                    <a:gd name="T6" fmla="*/ 183 w 323"/>
                    <a:gd name="T7" fmla="*/ 338 h 388"/>
                    <a:gd name="T8" fmla="*/ 297 w 323"/>
                    <a:gd name="T9" fmla="*/ 297 h 388"/>
                    <a:gd name="T10" fmla="*/ 297 w 323"/>
                    <a:gd name="T11" fmla="*/ 353 h 388"/>
                    <a:gd name="T12" fmla="*/ 169 w 323"/>
                    <a:gd name="T13" fmla="*/ 388 h 388"/>
                    <a:gd name="T14" fmla="*/ 45 w 323"/>
                    <a:gd name="T15" fmla="*/ 337 h 388"/>
                    <a:gd name="T16" fmla="*/ 0 w 323"/>
                    <a:gd name="T17" fmla="*/ 196 h 388"/>
                    <a:gd name="T18" fmla="*/ 23 w 323"/>
                    <a:gd name="T19" fmla="*/ 95 h 388"/>
                    <a:gd name="T20" fmla="*/ 84 w 323"/>
                    <a:gd name="T21" fmla="*/ 25 h 388"/>
                    <a:gd name="T22" fmla="*/ 171 w 323"/>
                    <a:gd name="T23" fmla="*/ 0 h 388"/>
                    <a:gd name="T24" fmla="*/ 283 w 323"/>
                    <a:gd name="T25" fmla="*/ 47 h 388"/>
                    <a:gd name="T26" fmla="*/ 323 w 323"/>
                    <a:gd name="T27" fmla="*/ 178 h 388"/>
                    <a:gd name="T28" fmla="*/ 323 w 323"/>
                    <a:gd name="T29" fmla="*/ 209 h 388"/>
                    <a:gd name="T30" fmla="*/ 263 w 323"/>
                    <a:gd name="T31" fmla="*/ 159 h 388"/>
                    <a:gd name="T32" fmla="*/ 238 w 323"/>
                    <a:gd name="T33" fmla="*/ 79 h 388"/>
                    <a:gd name="T34" fmla="*/ 170 w 323"/>
                    <a:gd name="T35" fmla="*/ 51 h 388"/>
                    <a:gd name="T36" fmla="*/ 100 w 323"/>
                    <a:gd name="T37" fmla="*/ 80 h 388"/>
                    <a:gd name="T38" fmla="*/ 63 w 323"/>
                    <a:gd name="T39" fmla="*/ 159 h 388"/>
                    <a:gd name="T40" fmla="*/ 263 w 323"/>
                    <a:gd name="T41" fmla="*/ 159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3" h="388">
                      <a:moveTo>
                        <a:pt x="323" y="209"/>
                      </a:moveTo>
                      <a:cubicBezTo>
                        <a:pt x="62" y="209"/>
                        <a:pt x="62" y="209"/>
                        <a:pt x="62" y="209"/>
                      </a:cubicBezTo>
                      <a:cubicBezTo>
                        <a:pt x="63" y="251"/>
                        <a:pt x="74" y="283"/>
                        <a:pt x="95" y="305"/>
                      </a:cubicBezTo>
                      <a:cubicBezTo>
                        <a:pt x="116" y="327"/>
                        <a:pt x="145" y="338"/>
                        <a:pt x="183" y="338"/>
                      </a:cubicBezTo>
                      <a:cubicBezTo>
                        <a:pt x="225" y="338"/>
                        <a:pt x="263" y="324"/>
                        <a:pt x="297" y="297"/>
                      </a:cubicBezTo>
                      <a:cubicBezTo>
                        <a:pt x="297" y="353"/>
                        <a:pt x="297" y="353"/>
                        <a:pt x="297" y="353"/>
                      </a:cubicBezTo>
                      <a:cubicBezTo>
                        <a:pt x="265" y="376"/>
                        <a:pt x="222" y="388"/>
                        <a:pt x="169" y="388"/>
                      </a:cubicBezTo>
                      <a:cubicBezTo>
                        <a:pt x="116" y="388"/>
                        <a:pt x="75" y="371"/>
                        <a:pt x="45" y="337"/>
                      </a:cubicBezTo>
                      <a:cubicBezTo>
                        <a:pt x="15" y="303"/>
                        <a:pt x="0" y="256"/>
                        <a:pt x="0" y="196"/>
                      </a:cubicBezTo>
                      <a:cubicBezTo>
                        <a:pt x="0" y="159"/>
                        <a:pt x="8" y="125"/>
                        <a:pt x="23" y="95"/>
                      </a:cubicBezTo>
                      <a:cubicBezTo>
                        <a:pt x="38" y="65"/>
                        <a:pt x="58" y="42"/>
                        <a:pt x="84" y="25"/>
                      </a:cubicBezTo>
                      <a:cubicBezTo>
                        <a:pt x="110" y="8"/>
                        <a:pt x="139" y="0"/>
                        <a:pt x="171" y="0"/>
                      </a:cubicBezTo>
                      <a:cubicBezTo>
                        <a:pt x="219" y="0"/>
                        <a:pt x="256" y="16"/>
                        <a:pt x="283" y="47"/>
                      </a:cubicBezTo>
                      <a:cubicBezTo>
                        <a:pt x="310" y="78"/>
                        <a:pt x="323" y="122"/>
                        <a:pt x="323" y="178"/>
                      </a:cubicBezTo>
                      <a:lnTo>
                        <a:pt x="323" y="209"/>
                      </a:lnTo>
                      <a:close/>
                      <a:moveTo>
                        <a:pt x="263" y="159"/>
                      </a:moveTo>
                      <a:cubicBezTo>
                        <a:pt x="262" y="124"/>
                        <a:pt x="254" y="98"/>
                        <a:pt x="238" y="79"/>
                      </a:cubicBezTo>
                      <a:cubicBezTo>
                        <a:pt x="222" y="60"/>
                        <a:pt x="199" y="51"/>
                        <a:pt x="170" y="51"/>
                      </a:cubicBezTo>
                      <a:cubicBezTo>
                        <a:pt x="143" y="51"/>
                        <a:pt x="119" y="60"/>
                        <a:pt x="100" y="80"/>
                      </a:cubicBezTo>
                      <a:cubicBezTo>
                        <a:pt x="80" y="100"/>
                        <a:pt x="68" y="126"/>
                        <a:pt x="63" y="159"/>
                      </a:cubicBezTo>
                      <a:lnTo>
                        <a:pt x="263" y="15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grpSp>
        </p:grpSp>
        <p:grpSp>
          <p:nvGrpSpPr>
            <p:cNvPr id="125" name="Group 124"/>
            <p:cNvGrpSpPr/>
            <p:nvPr/>
          </p:nvGrpSpPr>
          <p:grpSpPr>
            <a:xfrm>
              <a:off x="502526" y="4263632"/>
              <a:ext cx="3790601" cy="811206"/>
              <a:chOff x="350126" y="4111232"/>
              <a:chExt cx="3790601" cy="811206"/>
            </a:xfrm>
          </p:grpSpPr>
          <p:pic>
            <p:nvPicPr>
              <p:cNvPr id="126" name="Picture 125"/>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27775" y="4664834"/>
                <a:ext cx="1104830" cy="200541"/>
              </a:xfrm>
              <a:prstGeom prst="rect">
                <a:avLst/>
              </a:prstGeom>
            </p:spPr>
          </p:pic>
          <p:pic>
            <p:nvPicPr>
              <p:cNvPr id="127" name="Picture 126"/>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3620229" y="4282463"/>
                <a:ext cx="520498" cy="142180"/>
              </a:xfrm>
              <a:prstGeom prst="rect">
                <a:avLst/>
              </a:prstGeom>
            </p:spPr>
          </p:pic>
          <p:pic>
            <p:nvPicPr>
              <p:cNvPr id="128" name="Picture 127"/>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1730077" y="4111232"/>
                <a:ext cx="791901" cy="361753"/>
              </a:xfrm>
              <a:prstGeom prst="rect">
                <a:avLst/>
              </a:prstGeom>
            </p:spPr>
          </p:pic>
          <p:pic>
            <p:nvPicPr>
              <p:cNvPr id="129" name="Picture 2"/>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350126" y="4128257"/>
                <a:ext cx="1270438" cy="440120"/>
              </a:xfrm>
              <a:prstGeom prst="rect">
                <a:avLst/>
              </a:prstGeom>
              <a:noFill/>
              <a:extLst>
                <a:ext uri="{909E8E84-426E-40DD-AFC4-6F175D3DCCD1}">
                  <a14:hiddenFill xmlns:a14="http://schemas.microsoft.com/office/drawing/2010/main">
                    <a:solidFill>
                      <a:srgbClr val="FFFFFF"/>
                    </a:solidFill>
                  </a14:hiddenFill>
                </a:ext>
              </a:extLst>
            </p:spPr>
          </p:pic>
          <p:grpSp>
            <p:nvGrpSpPr>
              <p:cNvPr id="130" name="Group 129"/>
              <p:cNvGrpSpPr/>
              <p:nvPr/>
            </p:nvGrpSpPr>
            <p:grpSpPr>
              <a:xfrm>
                <a:off x="1725225" y="4607122"/>
                <a:ext cx="1105742" cy="315316"/>
                <a:chOff x="10957261" y="3258670"/>
                <a:chExt cx="881667" cy="251419"/>
              </a:xfrm>
            </p:grpSpPr>
            <p:pic>
              <p:nvPicPr>
                <p:cNvPr id="141" name="Picture 140"/>
                <p:cNvPicPr>
                  <a:picLocks noChangeAspect="1"/>
                </p:cNvPicPr>
                <p:nvPr/>
              </p:nvPicPr>
              <p:blipFill rotWithShape="1">
                <a:blip r:embed="rId7" cstate="screen">
                  <a:clrChange>
                    <a:clrFrom>
                      <a:srgbClr val="FFFFFF"/>
                    </a:clrFrom>
                    <a:clrTo>
                      <a:srgbClr val="FFFFFF">
                        <a:alpha val="0"/>
                      </a:srgbClr>
                    </a:clrTo>
                  </a:clrChange>
                  <a:lum bright="51000"/>
                  <a:extLst>
                    <a:ext uri="{28A0092B-C50C-407E-A947-70E740481C1C}">
                      <a14:useLocalDpi xmlns:a14="http://schemas.microsoft.com/office/drawing/2010/main" val="0"/>
                    </a:ext>
                  </a:extLst>
                </a:blip>
                <a:srcRect/>
                <a:stretch/>
              </p:blipFill>
              <p:spPr>
                <a:xfrm>
                  <a:off x="10957261" y="3269634"/>
                  <a:ext cx="219488" cy="240455"/>
                </a:xfrm>
                <a:prstGeom prst="rect">
                  <a:avLst/>
                </a:prstGeom>
                <a:noFill/>
                <a:ln>
                  <a:noFill/>
                </a:ln>
              </p:spPr>
            </p:pic>
            <p:pic>
              <p:nvPicPr>
                <p:cNvPr id="142" name="Picture 141"/>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11176749" y="3258670"/>
                  <a:ext cx="662179" cy="251419"/>
                </a:xfrm>
                <a:prstGeom prst="rect">
                  <a:avLst/>
                </a:prstGeom>
                <a:noFill/>
                <a:ln>
                  <a:noFill/>
                </a:ln>
              </p:spPr>
            </p:pic>
          </p:grpSp>
          <p:grpSp>
            <p:nvGrpSpPr>
              <p:cNvPr id="131" name="Group 130"/>
              <p:cNvGrpSpPr/>
              <p:nvPr/>
            </p:nvGrpSpPr>
            <p:grpSpPr>
              <a:xfrm>
                <a:off x="3169172" y="4650424"/>
                <a:ext cx="734207" cy="237416"/>
                <a:chOff x="12136828" y="3259592"/>
                <a:chExt cx="585422" cy="189305"/>
              </a:xfrm>
            </p:grpSpPr>
            <p:pic>
              <p:nvPicPr>
                <p:cNvPr id="133" name="Picture 4" descr="http://tctechcrunch2011.files.wordpress.com/2012/11/twilio-logo-6a141664f35a78e9ac08eed627c2a859.png"/>
                <p:cNvPicPr>
                  <a:picLocks noChangeAspect="1" noChangeArrowheads="1"/>
                </p:cNvPicPr>
                <p:nvPr/>
              </p:nvPicPr>
              <p:blipFill rotWithShape="1">
                <a:blip r:embed="rId9" cstate="screen">
                  <a:extLst>
                    <a:ext uri="{28A0092B-C50C-407E-A947-70E740481C1C}">
                      <a14:useLocalDpi xmlns:a14="http://schemas.microsoft.com/office/drawing/2010/main" val="0"/>
                    </a:ext>
                  </a:extLst>
                </a:blip>
                <a:srcRect/>
                <a:stretch/>
              </p:blipFill>
              <p:spPr bwMode="auto">
                <a:xfrm>
                  <a:off x="12332326" y="3259592"/>
                  <a:ext cx="389924" cy="189305"/>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134" name="Group 133"/>
                <p:cNvGrpSpPr/>
                <p:nvPr/>
              </p:nvGrpSpPr>
              <p:grpSpPr>
                <a:xfrm>
                  <a:off x="12136828" y="3268957"/>
                  <a:ext cx="178831" cy="178830"/>
                  <a:chOff x="12136828" y="3639206"/>
                  <a:chExt cx="178831" cy="178830"/>
                </a:xfrm>
              </p:grpSpPr>
              <p:sp>
                <p:nvSpPr>
                  <p:cNvPr id="135" name="Freeform 134"/>
                  <p:cNvSpPr/>
                  <p:nvPr/>
                </p:nvSpPr>
                <p:spPr bwMode="auto">
                  <a:xfrm>
                    <a:off x="12136828" y="3639206"/>
                    <a:ext cx="178831" cy="178830"/>
                  </a:xfrm>
                  <a:custGeom>
                    <a:avLst/>
                    <a:gdLst>
                      <a:gd name="connsiteX0" fmla="*/ 89415 w 178830"/>
                      <a:gd name="connsiteY0" fmla="*/ 0 h 178830"/>
                      <a:gd name="connsiteX1" fmla="*/ 178830 w 178830"/>
                      <a:gd name="connsiteY1" fmla="*/ 89415 h 178830"/>
                      <a:gd name="connsiteX2" fmla="*/ 89415 w 178830"/>
                      <a:gd name="connsiteY2" fmla="*/ 178830 h 178830"/>
                      <a:gd name="connsiteX3" fmla="*/ 0 w 178830"/>
                      <a:gd name="connsiteY3" fmla="*/ 89415 h 178830"/>
                      <a:gd name="connsiteX4" fmla="*/ 89415 w 178830"/>
                      <a:gd name="connsiteY4" fmla="*/ 0 h 178830"/>
                      <a:gd name="connsiteX5" fmla="*/ 89415 w 178830"/>
                      <a:gd name="connsiteY5" fmla="*/ 25937 h 178830"/>
                      <a:gd name="connsiteX6" fmla="*/ 25937 w 178830"/>
                      <a:gd name="connsiteY6" fmla="*/ 89415 h 178830"/>
                      <a:gd name="connsiteX7" fmla="*/ 89415 w 178830"/>
                      <a:gd name="connsiteY7" fmla="*/ 152893 h 178830"/>
                      <a:gd name="connsiteX8" fmla="*/ 152893 w 178830"/>
                      <a:gd name="connsiteY8" fmla="*/ 89415 h 178830"/>
                      <a:gd name="connsiteX9" fmla="*/ 89415 w 178830"/>
                      <a:gd name="connsiteY9" fmla="*/ 25937 h 17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830" h="178830">
                        <a:moveTo>
                          <a:pt x="89415" y="0"/>
                        </a:moveTo>
                        <a:cubicBezTo>
                          <a:pt x="138798" y="0"/>
                          <a:pt x="178830" y="40032"/>
                          <a:pt x="178830" y="89415"/>
                        </a:cubicBezTo>
                        <a:cubicBezTo>
                          <a:pt x="178830" y="138798"/>
                          <a:pt x="138798" y="178830"/>
                          <a:pt x="89415" y="178830"/>
                        </a:cubicBezTo>
                        <a:cubicBezTo>
                          <a:pt x="40032" y="178830"/>
                          <a:pt x="0" y="138798"/>
                          <a:pt x="0" y="89415"/>
                        </a:cubicBezTo>
                        <a:cubicBezTo>
                          <a:pt x="0" y="40032"/>
                          <a:pt x="40032" y="0"/>
                          <a:pt x="89415" y="0"/>
                        </a:cubicBezTo>
                        <a:close/>
                        <a:moveTo>
                          <a:pt x="89415" y="25937"/>
                        </a:moveTo>
                        <a:cubicBezTo>
                          <a:pt x="54357" y="25937"/>
                          <a:pt x="25937" y="54357"/>
                          <a:pt x="25937" y="89415"/>
                        </a:cubicBezTo>
                        <a:cubicBezTo>
                          <a:pt x="25937" y="124473"/>
                          <a:pt x="54357" y="152893"/>
                          <a:pt x="89415" y="152893"/>
                        </a:cubicBezTo>
                        <a:cubicBezTo>
                          <a:pt x="124473" y="152893"/>
                          <a:pt x="152893" y="124473"/>
                          <a:pt x="152893" y="89415"/>
                        </a:cubicBezTo>
                        <a:cubicBezTo>
                          <a:pt x="152893" y="54357"/>
                          <a:pt x="124473" y="25937"/>
                          <a:pt x="89415" y="25937"/>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17">
                            <a:srgbClr val="000000"/>
                          </a:gs>
                          <a:gs pos="100000">
                            <a:srgbClr val="000000"/>
                          </a:gs>
                        </a:gsLst>
                        <a:lin ang="5400000" scaled="0"/>
                      </a:gradFill>
                    </a:endParaRPr>
                  </a:p>
                </p:txBody>
              </p:sp>
              <p:grpSp>
                <p:nvGrpSpPr>
                  <p:cNvPr id="136" name="Group 135"/>
                  <p:cNvGrpSpPr/>
                  <p:nvPr/>
                </p:nvGrpSpPr>
                <p:grpSpPr>
                  <a:xfrm>
                    <a:off x="12187796" y="3692698"/>
                    <a:ext cx="76943" cy="71846"/>
                    <a:chOff x="12157225" y="3537324"/>
                    <a:chExt cx="65970" cy="61600"/>
                  </a:xfrm>
                  <a:solidFill>
                    <a:schemeClr val="bg1"/>
                  </a:solidFill>
                </p:grpSpPr>
                <p:sp>
                  <p:nvSpPr>
                    <p:cNvPr id="137" name="Oval 136"/>
                    <p:cNvSpPr/>
                    <p:nvPr/>
                  </p:nvSpPr>
                  <p:spPr bwMode="auto">
                    <a:xfrm>
                      <a:off x="12157225" y="3537325"/>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17">
                              <a:srgbClr val="000000"/>
                            </a:gs>
                            <a:gs pos="100000">
                              <a:srgbClr val="000000"/>
                            </a:gs>
                          </a:gsLst>
                          <a:lin ang="5400000" scaled="0"/>
                        </a:gradFill>
                      </a:endParaRPr>
                    </a:p>
                  </p:txBody>
                </p:sp>
                <p:sp>
                  <p:nvSpPr>
                    <p:cNvPr id="138" name="Oval 137"/>
                    <p:cNvSpPr/>
                    <p:nvPr/>
                  </p:nvSpPr>
                  <p:spPr bwMode="auto">
                    <a:xfrm>
                      <a:off x="12195763" y="3537324"/>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17">
                              <a:srgbClr val="000000"/>
                            </a:gs>
                            <a:gs pos="100000">
                              <a:srgbClr val="000000"/>
                            </a:gs>
                          </a:gsLst>
                          <a:lin ang="5400000" scaled="0"/>
                        </a:gradFill>
                      </a:endParaRPr>
                    </a:p>
                  </p:txBody>
                </p:sp>
                <p:sp>
                  <p:nvSpPr>
                    <p:cNvPr id="139" name="Oval 138"/>
                    <p:cNvSpPr/>
                    <p:nvPr/>
                  </p:nvSpPr>
                  <p:spPr bwMode="auto">
                    <a:xfrm>
                      <a:off x="12157225" y="3571492"/>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17">
                              <a:srgbClr val="000000"/>
                            </a:gs>
                            <a:gs pos="100000">
                              <a:srgbClr val="000000"/>
                            </a:gs>
                          </a:gsLst>
                          <a:lin ang="5400000" scaled="0"/>
                        </a:gradFill>
                      </a:endParaRPr>
                    </a:p>
                  </p:txBody>
                </p:sp>
                <p:sp>
                  <p:nvSpPr>
                    <p:cNvPr id="140" name="Oval 139"/>
                    <p:cNvSpPr/>
                    <p:nvPr/>
                  </p:nvSpPr>
                  <p:spPr bwMode="auto">
                    <a:xfrm>
                      <a:off x="12195763" y="3571492"/>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17">
                              <a:srgbClr val="000000"/>
                            </a:gs>
                            <a:gs pos="100000">
                              <a:srgbClr val="000000"/>
                            </a:gs>
                          </a:gsLst>
                          <a:lin ang="5400000" scaled="0"/>
                        </a:gradFill>
                      </a:endParaRPr>
                    </a:p>
                  </p:txBody>
                </p:sp>
              </p:grpSp>
            </p:grpSp>
          </p:grpSp>
          <p:pic>
            <p:nvPicPr>
              <p:cNvPr id="132" name="Picture 131"/>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2774348" y="4120591"/>
                <a:ext cx="585798" cy="446449"/>
              </a:xfrm>
              <a:prstGeom prst="rect">
                <a:avLst/>
              </a:prstGeom>
            </p:spPr>
          </p:pic>
        </p:grpSp>
        <p:sp>
          <p:nvSpPr>
            <p:cNvPr id="143" name="Rectangle 142"/>
            <p:cNvSpPr/>
            <p:nvPr/>
          </p:nvSpPr>
          <p:spPr bwMode="auto">
            <a:xfrm>
              <a:off x="427037" y="3707676"/>
              <a:ext cx="3274550" cy="57250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defRPr/>
              </a:pPr>
              <a:r>
                <a:rPr lang="en-US" sz="1800" b="1" kern="0" spc="50" dirty="0">
                  <a:gradFill>
                    <a:gsLst>
                      <a:gs pos="0">
                        <a:srgbClr val="FFFFFF"/>
                      </a:gs>
                      <a:gs pos="83000">
                        <a:srgbClr val="FFFFFF"/>
                      </a:gs>
                    </a:gsLst>
                    <a:lin ang="5400000" scaled="1"/>
                  </a:gradFill>
                </a:rPr>
                <a:t>NON-MICROSOFT CLOUD</a:t>
              </a:r>
            </a:p>
          </p:txBody>
        </p:sp>
        <p:grpSp>
          <p:nvGrpSpPr>
            <p:cNvPr id="144" name="Group 143"/>
            <p:cNvGrpSpPr/>
            <p:nvPr/>
          </p:nvGrpSpPr>
          <p:grpSpPr>
            <a:xfrm>
              <a:off x="427037" y="5330334"/>
              <a:ext cx="3499894" cy="1318220"/>
              <a:chOff x="274637" y="5177934"/>
              <a:chExt cx="3499894" cy="1318220"/>
            </a:xfrm>
          </p:grpSpPr>
          <p:sp>
            <p:nvSpPr>
              <p:cNvPr id="145" name="Rectangle 144"/>
              <p:cNvSpPr/>
              <p:nvPr/>
            </p:nvSpPr>
            <p:spPr bwMode="auto">
              <a:xfrm>
                <a:off x="274637" y="5177934"/>
                <a:ext cx="3274550" cy="57246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defRPr/>
                </a:pPr>
                <a:r>
                  <a:rPr lang="en-US" sz="1800" b="1" kern="0" spc="50" dirty="0">
                    <a:gradFill>
                      <a:gsLst>
                        <a:gs pos="0">
                          <a:srgbClr val="FFFFFF"/>
                        </a:gs>
                        <a:gs pos="83000">
                          <a:srgbClr val="FFFFFF"/>
                        </a:gs>
                      </a:gsLst>
                      <a:lin ang="5400000" scaled="1"/>
                    </a:gradFill>
                  </a:rPr>
                  <a:t>ON-PREMISE DATA</a:t>
                </a:r>
              </a:p>
            </p:txBody>
          </p:sp>
          <p:pic>
            <p:nvPicPr>
              <p:cNvPr id="146" name="Picture 145"/>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457490" y="5790086"/>
                <a:ext cx="1100752" cy="285133"/>
              </a:xfrm>
              <a:prstGeom prst="rect">
                <a:avLst/>
              </a:prstGeom>
            </p:spPr>
          </p:pic>
          <p:pic>
            <p:nvPicPr>
              <p:cNvPr id="147" name="Picture 10" descr="\\sfp\Work\White_Whale\_Archive-Tracy\_Archive-Tracy\7-20642_Cloud_Services_Track\Art\Logos\PNGs\Oracle.png"/>
              <p:cNvPicPr>
                <a:picLocks noChangeAspect="1" noChangeArrowheads="1"/>
              </p:cNvPicPr>
              <p:nvPr/>
            </p:nvPicPr>
            <p:blipFill>
              <a:blip r:embed="rId12" cstate="screen">
                <a:extLst>
                  <a:ext uri="{28A0092B-C50C-407E-A947-70E740481C1C}">
                    <a14:useLocalDpi xmlns:a14="http://schemas.microsoft.com/office/drawing/2010/main" val="0"/>
                  </a:ext>
                </a:extLst>
              </a:blip>
              <a:srcRect/>
              <a:stretch>
                <a:fillRect/>
              </a:stretch>
            </p:blipFill>
            <p:spPr bwMode="auto">
              <a:xfrm>
                <a:off x="472534" y="6303466"/>
                <a:ext cx="1011393" cy="128281"/>
              </a:xfrm>
              <a:prstGeom prst="rect">
                <a:avLst/>
              </a:prstGeom>
              <a:noFill/>
              <a:extLst/>
            </p:spPr>
          </p:pic>
          <p:pic>
            <p:nvPicPr>
              <p:cNvPr id="148" name="Picture 147"/>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1811065" y="5790086"/>
                <a:ext cx="577203" cy="285882"/>
              </a:xfrm>
              <a:prstGeom prst="rect">
                <a:avLst/>
              </a:prstGeom>
            </p:spPr>
          </p:pic>
          <p:pic>
            <p:nvPicPr>
              <p:cNvPr id="149" name="Picture 148"/>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3176281" y="6264840"/>
                <a:ext cx="598250" cy="231314"/>
              </a:xfrm>
              <a:prstGeom prst="rect">
                <a:avLst/>
              </a:prstGeom>
              <a:noFill/>
              <a:ln>
                <a:noFill/>
              </a:ln>
            </p:spPr>
          </p:pic>
          <p:pic>
            <p:nvPicPr>
              <p:cNvPr id="150" name="Picture 149"/>
              <p:cNvPicPr>
                <a:picLocks noChangeAspect="1"/>
              </p:cNvPicPr>
              <p:nvPr/>
            </p:nvPicPr>
            <p:blipFill>
              <a:blip r:embed="rId15" cstate="screen">
                <a:extLst>
                  <a:ext uri="{28A0092B-C50C-407E-A947-70E740481C1C}">
                    <a14:useLocalDpi xmlns:a14="http://schemas.microsoft.com/office/drawing/2010/main" val="0"/>
                  </a:ext>
                </a:extLst>
              </a:blip>
              <a:stretch>
                <a:fillRect/>
              </a:stretch>
            </p:blipFill>
            <p:spPr>
              <a:xfrm>
                <a:off x="2641091" y="5766276"/>
                <a:ext cx="907024" cy="403877"/>
              </a:xfrm>
              <a:prstGeom prst="rect">
                <a:avLst/>
              </a:prstGeom>
            </p:spPr>
          </p:pic>
          <p:pic>
            <p:nvPicPr>
              <p:cNvPr id="151" name="Picture 150"/>
              <p:cNvPicPr>
                <a:picLocks noChangeAspect="1"/>
              </p:cNvPicPr>
              <p:nvPr/>
            </p:nvPicPr>
            <p:blipFill>
              <a:blip r:embed="rId16" cstate="screen">
                <a:extLst>
                  <a:ext uri="{28A0092B-C50C-407E-A947-70E740481C1C}">
                    <a14:useLocalDpi xmlns:a14="http://schemas.microsoft.com/office/drawing/2010/main" val="0"/>
                  </a:ext>
                </a:extLst>
              </a:blip>
              <a:stretch>
                <a:fillRect/>
              </a:stretch>
            </p:blipFill>
            <p:spPr>
              <a:xfrm>
                <a:off x="1776455" y="6290022"/>
                <a:ext cx="811650" cy="180951"/>
              </a:xfrm>
              <a:prstGeom prst="rect">
                <a:avLst/>
              </a:prstGeom>
            </p:spPr>
          </p:pic>
        </p:grpSp>
      </p:grpSp>
      <p:pic>
        <p:nvPicPr>
          <p:cNvPr id="96" name="Picture 95"/>
          <p:cNvPicPr>
            <a:picLocks noChangeAspect="1"/>
          </p:cNvPicPr>
          <p:nvPr/>
        </p:nvPicPr>
        <p:blipFill>
          <a:blip r:embed="rId17" cstate="screen">
            <a:extLst>
              <a:ext uri="{28A0092B-C50C-407E-A947-70E740481C1C}">
                <a14:useLocalDpi xmlns:a14="http://schemas.microsoft.com/office/drawing/2010/main" val="0"/>
              </a:ext>
            </a:extLst>
          </a:blip>
          <a:stretch>
            <a:fillRect/>
          </a:stretch>
        </p:blipFill>
        <p:spPr>
          <a:xfrm>
            <a:off x="7627691" y="4156109"/>
            <a:ext cx="4386576" cy="2109035"/>
          </a:xfrm>
          <a:prstGeom prst="rect">
            <a:avLst/>
          </a:prstGeom>
          <a:noFill/>
          <a:ln>
            <a:noFill/>
          </a:ln>
        </p:spPr>
      </p:pic>
      <p:grpSp>
        <p:nvGrpSpPr>
          <p:cNvPr id="18" name="Group 17"/>
          <p:cNvGrpSpPr/>
          <p:nvPr/>
        </p:nvGrpSpPr>
        <p:grpSpPr>
          <a:xfrm>
            <a:off x="518086" y="3967158"/>
            <a:ext cx="3790064" cy="811091"/>
            <a:chOff x="350126" y="4111232"/>
            <a:chExt cx="3790601" cy="811206"/>
          </a:xfrm>
        </p:grpSpPr>
        <p:pic>
          <p:nvPicPr>
            <p:cNvPr id="73" name="Picture 72"/>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27775" y="4664834"/>
              <a:ext cx="1104830" cy="200541"/>
            </a:xfrm>
            <a:prstGeom prst="rect">
              <a:avLst/>
            </a:prstGeom>
          </p:spPr>
        </p:pic>
        <p:pic>
          <p:nvPicPr>
            <p:cNvPr id="74" name="Picture 73"/>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3620229" y="4282463"/>
              <a:ext cx="520498" cy="142180"/>
            </a:xfrm>
            <a:prstGeom prst="rect">
              <a:avLst/>
            </a:prstGeom>
          </p:spPr>
        </p:pic>
        <p:pic>
          <p:nvPicPr>
            <p:cNvPr id="75" name="Picture 74"/>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1730077" y="4111232"/>
              <a:ext cx="791901" cy="361753"/>
            </a:xfrm>
            <a:prstGeom prst="rect">
              <a:avLst/>
            </a:prstGeom>
          </p:spPr>
        </p:pic>
        <p:pic>
          <p:nvPicPr>
            <p:cNvPr id="76" name="Picture 2"/>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350126" y="4128257"/>
              <a:ext cx="1270438" cy="440120"/>
            </a:xfrm>
            <a:prstGeom prst="rect">
              <a:avLst/>
            </a:prstGeom>
            <a:noFill/>
            <a:extLst>
              <a:ext uri="{909E8E84-426E-40DD-AFC4-6F175D3DCCD1}">
                <a14:hiddenFill xmlns:a14="http://schemas.microsoft.com/office/drawing/2010/main">
                  <a:solidFill>
                    <a:srgbClr val="FFFFFF"/>
                  </a:solidFill>
                </a14:hiddenFill>
              </a:ext>
            </a:extLst>
          </p:spPr>
        </p:pic>
        <p:grpSp>
          <p:nvGrpSpPr>
            <p:cNvPr id="80" name="Group 79"/>
            <p:cNvGrpSpPr/>
            <p:nvPr/>
          </p:nvGrpSpPr>
          <p:grpSpPr>
            <a:xfrm>
              <a:off x="1725228" y="4607122"/>
              <a:ext cx="1105746" cy="315316"/>
              <a:chOff x="10957261" y="3258670"/>
              <a:chExt cx="881670" cy="251419"/>
            </a:xfrm>
          </p:grpSpPr>
          <p:pic>
            <p:nvPicPr>
              <p:cNvPr id="81" name="Picture 80"/>
              <p:cNvPicPr>
                <a:picLocks noChangeAspect="1"/>
              </p:cNvPicPr>
              <p:nvPr/>
            </p:nvPicPr>
            <p:blipFill rotWithShape="1">
              <a:blip r:embed="rId7" cstate="screen">
                <a:clrChange>
                  <a:clrFrom>
                    <a:srgbClr val="FFFFFF"/>
                  </a:clrFrom>
                  <a:clrTo>
                    <a:srgbClr val="FFFFFF">
                      <a:alpha val="0"/>
                    </a:srgbClr>
                  </a:clrTo>
                </a:clrChange>
                <a:lum bright="51000"/>
                <a:extLst>
                  <a:ext uri="{28A0092B-C50C-407E-A947-70E740481C1C}">
                    <a14:useLocalDpi xmlns:a14="http://schemas.microsoft.com/office/drawing/2010/main" val="0"/>
                  </a:ext>
                </a:extLst>
              </a:blip>
              <a:srcRect/>
              <a:stretch/>
            </p:blipFill>
            <p:spPr>
              <a:xfrm>
                <a:off x="10957261" y="3269634"/>
                <a:ext cx="219488" cy="240455"/>
              </a:xfrm>
              <a:prstGeom prst="rect">
                <a:avLst/>
              </a:prstGeom>
              <a:noFill/>
              <a:ln>
                <a:noFill/>
              </a:ln>
            </p:spPr>
          </p:pic>
          <p:pic>
            <p:nvPicPr>
              <p:cNvPr id="82" name="Picture 81"/>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11176752" y="3258670"/>
                <a:ext cx="662179" cy="251419"/>
              </a:xfrm>
              <a:prstGeom prst="rect">
                <a:avLst/>
              </a:prstGeom>
              <a:noFill/>
              <a:ln>
                <a:noFill/>
              </a:ln>
            </p:spPr>
          </p:pic>
        </p:grpSp>
        <p:grpSp>
          <p:nvGrpSpPr>
            <p:cNvPr id="83" name="Group 82"/>
            <p:cNvGrpSpPr/>
            <p:nvPr/>
          </p:nvGrpSpPr>
          <p:grpSpPr>
            <a:xfrm>
              <a:off x="3169172" y="4650424"/>
              <a:ext cx="734207" cy="237416"/>
              <a:chOff x="12136828" y="3259592"/>
              <a:chExt cx="585422" cy="189305"/>
            </a:xfrm>
          </p:grpSpPr>
          <p:pic>
            <p:nvPicPr>
              <p:cNvPr id="84" name="Picture 4" descr="http://tctechcrunch2011.files.wordpress.com/2012/11/twilio-logo-6a141664f35a78e9ac08eed627c2a859.png"/>
              <p:cNvPicPr>
                <a:picLocks noChangeAspect="1" noChangeArrowheads="1"/>
              </p:cNvPicPr>
              <p:nvPr/>
            </p:nvPicPr>
            <p:blipFill rotWithShape="1">
              <a:blip r:embed="rId9" cstate="screen">
                <a:extLst>
                  <a:ext uri="{28A0092B-C50C-407E-A947-70E740481C1C}">
                    <a14:useLocalDpi xmlns:a14="http://schemas.microsoft.com/office/drawing/2010/main" val="0"/>
                  </a:ext>
                </a:extLst>
              </a:blip>
              <a:srcRect/>
              <a:stretch/>
            </p:blipFill>
            <p:spPr bwMode="auto">
              <a:xfrm>
                <a:off x="12332326" y="3259592"/>
                <a:ext cx="389924" cy="189305"/>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85" name="Group 84"/>
              <p:cNvGrpSpPr/>
              <p:nvPr/>
            </p:nvGrpSpPr>
            <p:grpSpPr>
              <a:xfrm>
                <a:off x="12136828" y="3268957"/>
                <a:ext cx="178831" cy="178830"/>
                <a:chOff x="12136828" y="3639206"/>
                <a:chExt cx="178831" cy="178830"/>
              </a:xfrm>
            </p:grpSpPr>
            <p:sp>
              <p:nvSpPr>
                <p:cNvPr id="86" name="Freeform 85"/>
                <p:cNvSpPr/>
                <p:nvPr/>
              </p:nvSpPr>
              <p:spPr bwMode="auto">
                <a:xfrm>
                  <a:off x="12136828" y="3639206"/>
                  <a:ext cx="178831" cy="178830"/>
                </a:xfrm>
                <a:custGeom>
                  <a:avLst/>
                  <a:gdLst>
                    <a:gd name="connsiteX0" fmla="*/ 89415 w 178830"/>
                    <a:gd name="connsiteY0" fmla="*/ 0 h 178830"/>
                    <a:gd name="connsiteX1" fmla="*/ 178830 w 178830"/>
                    <a:gd name="connsiteY1" fmla="*/ 89415 h 178830"/>
                    <a:gd name="connsiteX2" fmla="*/ 89415 w 178830"/>
                    <a:gd name="connsiteY2" fmla="*/ 178830 h 178830"/>
                    <a:gd name="connsiteX3" fmla="*/ 0 w 178830"/>
                    <a:gd name="connsiteY3" fmla="*/ 89415 h 178830"/>
                    <a:gd name="connsiteX4" fmla="*/ 89415 w 178830"/>
                    <a:gd name="connsiteY4" fmla="*/ 0 h 178830"/>
                    <a:gd name="connsiteX5" fmla="*/ 89415 w 178830"/>
                    <a:gd name="connsiteY5" fmla="*/ 25937 h 178830"/>
                    <a:gd name="connsiteX6" fmla="*/ 25937 w 178830"/>
                    <a:gd name="connsiteY6" fmla="*/ 89415 h 178830"/>
                    <a:gd name="connsiteX7" fmla="*/ 89415 w 178830"/>
                    <a:gd name="connsiteY7" fmla="*/ 152893 h 178830"/>
                    <a:gd name="connsiteX8" fmla="*/ 152893 w 178830"/>
                    <a:gd name="connsiteY8" fmla="*/ 89415 h 178830"/>
                    <a:gd name="connsiteX9" fmla="*/ 89415 w 178830"/>
                    <a:gd name="connsiteY9" fmla="*/ 25937 h 17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830" h="178830">
                      <a:moveTo>
                        <a:pt x="89415" y="0"/>
                      </a:moveTo>
                      <a:cubicBezTo>
                        <a:pt x="138798" y="0"/>
                        <a:pt x="178830" y="40032"/>
                        <a:pt x="178830" y="89415"/>
                      </a:cubicBezTo>
                      <a:cubicBezTo>
                        <a:pt x="178830" y="138798"/>
                        <a:pt x="138798" y="178830"/>
                        <a:pt x="89415" y="178830"/>
                      </a:cubicBezTo>
                      <a:cubicBezTo>
                        <a:pt x="40032" y="178830"/>
                        <a:pt x="0" y="138798"/>
                        <a:pt x="0" y="89415"/>
                      </a:cubicBezTo>
                      <a:cubicBezTo>
                        <a:pt x="0" y="40032"/>
                        <a:pt x="40032" y="0"/>
                        <a:pt x="89415" y="0"/>
                      </a:cubicBezTo>
                      <a:close/>
                      <a:moveTo>
                        <a:pt x="89415" y="25937"/>
                      </a:moveTo>
                      <a:cubicBezTo>
                        <a:pt x="54357" y="25937"/>
                        <a:pt x="25937" y="54357"/>
                        <a:pt x="25937" y="89415"/>
                      </a:cubicBezTo>
                      <a:cubicBezTo>
                        <a:pt x="25937" y="124473"/>
                        <a:pt x="54357" y="152893"/>
                        <a:pt x="89415" y="152893"/>
                      </a:cubicBezTo>
                      <a:cubicBezTo>
                        <a:pt x="124473" y="152893"/>
                        <a:pt x="152893" y="124473"/>
                        <a:pt x="152893" y="89415"/>
                      </a:cubicBezTo>
                      <a:cubicBezTo>
                        <a:pt x="152893" y="54357"/>
                        <a:pt x="124473" y="25937"/>
                        <a:pt x="89415" y="25937"/>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17">
                          <a:srgbClr val="000000"/>
                        </a:gs>
                        <a:gs pos="100000">
                          <a:srgbClr val="000000"/>
                        </a:gs>
                      </a:gsLst>
                      <a:lin ang="5400000" scaled="0"/>
                    </a:gradFill>
                  </a:endParaRPr>
                </a:p>
              </p:txBody>
            </p:sp>
            <p:grpSp>
              <p:nvGrpSpPr>
                <p:cNvPr id="87" name="Group 86"/>
                <p:cNvGrpSpPr/>
                <p:nvPr/>
              </p:nvGrpSpPr>
              <p:grpSpPr>
                <a:xfrm>
                  <a:off x="12187796" y="3692698"/>
                  <a:ext cx="76943" cy="71846"/>
                  <a:chOff x="12157225" y="3537324"/>
                  <a:chExt cx="65970" cy="61600"/>
                </a:xfrm>
                <a:solidFill>
                  <a:schemeClr val="bg1"/>
                </a:solidFill>
              </p:grpSpPr>
              <p:sp>
                <p:nvSpPr>
                  <p:cNvPr id="88" name="Oval 87"/>
                  <p:cNvSpPr/>
                  <p:nvPr/>
                </p:nvSpPr>
                <p:spPr bwMode="auto">
                  <a:xfrm>
                    <a:off x="12157225" y="3537325"/>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17">
                            <a:srgbClr val="000000"/>
                          </a:gs>
                          <a:gs pos="100000">
                            <a:srgbClr val="000000"/>
                          </a:gs>
                        </a:gsLst>
                        <a:lin ang="5400000" scaled="0"/>
                      </a:gradFill>
                    </a:endParaRPr>
                  </a:p>
                </p:txBody>
              </p:sp>
              <p:sp>
                <p:nvSpPr>
                  <p:cNvPr id="89" name="Oval 88"/>
                  <p:cNvSpPr/>
                  <p:nvPr/>
                </p:nvSpPr>
                <p:spPr bwMode="auto">
                  <a:xfrm>
                    <a:off x="12195763" y="3537324"/>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17">
                            <a:srgbClr val="000000"/>
                          </a:gs>
                          <a:gs pos="100000">
                            <a:srgbClr val="000000"/>
                          </a:gs>
                        </a:gsLst>
                        <a:lin ang="5400000" scaled="0"/>
                      </a:gradFill>
                    </a:endParaRPr>
                  </a:p>
                </p:txBody>
              </p:sp>
              <p:sp>
                <p:nvSpPr>
                  <p:cNvPr id="90" name="Oval 89"/>
                  <p:cNvSpPr/>
                  <p:nvPr/>
                </p:nvSpPr>
                <p:spPr bwMode="auto">
                  <a:xfrm>
                    <a:off x="12157225" y="3571492"/>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17">
                            <a:srgbClr val="000000"/>
                          </a:gs>
                          <a:gs pos="100000">
                            <a:srgbClr val="000000"/>
                          </a:gs>
                        </a:gsLst>
                        <a:lin ang="5400000" scaled="0"/>
                      </a:gradFill>
                    </a:endParaRPr>
                  </a:p>
                </p:txBody>
              </p:sp>
              <p:sp>
                <p:nvSpPr>
                  <p:cNvPr id="91" name="Oval 90"/>
                  <p:cNvSpPr/>
                  <p:nvPr/>
                </p:nvSpPr>
                <p:spPr bwMode="auto">
                  <a:xfrm>
                    <a:off x="12195763" y="3571492"/>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17">
                            <a:srgbClr val="000000"/>
                          </a:gs>
                          <a:gs pos="100000">
                            <a:srgbClr val="000000"/>
                          </a:gs>
                        </a:gsLst>
                        <a:lin ang="5400000" scaled="0"/>
                      </a:gradFill>
                    </a:endParaRPr>
                  </a:p>
                </p:txBody>
              </p:sp>
            </p:grpSp>
          </p:grpSp>
        </p:grpSp>
        <p:pic>
          <p:nvPicPr>
            <p:cNvPr id="93" name="Picture 92"/>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2774348" y="4120591"/>
              <a:ext cx="585798" cy="446449"/>
            </a:xfrm>
            <a:prstGeom prst="rect">
              <a:avLst/>
            </a:prstGeom>
          </p:spPr>
        </p:pic>
      </p:grpSp>
      <p:sp>
        <p:nvSpPr>
          <p:cNvPr id="99" name="Rectangle 98"/>
          <p:cNvSpPr/>
          <p:nvPr/>
        </p:nvSpPr>
        <p:spPr bwMode="auto">
          <a:xfrm>
            <a:off x="442608" y="3411281"/>
            <a:ext cx="3274086" cy="57242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defRPr/>
            </a:pPr>
            <a:r>
              <a:rPr lang="en-US" sz="1800" b="1" kern="0" spc="50" dirty="0">
                <a:gradFill>
                  <a:gsLst>
                    <a:gs pos="0">
                      <a:srgbClr val="FFFFFF"/>
                    </a:gs>
                    <a:gs pos="83000">
                      <a:srgbClr val="FFFFFF"/>
                    </a:gs>
                  </a:gsLst>
                  <a:lin ang="5400000" scaled="1"/>
                </a:gradFill>
              </a:rPr>
              <a:t>NON-MICROSOFT CLOUD</a:t>
            </a:r>
          </a:p>
        </p:txBody>
      </p:sp>
      <p:grpSp>
        <p:nvGrpSpPr>
          <p:cNvPr id="9" name="Group 8"/>
          <p:cNvGrpSpPr/>
          <p:nvPr/>
        </p:nvGrpSpPr>
        <p:grpSpPr>
          <a:xfrm>
            <a:off x="442608" y="5039178"/>
            <a:ext cx="3499398" cy="1456552"/>
            <a:chOff x="274637" y="5039396"/>
            <a:chExt cx="3499894" cy="1456758"/>
          </a:xfrm>
        </p:grpSpPr>
        <p:sp>
          <p:nvSpPr>
            <p:cNvPr id="100" name="Rectangle 99"/>
            <p:cNvSpPr/>
            <p:nvPr/>
          </p:nvSpPr>
          <p:spPr bwMode="auto">
            <a:xfrm>
              <a:off x="274637" y="5039396"/>
              <a:ext cx="3274550" cy="84954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defRPr/>
              </a:pPr>
              <a:r>
                <a:rPr lang="en-US" sz="1800" b="1" kern="0" spc="50" dirty="0">
                  <a:gradFill>
                    <a:gsLst>
                      <a:gs pos="0">
                        <a:srgbClr val="FFFFFF"/>
                      </a:gs>
                      <a:gs pos="83000">
                        <a:srgbClr val="FFFFFF"/>
                      </a:gs>
                    </a:gsLst>
                    <a:lin ang="5400000" scaled="1"/>
                  </a:gradFill>
                </a:rPr>
                <a:t>ON-PREMISES or hosted on SERVICE PROVIDERS</a:t>
              </a:r>
            </a:p>
          </p:txBody>
        </p:sp>
        <p:pic>
          <p:nvPicPr>
            <p:cNvPr id="13" name="Picture 12"/>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457490" y="5790086"/>
              <a:ext cx="1100752" cy="285133"/>
            </a:xfrm>
            <a:prstGeom prst="rect">
              <a:avLst/>
            </a:prstGeom>
          </p:spPr>
        </p:pic>
        <p:pic>
          <p:nvPicPr>
            <p:cNvPr id="102" name="Picture 10" descr="\\sfp\Work\White_Whale\_Archive-Tracy\_Archive-Tracy\7-20642_Cloud_Services_Track\Art\Logos\PNGs\Oracle.png"/>
            <p:cNvPicPr>
              <a:picLocks noChangeAspect="1" noChangeArrowheads="1"/>
            </p:cNvPicPr>
            <p:nvPr/>
          </p:nvPicPr>
          <p:blipFill>
            <a:blip r:embed="rId12" cstate="screen">
              <a:extLst>
                <a:ext uri="{28A0092B-C50C-407E-A947-70E740481C1C}">
                  <a14:useLocalDpi xmlns:a14="http://schemas.microsoft.com/office/drawing/2010/main" val="0"/>
                </a:ext>
              </a:extLst>
            </a:blip>
            <a:srcRect/>
            <a:stretch>
              <a:fillRect/>
            </a:stretch>
          </p:blipFill>
          <p:spPr bwMode="auto">
            <a:xfrm>
              <a:off x="472534" y="6303466"/>
              <a:ext cx="1011393" cy="128281"/>
            </a:xfrm>
            <a:prstGeom prst="rect">
              <a:avLst/>
            </a:prstGeom>
            <a:noFill/>
            <a:extLst/>
          </p:spPr>
        </p:pic>
        <p:pic>
          <p:nvPicPr>
            <p:cNvPr id="103" name="Picture 102"/>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1811065" y="5790086"/>
              <a:ext cx="577203" cy="285882"/>
            </a:xfrm>
            <a:prstGeom prst="rect">
              <a:avLst/>
            </a:prstGeom>
          </p:spPr>
        </p:pic>
        <p:pic>
          <p:nvPicPr>
            <p:cNvPr id="4" name="Picture 3"/>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3176281" y="6264840"/>
              <a:ext cx="598250" cy="231314"/>
            </a:xfrm>
            <a:prstGeom prst="rect">
              <a:avLst/>
            </a:prstGeom>
            <a:noFill/>
            <a:ln>
              <a:noFill/>
            </a:ln>
          </p:spPr>
        </p:pic>
        <p:pic>
          <p:nvPicPr>
            <p:cNvPr id="7" name="Picture 6"/>
            <p:cNvPicPr>
              <a:picLocks noChangeAspect="1"/>
            </p:cNvPicPr>
            <p:nvPr/>
          </p:nvPicPr>
          <p:blipFill>
            <a:blip r:embed="rId15" cstate="screen">
              <a:extLst>
                <a:ext uri="{28A0092B-C50C-407E-A947-70E740481C1C}">
                  <a14:useLocalDpi xmlns:a14="http://schemas.microsoft.com/office/drawing/2010/main" val="0"/>
                </a:ext>
              </a:extLst>
            </a:blip>
            <a:stretch>
              <a:fillRect/>
            </a:stretch>
          </p:blipFill>
          <p:spPr>
            <a:xfrm>
              <a:off x="2641091" y="5766276"/>
              <a:ext cx="907024" cy="403877"/>
            </a:xfrm>
            <a:prstGeom prst="rect">
              <a:avLst/>
            </a:prstGeom>
          </p:spPr>
        </p:pic>
        <p:pic>
          <p:nvPicPr>
            <p:cNvPr id="8" name="Picture 7"/>
            <p:cNvPicPr>
              <a:picLocks noChangeAspect="1"/>
            </p:cNvPicPr>
            <p:nvPr/>
          </p:nvPicPr>
          <p:blipFill>
            <a:blip r:embed="rId16" cstate="screen">
              <a:extLst>
                <a:ext uri="{28A0092B-C50C-407E-A947-70E740481C1C}">
                  <a14:useLocalDpi xmlns:a14="http://schemas.microsoft.com/office/drawing/2010/main" val="0"/>
                </a:ext>
              </a:extLst>
            </a:blip>
            <a:stretch>
              <a:fillRect/>
            </a:stretch>
          </p:blipFill>
          <p:spPr>
            <a:xfrm>
              <a:off x="1776455" y="6290022"/>
              <a:ext cx="811650" cy="180951"/>
            </a:xfrm>
            <a:prstGeom prst="rect">
              <a:avLst/>
            </a:prstGeom>
          </p:spPr>
        </p:pic>
      </p:grpSp>
      <p:sp>
        <p:nvSpPr>
          <p:cNvPr id="155" name="TextBox 154"/>
          <p:cNvSpPr txBox="1"/>
          <p:nvPr/>
        </p:nvSpPr>
        <p:spPr>
          <a:xfrm>
            <a:off x="178972" y="4917"/>
            <a:ext cx="12122124" cy="923201"/>
          </a:xfrm>
          <a:prstGeom prst="rect">
            <a:avLst/>
          </a:prstGeom>
          <a:noFill/>
        </p:spPr>
        <p:txBody>
          <a:bodyPr wrap="square" rtlCol="0">
            <a:spAutoFit/>
          </a:bodyPr>
          <a:lstStyle/>
          <a:p>
            <a:pPr defTabSz="932418">
              <a:spcBef>
                <a:spcPts val="1224"/>
              </a:spcBef>
            </a:pPr>
            <a:r>
              <a:rPr lang="en-US" sz="5399" kern="0" dirty="0">
                <a:solidFill>
                  <a:schemeClr val="tx2">
                    <a:lumMod val="10000"/>
                  </a:schemeClr>
                </a:solidFill>
                <a:latin typeface="Segoe UI Light"/>
              </a:rPr>
              <a:t>Connect customers to data on any device</a:t>
            </a:r>
          </a:p>
        </p:txBody>
      </p:sp>
      <p:sp>
        <p:nvSpPr>
          <p:cNvPr id="165" name="Title 3"/>
          <p:cNvSpPr txBox="1">
            <a:spLocks/>
          </p:cNvSpPr>
          <p:nvPr/>
        </p:nvSpPr>
        <p:spPr>
          <a:xfrm>
            <a:off x="220427" y="905752"/>
            <a:ext cx="11885514" cy="946279"/>
          </a:xfrm>
          <a:prstGeom prst="rect">
            <a:avLst/>
          </a:prstGeom>
        </p:spPr>
        <p:txBody>
          <a:bodyPr vert="horz" wrap="square" lIns="146283" tIns="91427" rIns="146283" bIns="91427" rtlCol="0" anchor="t">
            <a:noAutofit/>
          </a:bodyPr>
          <a:lstStyle>
            <a:lvl1pPr algn="l" defTabSz="932563" rtl="0" eaLnBrk="1" latinLnBrk="0" hangingPunct="1">
              <a:lnSpc>
                <a:spcPct val="90000"/>
              </a:lnSpc>
              <a:spcBef>
                <a:spcPct val="0"/>
              </a:spcBef>
              <a:buNone/>
              <a:defRPr lang="en-US" sz="5198" b="0" kern="1200" cap="none" spc="-102" baseline="0">
                <a:ln w="3175">
                  <a:noFill/>
                </a:ln>
                <a:solidFill>
                  <a:schemeClr val="tx2"/>
                </a:solidFill>
                <a:effectLst/>
                <a:latin typeface="+mj-lt"/>
                <a:ea typeface="+mn-ea"/>
                <a:cs typeface="Segoe UI" pitchFamily="34" charset="0"/>
              </a:defRPr>
            </a:lvl1pPr>
          </a:lstStyle>
          <a:p>
            <a:pPr defTabSz="932384">
              <a:defRPr/>
            </a:pPr>
            <a:r>
              <a:rPr lang="en-US" sz="2800" kern="0" dirty="0">
                <a:solidFill>
                  <a:schemeClr val="tx2">
                    <a:lumMod val="10000"/>
                  </a:schemeClr>
                </a:solidFill>
                <a:cs typeface="+mn-cs"/>
              </a:rPr>
              <a:t>Help them stay in the know, spot trends as they happen, and push business further</a:t>
            </a:r>
          </a:p>
        </p:txBody>
      </p:sp>
      <p:sp>
        <p:nvSpPr>
          <p:cNvPr id="2" name="TextBox 1"/>
          <p:cNvSpPr txBox="1"/>
          <p:nvPr/>
        </p:nvSpPr>
        <p:spPr>
          <a:xfrm>
            <a:off x="7534930" y="2087901"/>
            <a:ext cx="3553097" cy="234833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rPr>
              <a:t>Provide solutions quickly</a:t>
            </a:r>
          </a:p>
          <a:p>
            <a:pPr marL="342900" indent="-342900">
              <a:lnSpc>
                <a:spcPct val="90000"/>
              </a:lnSpc>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rPr>
              <a:t>Create solutions that pull from top data sources</a:t>
            </a:r>
          </a:p>
          <a:p>
            <a:pPr marL="342900" indent="-342900">
              <a:lnSpc>
                <a:spcPct val="90000"/>
              </a:lnSpc>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rPr>
              <a:t>Empower customers with data insights</a:t>
            </a:r>
          </a:p>
          <a:p>
            <a:pPr marL="342900" indent="-342900">
              <a:lnSpc>
                <a:spcPct val="90000"/>
              </a:lnSpc>
              <a:spcAft>
                <a:spcPts val="600"/>
              </a:spcAft>
              <a:buFont typeface="Arial" panose="020B0604020202020204" pitchFamily="34" charset="0"/>
              <a:buChar char="•"/>
            </a:pPr>
            <a:endParaRPr lang="en-US" sz="18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endParaRPr lang="en-US" sz="1800" dirty="0">
              <a:gradFill>
                <a:gsLst>
                  <a:gs pos="2917">
                    <a:schemeClr val="tx1"/>
                  </a:gs>
                  <a:gs pos="30000">
                    <a:schemeClr val="tx1"/>
                  </a:gs>
                </a:gsLst>
                <a:lin ang="5400000" scaled="0"/>
              </a:gradFill>
            </a:endParaRPr>
          </a:p>
        </p:txBody>
      </p:sp>
      <p:sp>
        <p:nvSpPr>
          <p:cNvPr id="5" name="Rectangle 4"/>
          <p:cNvSpPr/>
          <p:nvPr/>
        </p:nvSpPr>
        <p:spPr bwMode="auto">
          <a:xfrm>
            <a:off x="463739" y="1823486"/>
            <a:ext cx="2721484" cy="57238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defRPr/>
            </a:pPr>
            <a:r>
              <a:rPr lang="en-US" sz="1800" b="1" kern="0" spc="50" dirty="0">
                <a:gradFill>
                  <a:gsLst>
                    <a:gs pos="0">
                      <a:srgbClr val="FFFFFF"/>
                    </a:gs>
                    <a:gs pos="83000">
                      <a:srgbClr val="FFFFFF"/>
                    </a:gs>
                  </a:gsLst>
                  <a:lin ang="5400000" scaled="1"/>
                </a:gradFill>
              </a:rPr>
              <a:t>MICROSOFT CLOUD</a:t>
            </a:r>
          </a:p>
        </p:txBody>
      </p:sp>
      <p:grpSp>
        <p:nvGrpSpPr>
          <p:cNvPr id="15" name="Group 14"/>
          <p:cNvGrpSpPr/>
          <p:nvPr/>
        </p:nvGrpSpPr>
        <p:grpSpPr>
          <a:xfrm>
            <a:off x="645570" y="2367990"/>
            <a:ext cx="3070273" cy="706388"/>
            <a:chOff x="-2607816" y="-163414"/>
            <a:chExt cx="2517693" cy="579254"/>
          </a:xfrm>
        </p:grpSpPr>
        <p:sp>
          <p:nvSpPr>
            <p:cNvPr id="70" name="Freeform 69"/>
            <p:cNvSpPr>
              <a:spLocks noChangeAspect="1" noEditPoints="1"/>
            </p:cNvSpPr>
            <p:nvPr/>
          </p:nvSpPr>
          <p:spPr bwMode="auto">
            <a:xfrm>
              <a:off x="-2607816" y="171128"/>
              <a:ext cx="1728947" cy="244712"/>
            </a:xfrm>
            <a:custGeom>
              <a:avLst/>
              <a:gdLst>
                <a:gd name="T0" fmla="*/ 261 w 2216"/>
                <a:gd name="T1" fmla="*/ 97 h 311"/>
                <a:gd name="T2" fmla="*/ 3 w 2216"/>
                <a:gd name="T3" fmla="*/ 256 h 311"/>
                <a:gd name="T4" fmla="*/ 124 w 2216"/>
                <a:gd name="T5" fmla="*/ 205 h 311"/>
                <a:gd name="T6" fmla="*/ 8 w 2216"/>
                <a:gd name="T7" fmla="*/ 250 h 311"/>
                <a:gd name="T8" fmla="*/ 9 w 2216"/>
                <a:gd name="T9" fmla="*/ 252 h 311"/>
                <a:gd name="T10" fmla="*/ 504 w 2216"/>
                <a:gd name="T11" fmla="*/ 123 h 311"/>
                <a:gd name="T12" fmla="*/ 502 w 2216"/>
                <a:gd name="T13" fmla="*/ 91 h 311"/>
                <a:gd name="T14" fmla="*/ 356 w 2216"/>
                <a:gd name="T15" fmla="*/ 252 h 311"/>
                <a:gd name="T16" fmla="*/ 20 w 2216"/>
                <a:gd name="T17" fmla="*/ 242 h 311"/>
                <a:gd name="T18" fmla="*/ 7 w 2216"/>
                <a:gd name="T19" fmla="*/ 252 h 311"/>
                <a:gd name="T20" fmla="*/ 208 w 2216"/>
                <a:gd name="T21" fmla="*/ 224 h 311"/>
                <a:gd name="T22" fmla="*/ 137 w 2216"/>
                <a:gd name="T23" fmla="*/ 208 h 311"/>
                <a:gd name="T24" fmla="*/ 1209 w 2216"/>
                <a:gd name="T25" fmla="*/ 154 h 311"/>
                <a:gd name="T26" fmla="*/ 1187 w 2216"/>
                <a:gd name="T27" fmla="*/ 112 h 311"/>
                <a:gd name="T28" fmla="*/ 1175 w 2216"/>
                <a:gd name="T29" fmla="*/ 84 h 311"/>
                <a:gd name="T30" fmla="*/ 1124 w 2216"/>
                <a:gd name="T31" fmla="*/ 157 h 311"/>
                <a:gd name="T32" fmla="*/ 1146 w 2216"/>
                <a:gd name="T33" fmla="*/ 154 h 311"/>
                <a:gd name="T34" fmla="*/ 1822 w 2216"/>
                <a:gd name="T35" fmla="*/ 156 h 311"/>
                <a:gd name="T36" fmla="*/ 1822 w 2216"/>
                <a:gd name="T37" fmla="*/ 191 h 311"/>
                <a:gd name="T38" fmla="*/ 1896 w 2216"/>
                <a:gd name="T39" fmla="*/ 254 h 311"/>
                <a:gd name="T40" fmla="*/ 1969 w 2216"/>
                <a:gd name="T41" fmla="*/ 253 h 311"/>
                <a:gd name="T42" fmla="*/ 1822 w 2216"/>
                <a:gd name="T43" fmla="*/ 156 h 311"/>
                <a:gd name="T44" fmla="*/ 1532 w 2216"/>
                <a:gd name="T45" fmla="*/ 142 h 311"/>
                <a:gd name="T46" fmla="*/ 1486 w 2216"/>
                <a:gd name="T47" fmla="*/ 258 h 311"/>
                <a:gd name="T48" fmla="*/ 1565 w 2216"/>
                <a:gd name="T49" fmla="*/ 252 h 311"/>
                <a:gd name="T50" fmla="*/ 1644 w 2216"/>
                <a:gd name="T51" fmla="*/ 252 h 311"/>
                <a:gd name="T52" fmla="*/ 1587 w 2216"/>
                <a:gd name="T53" fmla="*/ 154 h 311"/>
                <a:gd name="T54" fmla="*/ 2181 w 2216"/>
                <a:gd name="T55" fmla="*/ 189 h 311"/>
                <a:gd name="T56" fmla="*/ 2151 w 2216"/>
                <a:gd name="T57" fmla="*/ 146 h 311"/>
                <a:gd name="T58" fmla="*/ 901 w 2216"/>
                <a:gd name="T59" fmla="*/ 252 h 311"/>
                <a:gd name="T60" fmla="*/ 964 w 2216"/>
                <a:gd name="T61" fmla="*/ 158 h 311"/>
                <a:gd name="T62" fmla="*/ 939 w 2216"/>
                <a:gd name="T63" fmla="*/ 242 h 311"/>
                <a:gd name="T64" fmla="*/ 2106 w 2216"/>
                <a:gd name="T65" fmla="*/ 258 h 311"/>
                <a:gd name="T66" fmla="*/ 2127 w 2216"/>
                <a:gd name="T67" fmla="*/ 160 h 311"/>
                <a:gd name="T68" fmla="*/ 649 w 2216"/>
                <a:gd name="T69" fmla="*/ 136 h 311"/>
                <a:gd name="T70" fmla="*/ 738 w 2216"/>
                <a:gd name="T71" fmla="*/ 144 h 311"/>
                <a:gd name="T72" fmla="*/ 725 w 2216"/>
                <a:gd name="T73" fmla="*/ 256 h 311"/>
                <a:gd name="T74" fmla="*/ 573 w 2216"/>
                <a:gd name="T75" fmla="*/ 138 h 311"/>
                <a:gd name="T76" fmla="*/ 576 w 2216"/>
                <a:gd name="T77" fmla="*/ 158 h 311"/>
                <a:gd name="T78" fmla="*/ 1995 w 2216"/>
                <a:gd name="T79" fmla="*/ 100 h 311"/>
                <a:gd name="T80" fmla="*/ 12 w 2216"/>
                <a:gd name="T81" fmla="*/ 250 h 311"/>
                <a:gd name="T82" fmla="*/ 6 w 2216"/>
                <a:gd name="T83" fmla="*/ 253 h 311"/>
                <a:gd name="T84" fmla="*/ 18 w 2216"/>
                <a:gd name="T85" fmla="*/ 244 h 311"/>
                <a:gd name="T86" fmla="*/ 8 w 2216"/>
                <a:gd name="T87" fmla="*/ 250 h 311"/>
                <a:gd name="T88" fmla="*/ 13 w 2216"/>
                <a:gd name="T89" fmla="*/ 246 h 311"/>
                <a:gd name="T90" fmla="*/ 12 w 2216"/>
                <a:gd name="T91" fmla="*/ 247 h 311"/>
                <a:gd name="T92" fmla="*/ 9 w 2216"/>
                <a:gd name="T93" fmla="*/ 251 h 311"/>
                <a:gd name="T94" fmla="*/ 6 w 2216"/>
                <a:gd name="T95" fmla="*/ 253 h 311"/>
                <a:gd name="T96" fmla="*/ 14 w 2216"/>
                <a:gd name="T97" fmla="*/ 246 h 311"/>
                <a:gd name="T98" fmla="*/ 8 w 2216"/>
                <a:gd name="T99" fmla="*/ 250 h 311"/>
                <a:gd name="T100" fmla="*/ 6 w 2216"/>
                <a:gd name="T101" fmla="*/ 252 h 311"/>
                <a:gd name="T102" fmla="*/ 6 w 2216"/>
                <a:gd name="T103" fmla="*/ 253 h 311"/>
                <a:gd name="T104" fmla="*/ 1307 w 2216"/>
                <a:gd name="T105" fmla="*/ 91 h 311"/>
                <a:gd name="T106" fmla="*/ 1323 w 2216"/>
                <a:gd name="T107" fmla="*/ 112 h 311"/>
                <a:gd name="T108" fmla="*/ 1756 w 2216"/>
                <a:gd name="T109" fmla="*/ 249 h 311"/>
                <a:gd name="T110" fmla="*/ 1754 w 2216"/>
                <a:gd name="T111" fmla="*/ 168 h 311"/>
                <a:gd name="T112" fmla="*/ 1775 w 2216"/>
                <a:gd name="T113" fmla="*/ 253 h 311"/>
                <a:gd name="T114" fmla="*/ 1756 w 2216"/>
                <a:gd name="T115" fmla="*/ 204 h 311"/>
                <a:gd name="T116" fmla="*/ 1099 w 2216"/>
                <a:gd name="T117" fmla="*/ 203 h 311"/>
                <a:gd name="T118" fmla="*/ 1075 w 2216"/>
                <a:gd name="T119" fmla="*/ 223 h 311"/>
                <a:gd name="T120" fmla="*/ 882 w 2216"/>
                <a:gd name="T121" fmla="*/ 172 h 311"/>
                <a:gd name="T122" fmla="*/ 867 w 2216"/>
                <a:gd name="T123" fmla="*/ 198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6" h="311">
                  <a:moveTo>
                    <a:pt x="22" y="246"/>
                  </a:moveTo>
                  <a:cubicBezTo>
                    <a:pt x="30" y="243"/>
                    <a:pt x="38" y="240"/>
                    <a:pt x="47" y="237"/>
                  </a:cubicBezTo>
                  <a:cubicBezTo>
                    <a:pt x="67" y="231"/>
                    <a:pt x="88" y="226"/>
                    <a:pt x="110" y="224"/>
                  </a:cubicBezTo>
                  <a:cubicBezTo>
                    <a:pt x="128" y="222"/>
                    <a:pt x="147" y="222"/>
                    <a:pt x="165" y="223"/>
                  </a:cubicBezTo>
                  <a:cubicBezTo>
                    <a:pt x="180" y="225"/>
                    <a:pt x="195" y="227"/>
                    <a:pt x="209" y="230"/>
                  </a:cubicBezTo>
                  <a:cubicBezTo>
                    <a:pt x="212" y="231"/>
                    <a:pt x="214" y="230"/>
                    <a:pt x="216" y="230"/>
                  </a:cubicBezTo>
                  <a:cubicBezTo>
                    <a:pt x="216" y="230"/>
                    <a:pt x="216" y="229"/>
                    <a:pt x="216" y="228"/>
                  </a:cubicBezTo>
                  <a:cubicBezTo>
                    <a:pt x="216" y="228"/>
                    <a:pt x="216" y="227"/>
                    <a:pt x="216" y="226"/>
                  </a:cubicBezTo>
                  <a:cubicBezTo>
                    <a:pt x="216" y="198"/>
                    <a:pt x="216" y="170"/>
                    <a:pt x="216" y="142"/>
                  </a:cubicBezTo>
                  <a:cubicBezTo>
                    <a:pt x="216" y="139"/>
                    <a:pt x="217" y="138"/>
                    <a:pt x="219" y="137"/>
                  </a:cubicBezTo>
                  <a:cubicBezTo>
                    <a:pt x="233" y="123"/>
                    <a:pt x="248" y="111"/>
                    <a:pt x="261" y="97"/>
                  </a:cubicBezTo>
                  <a:cubicBezTo>
                    <a:pt x="264" y="94"/>
                    <a:pt x="266" y="92"/>
                    <a:pt x="268" y="89"/>
                  </a:cubicBezTo>
                  <a:cubicBezTo>
                    <a:pt x="269" y="88"/>
                    <a:pt x="270" y="87"/>
                    <a:pt x="271" y="88"/>
                  </a:cubicBezTo>
                  <a:cubicBezTo>
                    <a:pt x="273" y="89"/>
                    <a:pt x="274" y="90"/>
                    <a:pt x="274" y="93"/>
                  </a:cubicBezTo>
                  <a:cubicBezTo>
                    <a:pt x="274" y="146"/>
                    <a:pt x="274" y="199"/>
                    <a:pt x="274" y="252"/>
                  </a:cubicBezTo>
                  <a:cubicBezTo>
                    <a:pt x="274" y="253"/>
                    <a:pt x="275" y="255"/>
                    <a:pt x="273" y="256"/>
                  </a:cubicBezTo>
                  <a:cubicBezTo>
                    <a:pt x="271" y="257"/>
                    <a:pt x="269" y="258"/>
                    <a:pt x="267" y="257"/>
                  </a:cubicBezTo>
                  <a:cubicBezTo>
                    <a:pt x="261" y="255"/>
                    <a:pt x="255" y="253"/>
                    <a:pt x="249" y="252"/>
                  </a:cubicBezTo>
                  <a:cubicBezTo>
                    <a:pt x="229" y="246"/>
                    <a:pt x="209" y="242"/>
                    <a:pt x="188" y="239"/>
                  </a:cubicBezTo>
                  <a:cubicBezTo>
                    <a:pt x="162" y="236"/>
                    <a:pt x="136" y="235"/>
                    <a:pt x="109" y="236"/>
                  </a:cubicBezTo>
                  <a:cubicBezTo>
                    <a:pt x="76" y="238"/>
                    <a:pt x="44" y="243"/>
                    <a:pt x="12" y="253"/>
                  </a:cubicBezTo>
                  <a:cubicBezTo>
                    <a:pt x="9" y="254"/>
                    <a:pt x="6" y="255"/>
                    <a:pt x="3" y="256"/>
                  </a:cubicBezTo>
                  <a:cubicBezTo>
                    <a:pt x="0" y="257"/>
                    <a:pt x="0" y="257"/>
                    <a:pt x="0" y="254"/>
                  </a:cubicBezTo>
                  <a:cubicBezTo>
                    <a:pt x="0" y="249"/>
                    <a:pt x="0" y="244"/>
                    <a:pt x="0" y="238"/>
                  </a:cubicBezTo>
                  <a:cubicBezTo>
                    <a:pt x="0" y="237"/>
                    <a:pt x="0" y="235"/>
                    <a:pt x="2" y="234"/>
                  </a:cubicBezTo>
                  <a:cubicBezTo>
                    <a:pt x="22" y="213"/>
                    <a:pt x="41" y="190"/>
                    <a:pt x="57" y="165"/>
                  </a:cubicBezTo>
                  <a:cubicBezTo>
                    <a:pt x="82" y="128"/>
                    <a:pt x="103" y="89"/>
                    <a:pt x="117" y="46"/>
                  </a:cubicBezTo>
                  <a:cubicBezTo>
                    <a:pt x="122" y="32"/>
                    <a:pt x="126" y="17"/>
                    <a:pt x="129" y="2"/>
                  </a:cubicBezTo>
                  <a:cubicBezTo>
                    <a:pt x="129" y="0"/>
                    <a:pt x="129" y="0"/>
                    <a:pt x="131" y="1"/>
                  </a:cubicBezTo>
                  <a:cubicBezTo>
                    <a:pt x="136" y="2"/>
                    <a:pt x="136" y="2"/>
                    <a:pt x="136" y="7"/>
                  </a:cubicBezTo>
                  <a:cubicBezTo>
                    <a:pt x="136" y="71"/>
                    <a:pt x="136" y="135"/>
                    <a:pt x="136" y="199"/>
                  </a:cubicBezTo>
                  <a:cubicBezTo>
                    <a:pt x="136" y="203"/>
                    <a:pt x="136" y="203"/>
                    <a:pt x="132" y="204"/>
                  </a:cubicBezTo>
                  <a:cubicBezTo>
                    <a:pt x="129" y="205"/>
                    <a:pt x="127" y="205"/>
                    <a:pt x="124" y="205"/>
                  </a:cubicBezTo>
                  <a:cubicBezTo>
                    <a:pt x="89" y="209"/>
                    <a:pt x="55" y="220"/>
                    <a:pt x="25" y="239"/>
                  </a:cubicBezTo>
                  <a:cubicBezTo>
                    <a:pt x="24" y="239"/>
                    <a:pt x="23" y="240"/>
                    <a:pt x="22" y="240"/>
                  </a:cubicBezTo>
                  <a:cubicBezTo>
                    <a:pt x="22" y="241"/>
                    <a:pt x="21" y="242"/>
                    <a:pt x="20" y="242"/>
                  </a:cubicBezTo>
                  <a:cubicBezTo>
                    <a:pt x="19" y="243"/>
                    <a:pt x="18" y="243"/>
                    <a:pt x="17" y="244"/>
                  </a:cubicBezTo>
                  <a:cubicBezTo>
                    <a:pt x="16" y="245"/>
                    <a:pt x="16" y="245"/>
                    <a:pt x="15" y="246"/>
                  </a:cubicBezTo>
                  <a:cubicBezTo>
                    <a:pt x="14" y="246"/>
                    <a:pt x="14" y="246"/>
                    <a:pt x="14" y="246"/>
                  </a:cubicBezTo>
                  <a:cubicBezTo>
                    <a:pt x="13" y="247"/>
                    <a:pt x="13" y="247"/>
                    <a:pt x="12" y="247"/>
                  </a:cubicBezTo>
                  <a:cubicBezTo>
                    <a:pt x="12" y="247"/>
                    <a:pt x="12" y="248"/>
                    <a:pt x="12" y="248"/>
                  </a:cubicBezTo>
                  <a:cubicBezTo>
                    <a:pt x="11" y="248"/>
                    <a:pt x="11" y="248"/>
                    <a:pt x="11" y="249"/>
                  </a:cubicBezTo>
                  <a:cubicBezTo>
                    <a:pt x="10" y="249"/>
                    <a:pt x="10" y="249"/>
                    <a:pt x="10" y="249"/>
                  </a:cubicBezTo>
                  <a:cubicBezTo>
                    <a:pt x="9" y="249"/>
                    <a:pt x="9" y="250"/>
                    <a:pt x="8" y="250"/>
                  </a:cubicBezTo>
                  <a:cubicBezTo>
                    <a:pt x="8" y="250"/>
                    <a:pt x="8" y="250"/>
                    <a:pt x="8" y="250"/>
                  </a:cubicBezTo>
                  <a:cubicBezTo>
                    <a:pt x="8" y="251"/>
                    <a:pt x="8" y="251"/>
                    <a:pt x="8" y="251"/>
                  </a:cubicBezTo>
                  <a:cubicBezTo>
                    <a:pt x="7" y="251"/>
                    <a:pt x="6" y="252"/>
                    <a:pt x="6" y="252"/>
                  </a:cubicBezTo>
                  <a:cubicBezTo>
                    <a:pt x="5" y="252"/>
                    <a:pt x="5" y="253"/>
                    <a:pt x="5" y="253"/>
                  </a:cubicBezTo>
                  <a:cubicBezTo>
                    <a:pt x="5" y="253"/>
                    <a:pt x="4" y="253"/>
                    <a:pt x="4" y="254"/>
                  </a:cubicBezTo>
                  <a:cubicBezTo>
                    <a:pt x="4" y="254"/>
                    <a:pt x="3" y="254"/>
                    <a:pt x="4" y="254"/>
                  </a:cubicBezTo>
                  <a:cubicBezTo>
                    <a:pt x="4" y="254"/>
                    <a:pt x="4" y="254"/>
                    <a:pt x="4" y="254"/>
                  </a:cubicBezTo>
                  <a:cubicBezTo>
                    <a:pt x="5" y="253"/>
                    <a:pt x="5" y="253"/>
                    <a:pt x="6" y="253"/>
                  </a:cubicBezTo>
                  <a:cubicBezTo>
                    <a:pt x="6" y="253"/>
                    <a:pt x="6" y="253"/>
                    <a:pt x="6" y="253"/>
                  </a:cubicBezTo>
                  <a:cubicBezTo>
                    <a:pt x="7" y="253"/>
                    <a:pt x="7" y="252"/>
                    <a:pt x="7" y="252"/>
                  </a:cubicBezTo>
                  <a:cubicBezTo>
                    <a:pt x="8" y="252"/>
                    <a:pt x="8" y="252"/>
                    <a:pt x="9" y="252"/>
                  </a:cubicBezTo>
                  <a:cubicBezTo>
                    <a:pt x="9" y="251"/>
                    <a:pt x="9" y="251"/>
                    <a:pt x="9" y="251"/>
                  </a:cubicBezTo>
                  <a:cubicBezTo>
                    <a:pt x="10" y="251"/>
                    <a:pt x="10" y="251"/>
                    <a:pt x="11" y="250"/>
                  </a:cubicBezTo>
                  <a:cubicBezTo>
                    <a:pt x="12" y="250"/>
                    <a:pt x="12" y="250"/>
                    <a:pt x="12" y="249"/>
                  </a:cubicBezTo>
                  <a:cubicBezTo>
                    <a:pt x="16" y="248"/>
                    <a:pt x="19" y="246"/>
                    <a:pt x="22" y="246"/>
                  </a:cubicBezTo>
                  <a:close/>
                  <a:moveTo>
                    <a:pt x="377" y="125"/>
                  </a:moveTo>
                  <a:cubicBezTo>
                    <a:pt x="395" y="167"/>
                    <a:pt x="414" y="209"/>
                    <a:pt x="433" y="250"/>
                  </a:cubicBezTo>
                  <a:cubicBezTo>
                    <a:pt x="434" y="252"/>
                    <a:pt x="434" y="254"/>
                    <a:pt x="435" y="255"/>
                  </a:cubicBezTo>
                  <a:cubicBezTo>
                    <a:pt x="437" y="256"/>
                    <a:pt x="439" y="256"/>
                    <a:pt x="441" y="256"/>
                  </a:cubicBezTo>
                  <a:cubicBezTo>
                    <a:pt x="445" y="256"/>
                    <a:pt x="445" y="256"/>
                    <a:pt x="446" y="252"/>
                  </a:cubicBezTo>
                  <a:cubicBezTo>
                    <a:pt x="465" y="210"/>
                    <a:pt x="484" y="168"/>
                    <a:pt x="502" y="126"/>
                  </a:cubicBezTo>
                  <a:cubicBezTo>
                    <a:pt x="503" y="125"/>
                    <a:pt x="503" y="124"/>
                    <a:pt x="504" y="123"/>
                  </a:cubicBezTo>
                  <a:cubicBezTo>
                    <a:pt x="504" y="123"/>
                    <a:pt x="504" y="123"/>
                    <a:pt x="504" y="123"/>
                  </a:cubicBezTo>
                  <a:cubicBezTo>
                    <a:pt x="504" y="124"/>
                    <a:pt x="504" y="125"/>
                    <a:pt x="504" y="126"/>
                  </a:cubicBezTo>
                  <a:cubicBezTo>
                    <a:pt x="504" y="168"/>
                    <a:pt x="504" y="210"/>
                    <a:pt x="504" y="251"/>
                  </a:cubicBezTo>
                  <a:cubicBezTo>
                    <a:pt x="504" y="252"/>
                    <a:pt x="505" y="253"/>
                    <a:pt x="504" y="254"/>
                  </a:cubicBezTo>
                  <a:cubicBezTo>
                    <a:pt x="504" y="255"/>
                    <a:pt x="505" y="256"/>
                    <a:pt x="507" y="256"/>
                  </a:cubicBezTo>
                  <a:cubicBezTo>
                    <a:pt x="511" y="256"/>
                    <a:pt x="515" y="256"/>
                    <a:pt x="520" y="256"/>
                  </a:cubicBezTo>
                  <a:cubicBezTo>
                    <a:pt x="524" y="256"/>
                    <a:pt x="524" y="256"/>
                    <a:pt x="524" y="252"/>
                  </a:cubicBezTo>
                  <a:cubicBezTo>
                    <a:pt x="524" y="200"/>
                    <a:pt x="524" y="147"/>
                    <a:pt x="524" y="95"/>
                  </a:cubicBezTo>
                  <a:cubicBezTo>
                    <a:pt x="524" y="94"/>
                    <a:pt x="524" y="94"/>
                    <a:pt x="524" y="93"/>
                  </a:cubicBezTo>
                  <a:cubicBezTo>
                    <a:pt x="524" y="92"/>
                    <a:pt x="523" y="91"/>
                    <a:pt x="522" y="91"/>
                  </a:cubicBezTo>
                  <a:cubicBezTo>
                    <a:pt x="515" y="91"/>
                    <a:pt x="508" y="91"/>
                    <a:pt x="502" y="91"/>
                  </a:cubicBezTo>
                  <a:cubicBezTo>
                    <a:pt x="500" y="91"/>
                    <a:pt x="499" y="92"/>
                    <a:pt x="499" y="93"/>
                  </a:cubicBezTo>
                  <a:cubicBezTo>
                    <a:pt x="496" y="99"/>
                    <a:pt x="493" y="106"/>
                    <a:pt x="490" y="112"/>
                  </a:cubicBezTo>
                  <a:cubicBezTo>
                    <a:pt x="474" y="148"/>
                    <a:pt x="458" y="184"/>
                    <a:pt x="442" y="220"/>
                  </a:cubicBezTo>
                  <a:cubicBezTo>
                    <a:pt x="441" y="221"/>
                    <a:pt x="441" y="222"/>
                    <a:pt x="440" y="223"/>
                  </a:cubicBezTo>
                  <a:cubicBezTo>
                    <a:pt x="439" y="222"/>
                    <a:pt x="439" y="221"/>
                    <a:pt x="438" y="220"/>
                  </a:cubicBezTo>
                  <a:cubicBezTo>
                    <a:pt x="433" y="208"/>
                    <a:pt x="427" y="195"/>
                    <a:pt x="422" y="183"/>
                  </a:cubicBezTo>
                  <a:cubicBezTo>
                    <a:pt x="409" y="153"/>
                    <a:pt x="396" y="124"/>
                    <a:pt x="383" y="94"/>
                  </a:cubicBezTo>
                  <a:cubicBezTo>
                    <a:pt x="382" y="92"/>
                    <a:pt x="381" y="91"/>
                    <a:pt x="378" y="91"/>
                  </a:cubicBezTo>
                  <a:cubicBezTo>
                    <a:pt x="372" y="91"/>
                    <a:pt x="366" y="91"/>
                    <a:pt x="360" y="91"/>
                  </a:cubicBezTo>
                  <a:cubicBezTo>
                    <a:pt x="356" y="91"/>
                    <a:pt x="356" y="91"/>
                    <a:pt x="356" y="95"/>
                  </a:cubicBezTo>
                  <a:cubicBezTo>
                    <a:pt x="356" y="147"/>
                    <a:pt x="356" y="200"/>
                    <a:pt x="356" y="252"/>
                  </a:cubicBezTo>
                  <a:cubicBezTo>
                    <a:pt x="356" y="252"/>
                    <a:pt x="356" y="253"/>
                    <a:pt x="356" y="254"/>
                  </a:cubicBezTo>
                  <a:cubicBezTo>
                    <a:pt x="356" y="255"/>
                    <a:pt x="357" y="256"/>
                    <a:pt x="358" y="256"/>
                  </a:cubicBezTo>
                  <a:cubicBezTo>
                    <a:pt x="362" y="256"/>
                    <a:pt x="366" y="256"/>
                    <a:pt x="369" y="256"/>
                  </a:cubicBezTo>
                  <a:cubicBezTo>
                    <a:pt x="371" y="256"/>
                    <a:pt x="373" y="256"/>
                    <a:pt x="374" y="255"/>
                  </a:cubicBezTo>
                  <a:cubicBezTo>
                    <a:pt x="375" y="254"/>
                    <a:pt x="375" y="252"/>
                    <a:pt x="375" y="251"/>
                  </a:cubicBezTo>
                  <a:cubicBezTo>
                    <a:pt x="375" y="209"/>
                    <a:pt x="375" y="167"/>
                    <a:pt x="375" y="125"/>
                  </a:cubicBezTo>
                  <a:cubicBezTo>
                    <a:pt x="375" y="124"/>
                    <a:pt x="375" y="123"/>
                    <a:pt x="375" y="122"/>
                  </a:cubicBezTo>
                  <a:cubicBezTo>
                    <a:pt x="376" y="123"/>
                    <a:pt x="376" y="124"/>
                    <a:pt x="377" y="125"/>
                  </a:cubicBezTo>
                  <a:close/>
                  <a:moveTo>
                    <a:pt x="21" y="242"/>
                  </a:moveTo>
                  <a:cubicBezTo>
                    <a:pt x="21" y="242"/>
                    <a:pt x="21" y="242"/>
                    <a:pt x="20" y="242"/>
                  </a:cubicBezTo>
                  <a:cubicBezTo>
                    <a:pt x="20" y="242"/>
                    <a:pt x="20" y="242"/>
                    <a:pt x="20" y="242"/>
                  </a:cubicBezTo>
                  <a:cubicBezTo>
                    <a:pt x="19" y="243"/>
                    <a:pt x="18" y="243"/>
                    <a:pt x="17" y="244"/>
                  </a:cubicBezTo>
                  <a:cubicBezTo>
                    <a:pt x="16" y="245"/>
                    <a:pt x="15" y="245"/>
                    <a:pt x="14" y="246"/>
                  </a:cubicBezTo>
                  <a:cubicBezTo>
                    <a:pt x="14" y="246"/>
                    <a:pt x="14" y="246"/>
                    <a:pt x="14" y="246"/>
                  </a:cubicBezTo>
                  <a:cubicBezTo>
                    <a:pt x="13" y="247"/>
                    <a:pt x="13" y="247"/>
                    <a:pt x="12" y="247"/>
                  </a:cubicBezTo>
                  <a:cubicBezTo>
                    <a:pt x="12" y="247"/>
                    <a:pt x="12" y="248"/>
                    <a:pt x="11" y="248"/>
                  </a:cubicBezTo>
                  <a:cubicBezTo>
                    <a:pt x="11" y="248"/>
                    <a:pt x="11" y="248"/>
                    <a:pt x="10" y="249"/>
                  </a:cubicBezTo>
                  <a:cubicBezTo>
                    <a:pt x="10" y="249"/>
                    <a:pt x="10" y="249"/>
                    <a:pt x="10" y="249"/>
                  </a:cubicBezTo>
                  <a:cubicBezTo>
                    <a:pt x="9" y="249"/>
                    <a:pt x="8" y="250"/>
                    <a:pt x="8" y="250"/>
                  </a:cubicBezTo>
                  <a:cubicBezTo>
                    <a:pt x="8" y="250"/>
                    <a:pt x="8" y="250"/>
                    <a:pt x="8" y="250"/>
                  </a:cubicBezTo>
                  <a:cubicBezTo>
                    <a:pt x="8" y="250"/>
                    <a:pt x="7" y="250"/>
                    <a:pt x="7" y="251"/>
                  </a:cubicBezTo>
                  <a:cubicBezTo>
                    <a:pt x="7" y="251"/>
                    <a:pt x="6" y="251"/>
                    <a:pt x="7" y="252"/>
                  </a:cubicBezTo>
                  <a:cubicBezTo>
                    <a:pt x="7" y="252"/>
                    <a:pt x="7" y="252"/>
                    <a:pt x="7" y="252"/>
                  </a:cubicBezTo>
                  <a:cubicBezTo>
                    <a:pt x="8" y="252"/>
                    <a:pt x="8" y="252"/>
                    <a:pt x="9" y="252"/>
                  </a:cubicBezTo>
                  <a:cubicBezTo>
                    <a:pt x="9" y="252"/>
                    <a:pt x="9" y="252"/>
                    <a:pt x="9" y="251"/>
                  </a:cubicBezTo>
                  <a:cubicBezTo>
                    <a:pt x="10" y="251"/>
                    <a:pt x="10" y="251"/>
                    <a:pt x="11" y="251"/>
                  </a:cubicBezTo>
                  <a:cubicBezTo>
                    <a:pt x="11" y="250"/>
                    <a:pt x="12" y="250"/>
                    <a:pt x="13" y="250"/>
                  </a:cubicBezTo>
                  <a:cubicBezTo>
                    <a:pt x="15" y="248"/>
                    <a:pt x="18" y="247"/>
                    <a:pt x="21" y="245"/>
                  </a:cubicBezTo>
                  <a:cubicBezTo>
                    <a:pt x="21" y="245"/>
                    <a:pt x="22" y="245"/>
                    <a:pt x="22" y="244"/>
                  </a:cubicBezTo>
                  <a:cubicBezTo>
                    <a:pt x="55" y="229"/>
                    <a:pt x="90" y="221"/>
                    <a:pt x="127" y="219"/>
                  </a:cubicBezTo>
                  <a:cubicBezTo>
                    <a:pt x="139" y="218"/>
                    <a:pt x="152" y="219"/>
                    <a:pt x="165" y="220"/>
                  </a:cubicBezTo>
                  <a:cubicBezTo>
                    <a:pt x="176" y="220"/>
                    <a:pt x="188" y="222"/>
                    <a:pt x="199" y="224"/>
                  </a:cubicBezTo>
                  <a:cubicBezTo>
                    <a:pt x="202" y="225"/>
                    <a:pt x="205" y="225"/>
                    <a:pt x="208" y="224"/>
                  </a:cubicBezTo>
                  <a:cubicBezTo>
                    <a:pt x="211" y="224"/>
                    <a:pt x="211" y="224"/>
                    <a:pt x="211" y="220"/>
                  </a:cubicBezTo>
                  <a:cubicBezTo>
                    <a:pt x="211" y="163"/>
                    <a:pt x="211" y="107"/>
                    <a:pt x="211" y="50"/>
                  </a:cubicBezTo>
                  <a:cubicBezTo>
                    <a:pt x="211" y="46"/>
                    <a:pt x="212" y="47"/>
                    <a:pt x="208" y="45"/>
                  </a:cubicBezTo>
                  <a:cubicBezTo>
                    <a:pt x="206" y="45"/>
                    <a:pt x="206" y="45"/>
                    <a:pt x="205" y="47"/>
                  </a:cubicBezTo>
                  <a:cubicBezTo>
                    <a:pt x="202" y="55"/>
                    <a:pt x="198" y="63"/>
                    <a:pt x="194" y="71"/>
                  </a:cubicBezTo>
                  <a:cubicBezTo>
                    <a:pt x="180" y="98"/>
                    <a:pt x="163" y="122"/>
                    <a:pt x="142" y="144"/>
                  </a:cubicBezTo>
                  <a:cubicBezTo>
                    <a:pt x="141" y="145"/>
                    <a:pt x="141" y="147"/>
                    <a:pt x="141" y="148"/>
                  </a:cubicBezTo>
                  <a:cubicBezTo>
                    <a:pt x="141" y="166"/>
                    <a:pt x="141" y="183"/>
                    <a:pt x="141" y="200"/>
                  </a:cubicBezTo>
                  <a:cubicBezTo>
                    <a:pt x="141" y="202"/>
                    <a:pt x="141" y="204"/>
                    <a:pt x="141" y="205"/>
                  </a:cubicBezTo>
                  <a:cubicBezTo>
                    <a:pt x="141" y="207"/>
                    <a:pt x="140" y="207"/>
                    <a:pt x="139" y="208"/>
                  </a:cubicBezTo>
                  <a:cubicBezTo>
                    <a:pt x="138" y="208"/>
                    <a:pt x="137" y="208"/>
                    <a:pt x="137" y="208"/>
                  </a:cubicBezTo>
                  <a:cubicBezTo>
                    <a:pt x="128" y="209"/>
                    <a:pt x="120" y="210"/>
                    <a:pt x="111" y="211"/>
                  </a:cubicBezTo>
                  <a:cubicBezTo>
                    <a:pt x="89" y="214"/>
                    <a:pt x="68" y="220"/>
                    <a:pt x="48" y="229"/>
                  </a:cubicBezTo>
                  <a:cubicBezTo>
                    <a:pt x="39" y="232"/>
                    <a:pt x="31" y="237"/>
                    <a:pt x="23" y="241"/>
                  </a:cubicBezTo>
                  <a:cubicBezTo>
                    <a:pt x="22" y="241"/>
                    <a:pt x="22" y="241"/>
                    <a:pt x="21" y="242"/>
                  </a:cubicBezTo>
                  <a:close/>
                  <a:moveTo>
                    <a:pt x="1219" y="242"/>
                  </a:moveTo>
                  <a:cubicBezTo>
                    <a:pt x="1212" y="241"/>
                    <a:pt x="1209" y="237"/>
                    <a:pt x="1207" y="231"/>
                  </a:cubicBezTo>
                  <a:cubicBezTo>
                    <a:pt x="1206" y="227"/>
                    <a:pt x="1206" y="224"/>
                    <a:pt x="1206" y="220"/>
                  </a:cubicBezTo>
                  <a:cubicBezTo>
                    <a:pt x="1206" y="199"/>
                    <a:pt x="1206" y="178"/>
                    <a:pt x="1206" y="158"/>
                  </a:cubicBezTo>
                  <a:cubicBezTo>
                    <a:pt x="1206" y="157"/>
                    <a:pt x="1206" y="156"/>
                    <a:pt x="1206" y="156"/>
                  </a:cubicBezTo>
                  <a:cubicBezTo>
                    <a:pt x="1206" y="155"/>
                    <a:pt x="1206" y="154"/>
                    <a:pt x="1207" y="154"/>
                  </a:cubicBezTo>
                  <a:cubicBezTo>
                    <a:pt x="1208" y="154"/>
                    <a:pt x="1209" y="154"/>
                    <a:pt x="1209" y="154"/>
                  </a:cubicBezTo>
                  <a:cubicBezTo>
                    <a:pt x="1217" y="154"/>
                    <a:pt x="1225" y="154"/>
                    <a:pt x="1233" y="154"/>
                  </a:cubicBezTo>
                  <a:cubicBezTo>
                    <a:pt x="1236" y="154"/>
                    <a:pt x="1236" y="154"/>
                    <a:pt x="1236" y="152"/>
                  </a:cubicBezTo>
                  <a:cubicBezTo>
                    <a:pt x="1236" y="148"/>
                    <a:pt x="1236" y="145"/>
                    <a:pt x="1236" y="141"/>
                  </a:cubicBezTo>
                  <a:cubicBezTo>
                    <a:pt x="1236" y="138"/>
                    <a:pt x="1236" y="138"/>
                    <a:pt x="1233" y="138"/>
                  </a:cubicBezTo>
                  <a:cubicBezTo>
                    <a:pt x="1225" y="138"/>
                    <a:pt x="1217" y="138"/>
                    <a:pt x="1209" y="138"/>
                  </a:cubicBezTo>
                  <a:cubicBezTo>
                    <a:pt x="1206" y="138"/>
                    <a:pt x="1206" y="138"/>
                    <a:pt x="1206" y="136"/>
                  </a:cubicBezTo>
                  <a:cubicBezTo>
                    <a:pt x="1206" y="126"/>
                    <a:pt x="1206" y="117"/>
                    <a:pt x="1206" y="107"/>
                  </a:cubicBezTo>
                  <a:cubicBezTo>
                    <a:pt x="1206" y="106"/>
                    <a:pt x="1206" y="105"/>
                    <a:pt x="1206" y="104"/>
                  </a:cubicBezTo>
                  <a:cubicBezTo>
                    <a:pt x="1205" y="104"/>
                    <a:pt x="1204" y="104"/>
                    <a:pt x="1204" y="104"/>
                  </a:cubicBezTo>
                  <a:cubicBezTo>
                    <a:pt x="1199" y="106"/>
                    <a:pt x="1194" y="107"/>
                    <a:pt x="1189" y="109"/>
                  </a:cubicBezTo>
                  <a:cubicBezTo>
                    <a:pt x="1188" y="109"/>
                    <a:pt x="1187" y="110"/>
                    <a:pt x="1187" y="112"/>
                  </a:cubicBezTo>
                  <a:cubicBezTo>
                    <a:pt x="1187" y="120"/>
                    <a:pt x="1187" y="128"/>
                    <a:pt x="1187" y="136"/>
                  </a:cubicBezTo>
                  <a:cubicBezTo>
                    <a:pt x="1187" y="138"/>
                    <a:pt x="1187" y="138"/>
                    <a:pt x="1185" y="138"/>
                  </a:cubicBezTo>
                  <a:cubicBezTo>
                    <a:pt x="1178" y="138"/>
                    <a:pt x="1171" y="138"/>
                    <a:pt x="1165" y="138"/>
                  </a:cubicBezTo>
                  <a:cubicBezTo>
                    <a:pt x="1158" y="138"/>
                    <a:pt x="1152" y="138"/>
                    <a:pt x="1145" y="138"/>
                  </a:cubicBezTo>
                  <a:cubicBezTo>
                    <a:pt x="1143" y="138"/>
                    <a:pt x="1143" y="138"/>
                    <a:pt x="1143" y="136"/>
                  </a:cubicBezTo>
                  <a:cubicBezTo>
                    <a:pt x="1143" y="130"/>
                    <a:pt x="1143" y="125"/>
                    <a:pt x="1143" y="120"/>
                  </a:cubicBezTo>
                  <a:cubicBezTo>
                    <a:pt x="1143" y="115"/>
                    <a:pt x="1143" y="111"/>
                    <a:pt x="1145" y="107"/>
                  </a:cubicBezTo>
                  <a:cubicBezTo>
                    <a:pt x="1147" y="101"/>
                    <a:pt x="1151" y="97"/>
                    <a:pt x="1158" y="96"/>
                  </a:cubicBezTo>
                  <a:cubicBezTo>
                    <a:pt x="1163" y="95"/>
                    <a:pt x="1167" y="95"/>
                    <a:pt x="1172" y="97"/>
                  </a:cubicBezTo>
                  <a:cubicBezTo>
                    <a:pt x="1173" y="97"/>
                    <a:pt x="1174" y="98"/>
                    <a:pt x="1175" y="98"/>
                  </a:cubicBezTo>
                  <a:cubicBezTo>
                    <a:pt x="1175" y="93"/>
                    <a:pt x="1175" y="88"/>
                    <a:pt x="1175" y="84"/>
                  </a:cubicBezTo>
                  <a:cubicBezTo>
                    <a:pt x="1175" y="81"/>
                    <a:pt x="1175" y="81"/>
                    <a:pt x="1173" y="81"/>
                  </a:cubicBezTo>
                  <a:cubicBezTo>
                    <a:pt x="1165" y="79"/>
                    <a:pt x="1157" y="79"/>
                    <a:pt x="1149" y="81"/>
                  </a:cubicBezTo>
                  <a:cubicBezTo>
                    <a:pt x="1135" y="86"/>
                    <a:pt x="1125" y="99"/>
                    <a:pt x="1124" y="114"/>
                  </a:cubicBezTo>
                  <a:cubicBezTo>
                    <a:pt x="1124" y="121"/>
                    <a:pt x="1124" y="128"/>
                    <a:pt x="1124" y="135"/>
                  </a:cubicBezTo>
                  <a:cubicBezTo>
                    <a:pt x="1124" y="139"/>
                    <a:pt x="1124" y="138"/>
                    <a:pt x="1121" y="138"/>
                  </a:cubicBezTo>
                  <a:cubicBezTo>
                    <a:pt x="1116" y="138"/>
                    <a:pt x="1111" y="138"/>
                    <a:pt x="1106" y="138"/>
                  </a:cubicBezTo>
                  <a:cubicBezTo>
                    <a:pt x="1104" y="138"/>
                    <a:pt x="1104" y="138"/>
                    <a:pt x="1104" y="140"/>
                  </a:cubicBezTo>
                  <a:cubicBezTo>
                    <a:pt x="1104" y="144"/>
                    <a:pt x="1104" y="148"/>
                    <a:pt x="1104" y="152"/>
                  </a:cubicBezTo>
                  <a:cubicBezTo>
                    <a:pt x="1104" y="154"/>
                    <a:pt x="1104" y="154"/>
                    <a:pt x="1106" y="154"/>
                  </a:cubicBezTo>
                  <a:cubicBezTo>
                    <a:pt x="1111" y="154"/>
                    <a:pt x="1116" y="154"/>
                    <a:pt x="1121" y="154"/>
                  </a:cubicBezTo>
                  <a:cubicBezTo>
                    <a:pt x="1124" y="154"/>
                    <a:pt x="1124" y="154"/>
                    <a:pt x="1124" y="157"/>
                  </a:cubicBezTo>
                  <a:cubicBezTo>
                    <a:pt x="1124" y="158"/>
                    <a:pt x="1124" y="159"/>
                    <a:pt x="1124" y="159"/>
                  </a:cubicBezTo>
                  <a:cubicBezTo>
                    <a:pt x="1124" y="190"/>
                    <a:pt x="1124" y="221"/>
                    <a:pt x="1124" y="251"/>
                  </a:cubicBezTo>
                  <a:cubicBezTo>
                    <a:pt x="1124" y="252"/>
                    <a:pt x="1124" y="253"/>
                    <a:pt x="1124" y="254"/>
                  </a:cubicBezTo>
                  <a:cubicBezTo>
                    <a:pt x="1124" y="255"/>
                    <a:pt x="1124" y="256"/>
                    <a:pt x="1126" y="256"/>
                  </a:cubicBezTo>
                  <a:cubicBezTo>
                    <a:pt x="1131" y="256"/>
                    <a:pt x="1135" y="256"/>
                    <a:pt x="1140" y="256"/>
                  </a:cubicBezTo>
                  <a:cubicBezTo>
                    <a:pt x="1143" y="256"/>
                    <a:pt x="1143" y="256"/>
                    <a:pt x="1143" y="253"/>
                  </a:cubicBezTo>
                  <a:cubicBezTo>
                    <a:pt x="1143" y="252"/>
                    <a:pt x="1143" y="252"/>
                    <a:pt x="1143" y="251"/>
                  </a:cubicBezTo>
                  <a:cubicBezTo>
                    <a:pt x="1143" y="220"/>
                    <a:pt x="1143" y="189"/>
                    <a:pt x="1143" y="158"/>
                  </a:cubicBezTo>
                  <a:cubicBezTo>
                    <a:pt x="1143" y="157"/>
                    <a:pt x="1143" y="156"/>
                    <a:pt x="1143" y="156"/>
                  </a:cubicBezTo>
                  <a:cubicBezTo>
                    <a:pt x="1143" y="155"/>
                    <a:pt x="1143" y="154"/>
                    <a:pt x="1144" y="154"/>
                  </a:cubicBezTo>
                  <a:cubicBezTo>
                    <a:pt x="1145" y="154"/>
                    <a:pt x="1146" y="154"/>
                    <a:pt x="1146" y="154"/>
                  </a:cubicBezTo>
                  <a:cubicBezTo>
                    <a:pt x="1159" y="154"/>
                    <a:pt x="1171" y="154"/>
                    <a:pt x="1184" y="154"/>
                  </a:cubicBezTo>
                  <a:cubicBezTo>
                    <a:pt x="1188" y="154"/>
                    <a:pt x="1187" y="154"/>
                    <a:pt x="1187" y="158"/>
                  </a:cubicBezTo>
                  <a:cubicBezTo>
                    <a:pt x="1187" y="180"/>
                    <a:pt x="1187" y="201"/>
                    <a:pt x="1187" y="223"/>
                  </a:cubicBezTo>
                  <a:cubicBezTo>
                    <a:pt x="1187" y="228"/>
                    <a:pt x="1187" y="233"/>
                    <a:pt x="1189" y="238"/>
                  </a:cubicBezTo>
                  <a:cubicBezTo>
                    <a:pt x="1191" y="246"/>
                    <a:pt x="1195" y="252"/>
                    <a:pt x="1203" y="256"/>
                  </a:cubicBezTo>
                  <a:cubicBezTo>
                    <a:pt x="1207" y="257"/>
                    <a:pt x="1212" y="258"/>
                    <a:pt x="1216" y="258"/>
                  </a:cubicBezTo>
                  <a:cubicBezTo>
                    <a:pt x="1222" y="258"/>
                    <a:pt x="1228" y="258"/>
                    <a:pt x="1234" y="256"/>
                  </a:cubicBezTo>
                  <a:cubicBezTo>
                    <a:pt x="1235" y="255"/>
                    <a:pt x="1236" y="255"/>
                    <a:pt x="1236" y="253"/>
                  </a:cubicBezTo>
                  <a:cubicBezTo>
                    <a:pt x="1236" y="248"/>
                    <a:pt x="1236" y="244"/>
                    <a:pt x="1236" y="238"/>
                  </a:cubicBezTo>
                  <a:cubicBezTo>
                    <a:pt x="1230" y="242"/>
                    <a:pt x="1224" y="243"/>
                    <a:pt x="1219" y="242"/>
                  </a:cubicBezTo>
                  <a:close/>
                  <a:moveTo>
                    <a:pt x="1822" y="156"/>
                  </a:moveTo>
                  <a:cubicBezTo>
                    <a:pt x="1822" y="151"/>
                    <a:pt x="1822" y="146"/>
                    <a:pt x="1822" y="142"/>
                  </a:cubicBezTo>
                  <a:cubicBezTo>
                    <a:pt x="1822" y="138"/>
                    <a:pt x="1822" y="138"/>
                    <a:pt x="1818" y="138"/>
                  </a:cubicBezTo>
                  <a:cubicBezTo>
                    <a:pt x="1814" y="138"/>
                    <a:pt x="1810" y="138"/>
                    <a:pt x="1806" y="138"/>
                  </a:cubicBezTo>
                  <a:cubicBezTo>
                    <a:pt x="1802" y="138"/>
                    <a:pt x="1803" y="138"/>
                    <a:pt x="1803" y="142"/>
                  </a:cubicBezTo>
                  <a:cubicBezTo>
                    <a:pt x="1803" y="179"/>
                    <a:pt x="1803" y="215"/>
                    <a:pt x="1803" y="252"/>
                  </a:cubicBezTo>
                  <a:cubicBezTo>
                    <a:pt x="1803" y="253"/>
                    <a:pt x="1803" y="254"/>
                    <a:pt x="1803" y="254"/>
                  </a:cubicBezTo>
                  <a:cubicBezTo>
                    <a:pt x="1803" y="255"/>
                    <a:pt x="1803" y="256"/>
                    <a:pt x="1804" y="256"/>
                  </a:cubicBezTo>
                  <a:cubicBezTo>
                    <a:pt x="1810" y="256"/>
                    <a:pt x="1815" y="256"/>
                    <a:pt x="1820" y="256"/>
                  </a:cubicBezTo>
                  <a:cubicBezTo>
                    <a:pt x="1821" y="256"/>
                    <a:pt x="1822" y="255"/>
                    <a:pt x="1822" y="254"/>
                  </a:cubicBezTo>
                  <a:cubicBezTo>
                    <a:pt x="1822" y="254"/>
                    <a:pt x="1822" y="253"/>
                    <a:pt x="1822" y="252"/>
                  </a:cubicBezTo>
                  <a:cubicBezTo>
                    <a:pt x="1822" y="232"/>
                    <a:pt x="1822" y="211"/>
                    <a:pt x="1822" y="191"/>
                  </a:cubicBezTo>
                  <a:cubicBezTo>
                    <a:pt x="1822" y="187"/>
                    <a:pt x="1822" y="184"/>
                    <a:pt x="1822" y="181"/>
                  </a:cubicBezTo>
                  <a:cubicBezTo>
                    <a:pt x="1823" y="174"/>
                    <a:pt x="1826" y="167"/>
                    <a:pt x="1830" y="161"/>
                  </a:cubicBezTo>
                  <a:cubicBezTo>
                    <a:pt x="1836" y="154"/>
                    <a:pt x="1843" y="151"/>
                    <a:pt x="1852" y="152"/>
                  </a:cubicBezTo>
                  <a:cubicBezTo>
                    <a:pt x="1863" y="152"/>
                    <a:pt x="1871" y="158"/>
                    <a:pt x="1874" y="169"/>
                  </a:cubicBezTo>
                  <a:cubicBezTo>
                    <a:pt x="1875" y="170"/>
                    <a:pt x="1875" y="171"/>
                    <a:pt x="1875" y="171"/>
                  </a:cubicBezTo>
                  <a:cubicBezTo>
                    <a:pt x="1876" y="177"/>
                    <a:pt x="1877" y="182"/>
                    <a:pt x="1877" y="187"/>
                  </a:cubicBezTo>
                  <a:cubicBezTo>
                    <a:pt x="1877" y="204"/>
                    <a:pt x="1877" y="220"/>
                    <a:pt x="1877" y="236"/>
                  </a:cubicBezTo>
                  <a:cubicBezTo>
                    <a:pt x="1877" y="242"/>
                    <a:pt x="1877" y="248"/>
                    <a:pt x="1877" y="254"/>
                  </a:cubicBezTo>
                  <a:cubicBezTo>
                    <a:pt x="1877" y="255"/>
                    <a:pt x="1877" y="256"/>
                    <a:pt x="1879" y="256"/>
                  </a:cubicBezTo>
                  <a:cubicBezTo>
                    <a:pt x="1884" y="256"/>
                    <a:pt x="1889" y="256"/>
                    <a:pt x="1894" y="256"/>
                  </a:cubicBezTo>
                  <a:cubicBezTo>
                    <a:pt x="1895" y="256"/>
                    <a:pt x="1896" y="255"/>
                    <a:pt x="1896" y="254"/>
                  </a:cubicBezTo>
                  <a:cubicBezTo>
                    <a:pt x="1896" y="253"/>
                    <a:pt x="1896" y="252"/>
                    <a:pt x="1896" y="252"/>
                  </a:cubicBezTo>
                  <a:cubicBezTo>
                    <a:pt x="1896" y="230"/>
                    <a:pt x="1896" y="209"/>
                    <a:pt x="1896" y="188"/>
                  </a:cubicBezTo>
                  <a:cubicBezTo>
                    <a:pt x="1896" y="178"/>
                    <a:pt x="1899" y="168"/>
                    <a:pt x="1906" y="160"/>
                  </a:cubicBezTo>
                  <a:cubicBezTo>
                    <a:pt x="1911" y="154"/>
                    <a:pt x="1918" y="151"/>
                    <a:pt x="1927" y="152"/>
                  </a:cubicBezTo>
                  <a:cubicBezTo>
                    <a:pt x="1939" y="152"/>
                    <a:pt x="1946" y="158"/>
                    <a:pt x="1949" y="170"/>
                  </a:cubicBezTo>
                  <a:cubicBezTo>
                    <a:pt x="1950" y="175"/>
                    <a:pt x="1951" y="180"/>
                    <a:pt x="1951" y="185"/>
                  </a:cubicBezTo>
                  <a:cubicBezTo>
                    <a:pt x="1951" y="207"/>
                    <a:pt x="1951" y="228"/>
                    <a:pt x="1951" y="250"/>
                  </a:cubicBezTo>
                  <a:cubicBezTo>
                    <a:pt x="1951" y="252"/>
                    <a:pt x="1950" y="254"/>
                    <a:pt x="1951" y="255"/>
                  </a:cubicBezTo>
                  <a:cubicBezTo>
                    <a:pt x="1952" y="256"/>
                    <a:pt x="1954" y="256"/>
                    <a:pt x="1956" y="256"/>
                  </a:cubicBezTo>
                  <a:cubicBezTo>
                    <a:pt x="1959" y="256"/>
                    <a:pt x="1963" y="256"/>
                    <a:pt x="1966" y="256"/>
                  </a:cubicBezTo>
                  <a:cubicBezTo>
                    <a:pt x="1970" y="256"/>
                    <a:pt x="1969" y="256"/>
                    <a:pt x="1969" y="253"/>
                  </a:cubicBezTo>
                  <a:cubicBezTo>
                    <a:pt x="1969" y="230"/>
                    <a:pt x="1969" y="207"/>
                    <a:pt x="1969" y="183"/>
                  </a:cubicBezTo>
                  <a:cubicBezTo>
                    <a:pt x="1969" y="176"/>
                    <a:pt x="1969" y="168"/>
                    <a:pt x="1966" y="160"/>
                  </a:cubicBezTo>
                  <a:cubicBezTo>
                    <a:pt x="1963" y="149"/>
                    <a:pt x="1956" y="140"/>
                    <a:pt x="1944" y="137"/>
                  </a:cubicBezTo>
                  <a:cubicBezTo>
                    <a:pt x="1936" y="135"/>
                    <a:pt x="1928" y="135"/>
                    <a:pt x="1920" y="137"/>
                  </a:cubicBezTo>
                  <a:cubicBezTo>
                    <a:pt x="1909" y="139"/>
                    <a:pt x="1901" y="146"/>
                    <a:pt x="1894" y="155"/>
                  </a:cubicBezTo>
                  <a:cubicBezTo>
                    <a:pt x="1894" y="156"/>
                    <a:pt x="1893" y="158"/>
                    <a:pt x="1892" y="159"/>
                  </a:cubicBezTo>
                  <a:cubicBezTo>
                    <a:pt x="1891" y="158"/>
                    <a:pt x="1891" y="157"/>
                    <a:pt x="1890" y="155"/>
                  </a:cubicBezTo>
                  <a:cubicBezTo>
                    <a:pt x="1884" y="142"/>
                    <a:pt x="1870" y="133"/>
                    <a:pt x="1851" y="136"/>
                  </a:cubicBezTo>
                  <a:cubicBezTo>
                    <a:pt x="1840" y="138"/>
                    <a:pt x="1831" y="144"/>
                    <a:pt x="1824" y="154"/>
                  </a:cubicBezTo>
                  <a:cubicBezTo>
                    <a:pt x="1823" y="155"/>
                    <a:pt x="1823" y="156"/>
                    <a:pt x="1822" y="156"/>
                  </a:cubicBezTo>
                  <a:cubicBezTo>
                    <a:pt x="1822" y="156"/>
                    <a:pt x="1822" y="156"/>
                    <a:pt x="1822" y="156"/>
                  </a:cubicBezTo>
                  <a:close/>
                  <a:moveTo>
                    <a:pt x="1445" y="308"/>
                  </a:moveTo>
                  <a:cubicBezTo>
                    <a:pt x="1445" y="309"/>
                    <a:pt x="1446" y="310"/>
                    <a:pt x="1447" y="310"/>
                  </a:cubicBezTo>
                  <a:cubicBezTo>
                    <a:pt x="1449" y="310"/>
                    <a:pt x="1452" y="311"/>
                    <a:pt x="1454" y="311"/>
                  </a:cubicBezTo>
                  <a:cubicBezTo>
                    <a:pt x="1463" y="311"/>
                    <a:pt x="1471" y="309"/>
                    <a:pt x="1479" y="304"/>
                  </a:cubicBezTo>
                  <a:cubicBezTo>
                    <a:pt x="1482" y="301"/>
                    <a:pt x="1486" y="297"/>
                    <a:pt x="1489" y="293"/>
                  </a:cubicBezTo>
                  <a:cubicBezTo>
                    <a:pt x="1493" y="287"/>
                    <a:pt x="1496" y="281"/>
                    <a:pt x="1499" y="274"/>
                  </a:cubicBezTo>
                  <a:cubicBezTo>
                    <a:pt x="1516" y="230"/>
                    <a:pt x="1534" y="185"/>
                    <a:pt x="1551" y="141"/>
                  </a:cubicBezTo>
                  <a:cubicBezTo>
                    <a:pt x="1552" y="140"/>
                    <a:pt x="1552" y="139"/>
                    <a:pt x="1552" y="138"/>
                  </a:cubicBezTo>
                  <a:cubicBezTo>
                    <a:pt x="1547" y="138"/>
                    <a:pt x="1541" y="138"/>
                    <a:pt x="1536" y="138"/>
                  </a:cubicBezTo>
                  <a:cubicBezTo>
                    <a:pt x="1532" y="138"/>
                    <a:pt x="1533" y="138"/>
                    <a:pt x="1532" y="141"/>
                  </a:cubicBezTo>
                  <a:cubicBezTo>
                    <a:pt x="1532" y="141"/>
                    <a:pt x="1532" y="141"/>
                    <a:pt x="1532" y="142"/>
                  </a:cubicBezTo>
                  <a:cubicBezTo>
                    <a:pt x="1520" y="172"/>
                    <a:pt x="1509" y="202"/>
                    <a:pt x="1498" y="233"/>
                  </a:cubicBezTo>
                  <a:cubicBezTo>
                    <a:pt x="1498" y="234"/>
                    <a:pt x="1498" y="235"/>
                    <a:pt x="1497" y="235"/>
                  </a:cubicBezTo>
                  <a:cubicBezTo>
                    <a:pt x="1496" y="235"/>
                    <a:pt x="1496" y="233"/>
                    <a:pt x="1495" y="233"/>
                  </a:cubicBezTo>
                  <a:cubicBezTo>
                    <a:pt x="1489" y="213"/>
                    <a:pt x="1482" y="194"/>
                    <a:pt x="1475" y="174"/>
                  </a:cubicBezTo>
                  <a:cubicBezTo>
                    <a:pt x="1471" y="163"/>
                    <a:pt x="1467" y="152"/>
                    <a:pt x="1463" y="141"/>
                  </a:cubicBezTo>
                  <a:cubicBezTo>
                    <a:pt x="1462" y="138"/>
                    <a:pt x="1463" y="138"/>
                    <a:pt x="1460" y="138"/>
                  </a:cubicBezTo>
                  <a:cubicBezTo>
                    <a:pt x="1457" y="138"/>
                    <a:pt x="1453" y="138"/>
                    <a:pt x="1450" y="138"/>
                  </a:cubicBezTo>
                  <a:cubicBezTo>
                    <a:pt x="1448" y="138"/>
                    <a:pt x="1445" y="138"/>
                    <a:pt x="1442" y="138"/>
                  </a:cubicBezTo>
                  <a:cubicBezTo>
                    <a:pt x="1442" y="140"/>
                    <a:pt x="1443" y="141"/>
                    <a:pt x="1443" y="142"/>
                  </a:cubicBezTo>
                  <a:cubicBezTo>
                    <a:pt x="1457" y="179"/>
                    <a:pt x="1472" y="216"/>
                    <a:pt x="1486" y="253"/>
                  </a:cubicBezTo>
                  <a:cubicBezTo>
                    <a:pt x="1487" y="255"/>
                    <a:pt x="1487" y="256"/>
                    <a:pt x="1486" y="258"/>
                  </a:cubicBezTo>
                  <a:cubicBezTo>
                    <a:pt x="1483" y="264"/>
                    <a:pt x="1481" y="271"/>
                    <a:pt x="1478" y="277"/>
                  </a:cubicBezTo>
                  <a:cubicBezTo>
                    <a:pt x="1477" y="280"/>
                    <a:pt x="1475" y="283"/>
                    <a:pt x="1474" y="286"/>
                  </a:cubicBezTo>
                  <a:cubicBezTo>
                    <a:pt x="1468" y="293"/>
                    <a:pt x="1461" y="296"/>
                    <a:pt x="1452" y="294"/>
                  </a:cubicBezTo>
                  <a:cubicBezTo>
                    <a:pt x="1450" y="294"/>
                    <a:pt x="1448" y="293"/>
                    <a:pt x="1445" y="293"/>
                  </a:cubicBezTo>
                  <a:cubicBezTo>
                    <a:pt x="1445" y="298"/>
                    <a:pt x="1445" y="303"/>
                    <a:pt x="1445" y="308"/>
                  </a:cubicBezTo>
                  <a:close/>
                  <a:moveTo>
                    <a:pt x="1584" y="155"/>
                  </a:moveTo>
                  <a:cubicBezTo>
                    <a:pt x="1584" y="150"/>
                    <a:pt x="1584" y="146"/>
                    <a:pt x="1584" y="141"/>
                  </a:cubicBezTo>
                  <a:cubicBezTo>
                    <a:pt x="1584" y="138"/>
                    <a:pt x="1584" y="138"/>
                    <a:pt x="1581" y="138"/>
                  </a:cubicBezTo>
                  <a:cubicBezTo>
                    <a:pt x="1577" y="138"/>
                    <a:pt x="1573" y="138"/>
                    <a:pt x="1569" y="138"/>
                  </a:cubicBezTo>
                  <a:cubicBezTo>
                    <a:pt x="1565" y="138"/>
                    <a:pt x="1565" y="138"/>
                    <a:pt x="1565" y="142"/>
                  </a:cubicBezTo>
                  <a:cubicBezTo>
                    <a:pt x="1565" y="179"/>
                    <a:pt x="1565" y="215"/>
                    <a:pt x="1565" y="252"/>
                  </a:cubicBezTo>
                  <a:cubicBezTo>
                    <a:pt x="1565" y="253"/>
                    <a:pt x="1565" y="253"/>
                    <a:pt x="1565" y="254"/>
                  </a:cubicBezTo>
                  <a:cubicBezTo>
                    <a:pt x="1565" y="255"/>
                    <a:pt x="1566" y="256"/>
                    <a:pt x="1567" y="256"/>
                  </a:cubicBezTo>
                  <a:cubicBezTo>
                    <a:pt x="1572" y="256"/>
                    <a:pt x="1578" y="256"/>
                    <a:pt x="1583" y="256"/>
                  </a:cubicBezTo>
                  <a:cubicBezTo>
                    <a:pt x="1584" y="256"/>
                    <a:pt x="1584" y="255"/>
                    <a:pt x="1584" y="254"/>
                  </a:cubicBezTo>
                  <a:cubicBezTo>
                    <a:pt x="1584" y="253"/>
                    <a:pt x="1584" y="253"/>
                    <a:pt x="1584" y="252"/>
                  </a:cubicBezTo>
                  <a:cubicBezTo>
                    <a:pt x="1584" y="231"/>
                    <a:pt x="1584" y="211"/>
                    <a:pt x="1584" y="190"/>
                  </a:cubicBezTo>
                  <a:cubicBezTo>
                    <a:pt x="1584" y="186"/>
                    <a:pt x="1584" y="181"/>
                    <a:pt x="1586" y="177"/>
                  </a:cubicBezTo>
                  <a:cubicBezTo>
                    <a:pt x="1590" y="163"/>
                    <a:pt x="1598" y="154"/>
                    <a:pt x="1613" y="152"/>
                  </a:cubicBezTo>
                  <a:cubicBezTo>
                    <a:pt x="1627" y="150"/>
                    <a:pt x="1637" y="156"/>
                    <a:pt x="1642" y="170"/>
                  </a:cubicBezTo>
                  <a:cubicBezTo>
                    <a:pt x="1644" y="176"/>
                    <a:pt x="1644" y="182"/>
                    <a:pt x="1644" y="188"/>
                  </a:cubicBezTo>
                  <a:cubicBezTo>
                    <a:pt x="1644" y="210"/>
                    <a:pt x="1644" y="231"/>
                    <a:pt x="1644" y="252"/>
                  </a:cubicBezTo>
                  <a:cubicBezTo>
                    <a:pt x="1644" y="253"/>
                    <a:pt x="1644" y="253"/>
                    <a:pt x="1644" y="254"/>
                  </a:cubicBezTo>
                  <a:cubicBezTo>
                    <a:pt x="1644" y="255"/>
                    <a:pt x="1644" y="256"/>
                    <a:pt x="1646" y="256"/>
                  </a:cubicBezTo>
                  <a:cubicBezTo>
                    <a:pt x="1651" y="256"/>
                    <a:pt x="1656" y="256"/>
                    <a:pt x="1661" y="256"/>
                  </a:cubicBezTo>
                  <a:cubicBezTo>
                    <a:pt x="1663" y="256"/>
                    <a:pt x="1663" y="255"/>
                    <a:pt x="1663" y="254"/>
                  </a:cubicBezTo>
                  <a:cubicBezTo>
                    <a:pt x="1663" y="253"/>
                    <a:pt x="1663" y="252"/>
                    <a:pt x="1663" y="252"/>
                  </a:cubicBezTo>
                  <a:cubicBezTo>
                    <a:pt x="1663" y="230"/>
                    <a:pt x="1663" y="209"/>
                    <a:pt x="1663" y="187"/>
                  </a:cubicBezTo>
                  <a:cubicBezTo>
                    <a:pt x="1663" y="183"/>
                    <a:pt x="1663" y="179"/>
                    <a:pt x="1663" y="175"/>
                  </a:cubicBezTo>
                  <a:cubicBezTo>
                    <a:pt x="1662" y="168"/>
                    <a:pt x="1660" y="162"/>
                    <a:pt x="1658" y="156"/>
                  </a:cubicBezTo>
                  <a:cubicBezTo>
                    <a:pt x="1653" y="146"/>
                    <a:pt x="1645" y="139"/>
                    <a:pt x="1634" y="136"/>
                  </a:cubicBezTo>
                  <a:cubicBezTo>
                    <a:pt x="1630" y="136"/>
                    <a:pt x="1625" y="135"/>
                    <a:pt x="1621" y="136"/>
                  </a:cubicBezTo>
                  <a:cubicBezTo>
                    <a:pt x="1607" y="136"/>
                    <a:pt x="1595" y="142"/>
                    <a:pt x="1587" y="154"/>
                  </a:cubicBezTo>
                  <a:cubicBezTo>
                    <a:pt x="1586" y="155"/>
                    <a:pt x="1586" y="156"/>
                    <a:pt x="1585" y="158"/>
                  </a:cubicBezTo>
                  <a:cubicBezTo>
                    <a:pt x="1584" y="156"/>
                    <a:pt x="1584" y="155"/>
                    <a:pt x="1584" y="155"/>
                  </a:cubicBezTo>
                  <a:close/>
                  <a:moveTo>
                    <a:pt x="2140" y="232"/>
                  </a:moveTo>
                  <a:cubicBezTo>
                    <a:pt x="2140" y="237"/>
                    <a:pt x="2140" y="241"/>
                    <a:pt x="2140" y="245"/>
                  </a:cubicBezTo>
                  <a:cubicBezTo>
                    <a:pt x="2140" y="247"/>
                    <a:pt x="2139" y="250"/>
                    <a:pt x="2141" y="251"/>
                  </a:cubicBezTo>
                  <a:cubicBezTo>
                    <a:pt x="2142" y="253"/>
                    <a:pt x="2144" y="254"/>
                    <a:pt x="2146" y="254"/>
                  </a:cubicBezTo>
                  <a:cubicBezTo>
                    <a:pt x="2157" y="259"/>
                    <a:pt x="2169" y="260"/>
                    <a:pt x="2180" y="258"/>
                  </a:cubicBezTo>
                  <a:cubicBezTo>
                    <a:pt x="2189" y="256"/>
                    <a:pt x="2196" y="253"/>
                    <a:pt x="2202" y="247"/>
                  </a:cubicBezTo>
                  <a:cubicBezTo>
                    <a:pt x="2216" y="236"/>
                    <a:pt x="2216" y="211"/>
                    <a:pt x="2200" y="200"/>
                  </a:cubicBezTo>
                  <a:cubicBezTo>
                    <a:pt x="2198" y="198"/>
                    <a:pt x="2196" y="197"/>
                    <a:pt x="2193" y="195"/>
                  </a:cubicBezTo>
                  <a:cubicBezTo>
                    <a:pt x="2189" y="193"/>
                    <a:pt x="2185" y="191"/>
                    <a:pt x="2181" y="189"/>
                  </a:cubicBezTo>
                  <a:cubicBezTo>
                    <a:pt x="2176" y="187"/>
                    <a:pt x="2171" y="185"/>
                    <a:pt x="2167" y="182"/>
                  </a:cubicBezTo>
                  <a:cubicBezTo>
                    <a:pt x="2164" y="181"/>
                    <a:pt x="2162" y="179"/>
                    <a:pt x="2161" y="176"/>
                  </a:cubicBezTo>
                  <a:cubicBezTo>
                    <a:pt x="2158" y="167"/>
                    <a:pt x="2160" y="157"/>
                    <a:pt x="2170" y="153"/>
                  </a:cubicBezTo>
                  <a:cubicBezTo>
                    <a:pt x="2172" y="153"/>
                    <a:pt x="2173" y="152"/>
                    <a:pt x="2175" y="152"/>
                  </a:cubicBezTo>
                  <a:cubicBezTo>
                    <a:pt x="2185" y="151"/>
                    <a:pt x="2195" y="153"/>
                    <a:pt x="2204" y="158"/>
                  </a:cubicBezTo>
                  <a:cubicBezTo>
                    <a:pt x="2205" y="158"/>
                    <a:pt x="2205" y="159"/>
                    <a:pt x="2207" y="159"/>
                  </a:cubicBezTo>
                  <a:cubicBezTo>
                    <a:pt x="2207" y="154"/>
                    <a:pt x="2207" y="148"/>
                    <a:pt x="2207" y="142"/>
                  </a:cubicBezTo>
                  <a:cubicBezTo>
                    <a:pt x="2207" y="141"/>
                    <a:pt x="2207" y="141"/>
                    <a:pt x="2206" y="140"/>
                  </a:cubicBezTo>
                  <a:cubicBezTo>
                    <a:pt x="2205" y="140"/>
                    <a:pt x="2204" y="140"/>
                    <a:pt x="2203" y="139"/>
                  </a:cubicBezTo>
                  <a:cubicBezTo>
                    <a:pt x="2194" y="136"/>
                    <a:pt x="2184" y="135"/>
                    <a:pt x="2175" y="136"/>
                  </a:cubicBezTo>
                  <a:cubicBezTo>
                    <a:pt x="2166" y="137"/>
                    <a:pt x="2158" y="140"/>
                    <a:pt x="2151" y="146"/>
                  </a:cubicBezTo>
                  <a:cubicBezTo>
                    <a:pt x="2136" y="158"/>
                    <a:pt x="2136" y="185"/>
                    <a:pt x="2154" y="196"/>
                  </a:cubicBezTo>
                  <a:cubicBezTo>
                    <a:pt x="2158" y="199"/>
                    <a:pt x="2163" y="202"/>
                    <a:pt x="2168" y="204"/>
                  </a:cubicBezTo>
                  <a:cubicBezTo>
                    <a:pt x="2174" y="207"/>
                    <a:pt x="2181" y="210"/>
                    <a:pt x="2186" y="214"/>
                  </a:cubicBezTo>
                  <a:cubicBezTo>
                    <a:pt x="2192" y="217"/>
                    <a:pt x="2194" y="223"/>
                    <a:pt x="2193" y="229"/>
                  </a:cubicBezTo>
                  <a:cubicBezTo>
                    <a:pt x="2192" y="235"/>
                    <a:pt x="2188" y="239"/>
                    <a:pt x="2182" y="241"/>
                  </a:cubicBezTo>
                  <a:cubicBezTo>
                    <a:pt x="2181" y="241"/>
                    <a:pt x="2180" y="241"/>
                    <a:pt x="2179" y="242"/>
                  </a:cubicBezTo>
                  <a:cubicBezTo>
                    <a:pt x="2166" y="244"/>
                    <a:pt x="2154" y="241"/>
                    <a:pt x="2143" y="234"/>
                  </a:cubicBezTo>
                  <a:cubicBezTo>
                    <a:pt x="2142" y="233"/>
                    <a:pt x="2142" y="232"/>
                    <a:pt x="2140" y="232"/>
                  </a:cubicBezTo>
                  <a:cubicBezTo>
                    <a:pt x="2140" y="232"/>
                    <a:pt x="2140" y="232"/>
                    <a:pt x="2140" y="232"/>
                  </a:cubicBezTo>
                  <a:close/>
                  <a:moveTo>
                    <a:pt x="900" y="251"/>
                  </a:moveTo>
                  <a:cubicBezTo>
                    <a:pt x="900" y="252"/>
                    <a:pt x="901" y="252"/>
                    <a:pt x="901" y="252"/>
                  </a:cubicBezTo>
                  <a:cubicBezTo>
                    <a:pt x="903" y="253"/>
                    <a:pt x="905" y="254"/>
                    <a:pt x="908" y="255"/>
                  </a:cubicBezTo>
                  <a:cubicBezTo>
                    <a:pt x="918" y="259"/>
                    <a:pt x="929" y="259"/>
                    <a:pt x="939" y="258"/>
                  </a:cubicBezTo>
                  <a:cubicBezTo>
                    <a:pt x="947" y="257"/>
                    <a:pt x="954" y="254"/>
                    <a:pt x="960" y="249"/>
                  </a:cubicBezTo>
                  <a:cubicBezTo>
                    <a:pt x="976" y="237"/>
                    <a:pt x="977" y="211"/>
                    <a:pt x="959" y="199"/>
                  </a:cubicBezTo>
                  <a:cubicBezTo>
                    <a:pt x="958" y="198"/>
                    <a:pt x="956" y="197"/>
                    <a:pt x="955" y="196"/>
                  </a:cubicBezTo>
                  <a:cubicBezTo>
                    <a:pt x="950" y="193"/>
                    <a:pt x="946" y="191"/>
                    <a:pt x="941" y="189"/>
                  </a:cubicBezTo>
                  <a:cubicBezTo>
                    <a:pt x="936" y="187"/>
                    <a:pt x="931" y="185"/>
                    <a:pt x="927" y="182"/>
                  </a:cubicBezTo>
                  <a:cubicBezTo>
                    <a:pt x="924" y="180"/>
                    <a:pt x="922" y="179"/>
                    <a:pt x="921" y="176"/>
                  </a:cubicBezTo>
                  <a:cubicBezTo>
                    <a:pt x="918" y="168"/>
                    <a:pt x="919" y="158"/>
                    <a:pt x="929" y="154"/>
                  </a:cubicBezTo>
                  <a:cubicBezTo>
                    <a:pt x="931" y="153"/>
                    <a:pt x="933" y="152"/>
                    <a:pt x="934" y="152"/>
                  </a:cubicBezTo>
                  <a:cubicBezTo>
                    <a:pt x="945" y="150"/>
                    <a:pt x="955" y="153"/>
                    <a:pt x="964" y="158"/>
                  </a:cubicBezTo>
                  <a:cubicBezTo>
                    <a:pt x="965" y="159"/>
                    <a:pt x="965" y="159"/>
                    <a:pt x="967" y="159"/>
                  </a:cubicBezTo>
                  <a:cubicBezTo>
                    <a:pt x="967" y="154"/>
                    <a:pt x="967" y="149"/>
                    <a:pt x="967" y="144"/>
                  </a:cubicBezTo>
                  <a:cubicBezTo>
                    <a:pt x="967" y="141"/>
                    <a:pt x="967" y="141"/>
                    <a:pt x="964" y="140"/>
                  </a:cubicBezTo>
                  <a:cubicBezTo>
                    <a:pt x="954" y="136"/>
                    <a:pt x="944" y="135"/>
                    <a:pt x="934" y="136"/>
                  </a:cubicBezTo>
                  <a:cubicBezTo>
                    <a:pt x="926" y="137"/>
                    <a:pt x="919" y="140"/>
                    <a:pt x="912" y="145"/>
                  </a:cubicBezTo>
                  <a:cubicBezTo>
                    <a:pt x="896" y="158"/>
                    <a:pt x="896" y="186"/>
                    <a:pt x="914" y="196"/>
                  </a:cubicBezTo>
                  <a:cubicBezTo>
                    <a:pt x="919" y="199"/>
                    <a:pt x="923" y="202"/>
                    <a:pt x="928" y="204"/>
                  </a:cubicBezTo>
                  <a:cubicBezTo>
                    <a:pt x="934" y="207"/>
                    <a:pt x="941" y="210"/>
                    <a:pt x="946" y="214"/>
                  </a:cubicBezTo>
                  <a:cubicBezTo>
                    <a:pt x="952" y="218"/>
                    <a:pt x="953" y="223"/>
                    <a:pt x="952" y="230"/>
                  </a:cubicBezTo>
                  <a:cubicBezTo>
                    <a:pt x="951" y="236"/>
                    <a:pt x="947" y="239"/>
                    <a:pt x="942" y="241"/>
                  </a:cubicBezTo>
                  <a:cubicBezTo>
                    <a:pt x="941" y="241"/>
                    <a:pt x="940" y="241"/>
                    <a:pt x="939" y="242"/>
                  </a:cubicBezTo>
                  <a:cubicBezTo>
                    <a:pt x="926" y="244"/>
                    <a:pt x="914" y="241"/>
                    <a:pt x="903" y="234"/>
                  </a:cubicBezTo>
                  <a:cubicBezTo>
                    <a:pt x="902" y="233"/>
                    <a:pt x="901" y="232"/>
                    <a:pt x="900" y="231"/>
                  </a:cubicBezTo>
                  <a:cubicBezTo>
                    <a:pt x="900" y="238"/>
                    <a:pt x="900" y="244"/>
                    <a:pt x="900" y="251"/>
                  </a:cubicBezTo>
                  <a:close/>
                  <a:moveTo>
                    <a:pt x="2127" y="143"/>
                  </a:moveTo>
                  <a:cubicBezTo>
                    <a:pt x="2127" y="142"/>
                    <a:pt x="2127" y="141"/>
                    <a:pt x="2126" y="141"/>
                  </a:cubicBezTo>
                  <a:cubicBezTo>
                    <a:pt x="2124" y="140"/>
                    <a:pt x="2122" y="139"/>
                    <a:pt x="2121" y="139"/>
                  </a:cubicBezTo>
                  <a:cubicBezTo>
                    <a:pt x="2110" y="135"/>
                    <a:pt x="2100" y="135"/>
                    <a:pt x="2089" y="136"/>
                  </a:cubicBezTo>
                  <a:cubicBezTo>
                    <a:pt x="2069" y="139"/>
                    <a:pt x="2055" y="149"/>
                    <a:pt x="2046" y="167"/>
                  </a:cubicBezTo>
                  <a:cubicBezTo>
                    <a:pt x="2037" y="185"/>
                    <a:pt x="2036" y="204"/>
                    <a:pt x="2043" y="223"/>
                  </a:cubicBezTo>
                  <a:cubicBezTo>
                    <a:pt x="2048" y="239"/>
                    <a:pt x="2059" y="250"/>
                    <a:pt x="2075" y="255"/>
                  </a:cubicBezTo>
                  <a:cubicBezTo>
                    <a:pt x="2085" y="259"/>
                    <a:pt x="2095" y="259"/>
                    <a:pt x="2106" y="258"/>
                  </a:cubicBezTo>
                  <a:cubicBezTo>
                    <a:pt x="2112" y="257"/>
                    <a:pt x="2119" y="255"/>
                    <a:pt x="2124" y="252"/>
                  </a:cubicBezTo>
                  <a:cubicBezTo>
                    <a:pt x="2126" y="251"/>
                    <a:pt x="2127" y="250"/>
                    <a:pt x="2127" y="248"/>
                  </a:cubicBezTo>
                  <a:cubicBezTo>
                    <a:pt x="2127" y="244"/>
                    <a:pt x="2127" y="239"/>
                    <a:pt x="2127" y="235"/>
                  </a:cubicBezTo>
                  <a:cubicBezTo>
                    <a:pt x="2127" y="234"/>
                    <a:pt x="2127" y="234"/>
                    <a:pt x="2126" y="233"/>
                  </a:cubicBezTo>
                  <a:cubicBezTo>
                    <a:pt x="2125" y="233"/>
                    <a:pt x="2125" y="234"/>
                    <a:pt x="2124" y="234"/>
                  </a:cubicBezTo>
                  <a:cubicBezTo>
                    <a:pt x="2115" y="240"/>
                    <a:pt x="2105" y="243"/>
                    <a:pt x="2094" y="242"/>
                  </a:cubicBezTo>
                  <a:cubicBezTo>
                    <a:pt x="2078" y="241"/>
                    <a:pt x="2067" y="233"/>
                    <a:pt x="2061" y="218"/>
                  </a:cubicBezTo>
                  <a:cubicBezTo>
                    <a:pt x="2056" y="205"/>
                    <a:pt x="2057" y="191"/>
                    <a:pt x="2062" y="177"/>
                  </a:cubicBezTo>
                  <a:cubicBezTo>
                    <a:pt x="2067" y="164"/>
                    <a:pt x="2076" y="155"/>
                    <a:pt x="2090" y="152"/>
                  </a:cubicBezTo>
                  <a:cubicBezTo>
                    <a:pt x="2102" y="150"/>
                    <a:pt x="2113" y="152"/>
                    <a:pt x="2124" y="159"/>
                  </a:cubicBezTo>
                  <a:cubicBezTo>
                    <a:pt x="2125" y="159"/>
                    <a:pt x="2125" y="160"/>
                    <a:pt x="2127" y="160"/>
                  </a:cubicBezTo>
                  <a:cubicBezTo>
                    <a:pt x="2127" y="154"/>
                    <a:pt x="2127" y="149"/>
                    <a:pt x="2127" y="143"/>
                  </a:cubicBezTo>
                  <a:close/>
                  <a:moveTo>
                    <a:pt x="684" y="234"/>
                  </a:moveTo>
                  <a:cubicBezTo>
                    <a:pt x="675" y="240"/>
                    <a:pt x="665" y="243"/>
                    <a:pt x="654" y="242"/>
                  </a:cubicBezTo>
                  <a:cubicBezTo>
                    <a:pt x="639" y="241"/>
                    <a:pt x="628" y="234"/>
                    <a:pt x="622" y="220"/>
                  </a:cubicBezTo>
                  <a:cubicBezTo>
                    <a:pt x="615" y="205"/>
                    <a:pt x="616" y="189"/>
                    <a:pt x="623" y="174"/>
                  </a:cubicBezTo>
                  <a:cubicBezTo>
                    <a:pt x="628" y="162"/>
                    <a:pt x="638" y="154"/>
                    <a:pt x="651" y="152"/>
                  </a:cubicBezTo>
                  <a:cubicBezTo>
                    <a:pt x="663" y="150"/>
                    <a:pt x="673" y="153"/>
                    <a:pt x="683" y="159"/>
                  </a:cubicBezTo>
                  <a:cubicBezTo>
                    <a:pt x="684" y="159"/>
                    <a:pt x="685" y="160"/>
                    <a:pt x="687" y="160"/>
                  </a:cubicBezTo>
                  <a:cubicBezTo>
                    <a:pt x="687" y="156"/>
                    <a:pt x="687" y="151"/>
                    <a:pt x="687" y="146"/>
                  </a:cubicBezTo>
                  <a:cubicBezTo>
                    <a:pt x="687" y="141"/>
                    <a:pt x="687" y="141"/>
                    <a:pt x="682" y="139"/>
                  </a:cubicBezTo>
                  <a:cubicBezTo>
                    <a:pt x="671" y="135"/>
                    <a:pt x="660" y="135"/>
                    <a:pt x="649" y="136"/>
                  </a:cubicBezTo>
                  <a:cubicBezTo>
                    <a:pt x="629" y="139"/>
                    <a:pt x="615" y="149"/>
                    <a:pt x="606" y="166"/>
                  </a:cubicBezTo>
                  <a:cubicBezTo>
                    <a:pt x="596" y="185"/>
                    <a:pt x="595" y="205"/>
                    <a:pt x="603" y="225"/>
                  </a:cubicBezTo>
                  <a:cubicBezTo>
                    <a:pt x="609" y="241"/>
                    <a:pt x="621" y="251"/>
                    <a:pt x="637" y="256"/>
                  </a:cubicBezTo>
                  <a:cubicBezTo>
                    <a:pt x="647" y="259"/>
                    <a:pt x="658" y="259"/>
                    <a:pt x="669" y="257"/>
                  </a:cubicBezTo>
                  <a:cubicBezTo>
                    <a:pt x="674" y="256"/>
                    <a:pt x="680" y="254"/>
                    <a:pt x="685" y="251"/>
                  </a:cubicBezTo>
                  <a:cubicBezTo>
                    <a:pt x="686" y="251"/>
                    <a:pt x="686" y="250"/>
                    <a:pt x="686" y="249"/>
                  </a:cubicBezTo>
                  <a:cubicBezTo>
                    <a:pt x="686" y="244"/>
                    <a:pt x="686" y="238"/>
                    <a:pt x="686" y="233"/>
                  </a:cubicBezTo>
                  <a:cubicBezTo>
                    <a:pt x="685" y="233"/>
                    <a:pt x="685" y="234"/>
                    <a:pt x="684" y="234"/>
                  </a:cubicBezTo>
                  <a:close/>
                  <a:moveTo>
                    <a:pt x="769" y="139"/>
                  </a:moveTo>
                  <a:cubicBezTo>
                    <a:pt x="769" y="138"/>
                    <a:pt x="768" y="137"/>
                    <a:pt x="767" y="137"/>
                  </a:cubicBezTo>
                  <a:cubicBezTo>
                    <a:pt x="756" y="135"/>
                    <a:pt x="746" y="136"/>
                    <a:pt x="738" y="144"/>
                  </a:cubicBezTo>
                  <a:cubicBezTo>
                    <a:pt x="733" y="149"/>
                    <a:pt x="730" y="154"/>
                    <a:pt x="728" y="159"/>
                  </a:cubicBezTo>
                  <a:cubicBezTo>
                    <a:pt x="728" y="160"/>
                    <a:pt x="728" y="161"/>
                    <a:pt x="727" y="162"/>
                  </a:cubicBezTo>
                  <a:cubicBezTo>
                    <a:pt x="727" y="155"/>
                    <a:pt x="727" y="148"/>
                    <a:pt x="727" y="142"/>
                  </a:cubicBezTo>
                  <a:cubicBezTo>
                    <a:pt x="727" y="138"/>
                    <a:pt x="727" y="138"/>
                    <a:pt x="723" y="138"/>
                  </a:cubicBezTo>
                  <a:cubicBezTo>
                    <a:pt x="719" y="138"/>
                    <a:pt x="715" y="138"/>
                    <a:pt x="711" y="138"/>
                  </a:cubicBezTo>
                  <a:cubicBezTo>
                    <a:pt x="707" y="138"/>
                    <a:pt x="708" y="138"/>
                    <a:pt x="708" y="142"/>
                  </a:cubicBezTo>
                  <a:cubicBezTo>
                    <a:pt x="708" y="179"/>
                    <a:pt x="708" y="215"/>
                    <a:pt x="708" y="252"/>
                  </a:cubicBezTo>
                  <a:cubicBezTo>
                    <a:pt x="708" y="252"/>
                    <a:pt x="708" y="253"/>
                    <a:pt x="708" y="253"/>
                  </a:cubicBezTo>
                  <a:cubicBezTo>
                    <a:pt x="708" y="256"/>
                    <a:pt x="708" y="256"/>
                    <a:pt x="710" y="256"/>
                  </a:cubicBezTo>
                  <a:cubicBezTo>
                    <a:pt x="713" y="256"/>
                    <a:pt x="717" y="256"/>
                    <a:pt x="720" y="256"/>
                  </a:cubicBezTo>
                  <a:cubicBezTo>
                    <a:pt x="722" y="256"/>
                    <a:pt x="723" y="256"/>
                    <a:pt x="725" y="256"/>
                  </a:cubicBezTo>
                  <a:cubicBezTo>
                    <a:pt x="726" y="256"/>
                    <a:pt x="727" y="255"/>
                    <a:pt x="727" y="254"/>
                  </a:cubicBezTo>
                  <a:cubicBezTo>
                    <a:pt x="726" y="253"/>
                    <a:pt x="727" y="252"/>
                    <a:pt x="727" y="252"/>
                  </a:cubicBezTo>
                  <a:cubicBezTo>
                    <a:pt x="727" y="233"/>
                    <a:pt x="727" y="214"/>
                    <a:pt x="727" y="195"/>
                  </a:cubicBezTo>
                  <a:cubicBezTo>
                    <a:pt x="727" y="191"/>
                    <a:pt x="727" y="186"/>
                    <a:pt x="728" y="182"/>
                  </a:cubicBezTo>
                  <a:cubicBezTo>
                    <a:pt x="729" y="174"/>
                    <a:pt x="732" y="167"/>
                    <a:pt x="737" y="162"/>
                  </a:cubicBezTo>
                  <a:cubicBezTo>
                    <a:pt x="741" y="157"/>
                    <a:pt x="747" y="154"/>
                    <a:pt x="753" y="154"/>
                  </a:cubicBezTo>
                  <a:cubicBezTo>
                    <a:pt x="758" y="153"/>
                    <a:pt x="764" y="154"/>
                    <a:pt x="769" y="157"/>
                  </a:cubicBezTo>
                  <a:cubicBezTo>
                    <a:pt x="769" y="151"/>
                    <a:pt x="769" y="145"/>
                    <a:pt x="769" y="139"/>
                  </a:cubicBezTo>
                  <a:close/>
                  <a:moveTo>
                    <a:pt x="576" y="158"/>
                  </a:moveTo>
                  <a:cubicBezTo>
                    <a:pt x="576" y="152"/>
                    <a:pt x="576" y="146"/>
                    <a:pt x="576" y="141"/>
                  </a:cubicBezTo>
                  <a:cubicBezTo>
                    <a:pt x="576" y="138"/>
                    <a:pt x="576" y="138"/>
                    <a:pt x="573" y="138"/>
                  </a:cubicBezTo>
                  <a:cubicBezTo>
                    <a:pt x="569" y="138"/>
                    <a:pt x="565" y="138"/>
                    <a:pt x="560" y="138"/>
                  </a:cubicBezTo>
                  <a:cubicBezTo>
                    <a:pt x="557" y="138"/>
                    <a:pt x="557" y="138"/>
                    <a:pt x="557" y="141"/>
                  </a:cubicBezTo>
                  <a:cubicBezTo>
                    <a:pt x="557" y="141"/>
                    <a:pt x="557" y="141"/>
                    <a:pt x="557" y="142"/>
                  </a:cubicBezTo>
                  <a:cubicBezTo>
                    <a:pt x="557" y="179"/>
                    <a:pt x="557" y="215"/>
                    <a:pt x="557" y="252"/>
                  </a:cubicBezTo>
                  <a:cubicBezTo>
                    <a:pt x="557" y="253"/>
                    <a:pt x="557" y="254"/>
                    <a:pt x="557" y="254"/>
                  </a:cubicBezTo>
                  <a:cubicBezTo>
                    <a:pt x="557" y="255"/>
                    <a:pt x="558" y="256"/>
                    <a:pt x="559" y="256"/>
                  </a:cubicBezTo>
                  <a:cubicBezTo>
                    <a:pt x="564" y="256"/>
                    <a:pt x="569" y="256"/>
                    <a:pt x="575" y="256"/>
                  </a:cubicBezTo>
                  <a:cubicBezTo>
                    <a:pt x="576" y="256"/>
                    <a:pt x="576" y="255"/>
                    <a:pt x="576" y="254"/>
                  </a:cubicBezTo>
                  <a:cubicBezTo>
                    <a:pt x="576" y="254"/>
                    <a:pt x="576" y="253"/>
                    <a:pt x="576" y="252"/>
                  </a:cubicBezTo>
                  <a:cubicBezTo>
                    <a:pt x="576" y="234"/>
                    <a:pt x="576" y="216"/>
                    <a:pt x="576" y="197"/>
                  </a:cubicBezTo>
                  <a:cubicBezTo>
                    <a:pt x="576" y="184"/>
                    <a:pt x="576" y="171"/>
                    <a:pt x="576" y="158"/>
                  </a:cubicBezTo>
                  <a:close/>
                  <a:moveTo>
                    <a:pt x="2013" y="256"/>
                  </a:moveTo>
                  <a:cubicBezTo>
                    <a:pt x="2017" y="256"/>
                    <a:pt x="2017" y="256"/>
                    <a:pt x="2017" y="252"/>
                  </a:cubicBezTo>
                  <a:cubicBezTo>
                    <a:pt x="2017" y="215"/>
                    <a:pt x="2017" y="179"/>
                    <a:pt x="2017" y="142"/>
                  </a:cubicBezTo>
                  <a:cubicBezTo>
                    <a:pt x="2017" y="141"/>
                    <a:pt x="2017" y="141"/>
                    <a:pt x="2017" y="140"/>
                  </a:cubicBezTo>
                  <a:cubicBezTo>
                    <a:pt x="2017" y="139"/>
                    <a:pt x="2016" y="138"/>
                    <a:pt x="2015" y="138"/>
                  </a:cubicBezTo>
                  <a:cubicBezTo>
                    <a:pt x="2010" y="138"/>
                    <a:pt x="2006" y="138"/>
                    <a:pt x="2002" y="138"/>
                  </a:cubicBezTo>
                  <a:cubicBezTo>
                    <a:pt x="1997" y="138"/>
                    <a:pt x="1998" y="137"/>
                    <a:pt x="1998" y="142"/>
                  </a:cubicBezTo>
                  <a:cubicBezTo>
                    <a:pt x="1998" y="179"/>
                    <a:pt x="1998" y="215"/>
                    <a:pt x="1998" y="252"/>
                  </a:cubicBezTo>
                  <a:cubicBezTo>
                    <a:pt x="1998" y="253"/>
                    <a:pt x="1998" y="254"/>
                    <a:pt x="1998" y="256"/>
                  </a:cubicBezTo>
                  <a:cubicBezTo>
                    <a:pt x="2003" y="256"/>
                    <a:pt x="2008" y="256"/>
                    <a:pt x="2013" y="256"/>
                  </a:cubicBezTo>
                  <a:close/>
                  <a:moveTo>
                    <a:pt x="1995" y="100"/>
                  </a:moveTo>
                  <a:cubicBezTo>
                    <a:pt x="1995" y="107"/>
                    <a:pt x="2000" y="112"/>
                    <a:pt x="2008" y="112"/>
                  </a:cubicBezTo>
                  <a:cubicBezTo>
                    <a:pt x="2015" y="112"/>
                    <a:pt x="2020" y="107"/>
                    <a:pt x="2020" y="100"/>
                  </a:cubicBezTo>
                  <a:cubicBezTo>
                    <a:pt x="2020" y="93"/>
                    <a:pt x="2015" y="87"/>
                    <a:pt x="2008" y="87"/>
                  </a:cubicBezTo>
                  <a:cubicBezTo>
                    <a:pt x="2001" y="87"/>
                    <a:pt x="1995" y="93"/>
                    <a:pt x="1995" y="100"/>
                  </a:cubicBezTo>
                  <a:close/>
                  <a:moveTo>
                    <a:pt x="555" y="100"/>
                  </a:moveTo>
                  <a:cubicBezTo>
                    <a:pt x="555" y="107"/>
                    <a:pt x="560" y="112"/>
                    <a:pt x="567" y="112"/>
                  </a:cubicBezTo>
                  <a:cubicBezTo>
                    <a:pt x="574" y="112"/>
                    <a:pt x="580" y="107"/>
                    <a:pt x="580" y="100"/>
                  </a:cubicBezTo>
                  <a:cubicBezTo>
                    <a:pt x="580" y="93"/>
                    <a:pt x="574" y="87"/>
                    <a:pt x="567" y="87"/>
                  </a:cubicBezTo>
                  <a:cubicBezTo>
                    <a:pt x="560" y="87"/>
                    <a:pt x="555" y="93"/>
                    <a:pt x="555" y="100"/>
                  </a:cubicBezTo>
                  <a:close/>
                  <a:moveTo>
                    <a:pt x="12" y="250"/>
                  </a:moveTo>
                  <a:cubicBezTo>
                    <a:pt x="12" y="250"/>
                    <a:pt x="12" y="250"/>
                    <a:pt x="12" y="250"/>
                  </a:cubicBezTo>
                  <a:cubicBezTo>
                    <a:pt x="16" y="249"/>
                    <a:pt x="19" y="248"/>
                    <a:pt x="22" y="246"/>
                  </a:cubicBezTo>
                  <a:cubicBezTo>
                    <a:pt x="22" y="246"/>
                    <a:pt x="21" y="246"/>
                    <a:pt x="21" y="245"/>
                  </a:cubicBezTo>
                  <a:cubicBezTo>
                    <a:pt x="18" y="246"/>
                    <a:pt x="15" y="248"/>
                    <a:pt x="12" y="250"/>
                  </a:cubicBezTo>
                  <a:cubicBezTo>
                    <a:pt x="12" y="250"/>
                    <a:pt x="12" y="250"/>
                    <a:pt x="12" y="250"/>
                  </a:cubicBezTo>
                  <a:close/>
                  <a:moveTo>
                    <a:pt x="22" y="240"/>
                  </a:moveTo>
                  <a:cubicBezTo>
                    <a:pt x="21" y="241"/>
                    <a:pt x="21" y="241"/>
                    <a:pt x="20" y="242"/>
                  </a:cubicBezTo>
                  <a:cubicBezTo>
                    <a:pt x="20" y="242"/>
                    <a:pt x="20" y="242"/>
                    <a:pt x="21" y="242"/>
                  </a:cubicBezTo>
                  <a:cubicBezTo>
                    <a:pt x="22" y="242"/>
                    <a:pt x="22" y="242"/>
                    <a:pt x="23" y="241"/>
                  </a:cubicBezTo>
                  <a:cubicBezTo>
                    <a:pt x="22" y="241"/>
                    <a:pt x="22" y="241"/>
                    <a:pt x="22" y="240"/>
                  </a:cubicBezTo>
                  <a:close/>
                  <a:moveTo>
                    <a:pt x="6" y="253"/>
                  </a:moveTo>
                  <a:cubicBezTo>
                    <a:pt x="6" y="253"/>
                    <a:pt x="6" y="253"/>
                    <a:pt x="6" y="253"/>
                  </a:cubicBezTo>
                  <a:cubicBezTo>
                    <a:pt x="6" y="253"/>
                    <a:pt x="6" y="253"/>
                    <a:pt x="6" y="253"/>
                  </a:cubicBezTo>
                  <a:cubicBezTo>
                    <a:pt x="6" y="252"/>
                    <a:pt x="6" y="252"/>
                    <a:pt x="6" y="252"/>
                  </a:cubicBezTo>
                  <a:cubicBezTo>
                    <a:pt x="6" y="252"/>
                    <a:pt x="5" y="252"/>
                    <a:pt x="5" y="252"/>
                  </a:cubicBezTo>
                  <a:cubicBezTo>
                    <a:pt x="4" y="253"/>
                    <a:pt x="3" y="254"/>
                    <a:pt x="2" y="255"/>
                  </a:cubicBezTo>
                  <a:cubicBezTo>
                    <a:pt x="3" y="255"/>
                    <a:pt x="4" y="255"/>
                    <a:pt x="5" y="254"/>
                  </a:cubicBezTo>
                  <a:cubicBezTo>
                    <a:pt x="5" y="253"/>
                    <a:pt x="6" y="253"/>
                    <a:pt x="6" y="253"/>
                  </a:cubicBezTo>
                  <a:close/>
                  <a:moveTo>
                    <a:pt x="17" y="243"/>
                  </a:moveTo>
                  <a:cubicBezTo>
                    <a:pt x="16" y="244"/>
                    <a:pt x="15" y="245"/>
                    <a:pt x="14" y="246"/>
                  </a:cubicBezTo>
                  <a:cubicBezTo>
                    <a:pt x="14" y="246"/>
                    <a:pt x="14" y="246"/>
                    <a:pt x="14" y="246"/>
                  </a:cubicBezTo>
                  <a:cubicBezTo>
                    <a:pt x="14" y="246"/>
                    <a:pt x="14" y="246"/>
                    <a:pt x="14" y="246"/>
                  </a:cubicBezTo>
                  <a:cubicBezTo>
                    <a:pt x="15" y="246"/>
                    <a:pt x="17" y="245"/>
                    <a:pt x="18" y="244"/>
                  </a:cubicBezTo>
                  <a:cubicBezTo>
                    <a:pt x="18" y="244"/>
                    <a:pt x="17" y="244"/>
                    <a:pt x="17" y="243"/>
                  </a:cubicBezTo>
                  <a:close/>
                  <a:moveTo>
                    <a:pt x="20" y="243"/>
                  </a:moveTo>
                  <a:cubicBezTo>
                    <a:pt x="20" y="243"/>
                    <a:pt x="21" y="242"/>
                    <a:pt x="21" y="242"/>
                  </a:cubicBezTo>
                  <a:cubicBezTo>
                    <a:pt x="21" y="242"/>
                    <a:pt x="21" y="242"/>
                    <a:pt x="21" y="242"/>
                  </a:cubicBezTo>
                  <a:cubicBezTo>
                    <a:pt x="21" y="242"/>
                    <a:pt x="20" y="242"/>
                    <a:pt x="20" y="242"/>
                  </a:cubicBezTo>
                  <a:cubicBezTo>
                    <a:pt x="19" y="242"/>
                    <a:pt x="18" y="243"/>
                    <a:pt x="17" y="243"/>
                  </a:cubicBezTo>
                  <a:cubicBezTo>
                    <a:pt x="17" y="244"/>
                    <a:pt x="18" y="244"/>
                    <a:pt x="18" y="244"/>
                  </a:cubicBezTo>
                  <a:cubicBezTo>
                    <a:pt x="19" y="244"/>
                    <a:pt x="19" y="243"/>
                    <a:pt x="20" y="243"/>
                  </a:cubicBezTo>
                  <a:close/>
                  <a:moveTo>
                    <a:pt x="10" y="249"/>
                  </a:moveTo>
                  <a:cubicBezTo>
                    <a:pt x="10" y="249"/>
                    <a:pt x="10" y="249"/>
                    <a:pt x="10" y="248"/>
                  </a:cubicBezTo>
                  <a:cubicBezTo>
                    <a:pt x="9" y="249"/>
                    <a:pt x="8" y="249"/>
                    <a:pt x="8" y="250"/>
                  </a:cubicBezTo>
                  <a:cubicBezTo>
                    <a:pt x="9" y="250"/>
                    <a:pt x="9" y="250"/>
                    <a:pt x="10" y="249"/>
                  </a:cubicBezTo>
                  <a:cubicBezTo>
                    <a:pt x="10" y="249"/>
                    <a:pt x="10" y="249"/>
                    <a:pt x="10" y="249"/>
                  </a:cubicBezTo>
                  <a:close/>
                  <a:moveTo>
                    <a:pt x="7" y="250"/>
                  </a:moveTo>
                  <a:cubicBezTo>
                    <a:pt x="7" y="251"/>
                    <a:pt x="6" y="251"/>
                    <a:pt x="6" y="252"/>
                  </a:cubicBezTo>
                  <a:cubicBezTo>
                    <a:pt x="6" y="252"/>
                    <a:pt x="6" y="252"/>
                    <a:pt x="6" y="252"/>
                  </a:cubicBezTo>
                  <a:cubicBezTo>
                    <a:pt x="6" y="252"/>
                    <a:pt x="6" y="252"/>
                    <a:pt x="6" y="252"/>
                  </a:cubicBezTo>
                  <a:cubicBezTo>
                    <a:pt x="7" y="252"/>
                    <a:pt x="7" y="252"/>
                    <a:pt x="7" y="252"/>
                  </a:cubicBezTo>
                  <a:cubicBezTo>
                    <a:pt x="7" y="252"/>
                    <a:pt x="7" y="251"/>
                    <a:pt x="7" y="251"/>
                  </a:cubicBezTo>
                  <a:cubicBezTo>
                    <a:pt x="8" y="251"/>
                    <a:pt x="8" y="250"/>
                    <a:pt x="7" y="250"/>
                  </a:cubicBezTo>
                  <a:close/>
                  <a:moveTo>
                    <a:pt x="14" y="246"/>
                  </a:moveTo>
                  <a:cubicBezTo>
                    <a:pt x="14" y="246"/>
                    <a:pt x="14" y="246"/>
                    <a:pt x="13" y="246"/>
                  </a:cubicBezTo>
                  <a:cubicBezTo>
                    <a:pt x="13" y="246"/>
                    <a:pt x="12" y="246"/>
                    <a:pt x="12" y="247"/>
                  </a:cubicBezTo>
                  <a:cubicBezTo>
                    <a:pt x="12" y="247"/>
                    <a:pt x="12" y="247"/>
                    <a:pt x="12" y="247"/>
                  </a:cubicBezTo>
                  <a:cubicBezTo>
                    <a:pt x="12" y="247"/>
                    <a:pt x="12" y="247"/>
                    <a:pt x="12" y="248"/>
                  </a:cubicBezTo>
                  <a:cubicBezTo>
                    <a:pt x="13" y="247"/>
                    <a:pt x="13" y="247"/>
                    <a:pt x="13" y="247"/>
                  </a:cubicBezTo>
                  <a:cubicBezTo>
                    <a:pt x="14" y="247"/>
                    <a:pt x="14" y="247"/>
                    <a:pt x="14" y="246"/>
                  </a:cubicBezTo>
                  <a:close/>
                  <a:moveTo>
                    <a:pt x="12" y="247"/>
                  </a:moveTo>
                  <a:cubicBezTo>
                    <a:pt x="11" y="247"/>
                    <a:pt x="11" y="248"/>
                    <a:pt x="10" y="248"/>
                  </a:cubicBezTo>
                  <a:cubicBezTo>
                    <a:pt x="10" y="248"/>
                    <a:pt x="10" y="248"/>
                    <a:pt x="10" y="248"/>
                  </a:cubicBezTo>
                  <a:cubicBezTo>
                    <a:pt x="10" y="249"/>
                    <a:pt x="10" y="249"/>
                    <a:pt x="10" y="249"/>
                  </a:cubicBezTo>
                  <a:cubicBezTo>
                    <a:pt x="11" y="249"/>
                    <a:pt x="11" y="248"/>
                    <a:pt x="12" y="248"/>
                  </a:cubicBezTo>
                  <a:cubicBezTo>
                    <a:pt x="12" y="248"/>
                    <a:pt x="12" y="247"/>
                    <a:pt x="12" y="247"/>
                  </a:cubicBezTo>
                  <a:close/>
                  <a:moveTo>
                    <a:pt x="10" y="251"/>
                  </a:moveTo>
                  <a:cubicBezTo>
                    <a:pt x="10" y="251"/>
                    <a:pt x="11" y="251"/>
                    <a:pt x="11" y="251"/>
                  </a:cubicBezTo>
                  <a:cubicBezTo>
                    <a:pt x="12" y="251"/>
                    <a:pt x="12" y="251"/>
                    <a:pt x="12" y="250"/>
                  </a:cubicBezTo>
                  <a:cubicBezTo>
                    <a:pt x="12" y="250"/>
                    <a:pt x="12" y="250"/>
                    <a:pt x="12" y="250"/>
                  </a:cubicBezTo>
                  <a:cubicBezTo>
                    <a:pt x="11" y="250"/>
                    <a:pt x="11" y="250"/>
                    <a:pt x="10" y="251"/>
                  </a:cubicBezTo>
                  <a:close/>
                  <a:moveTo>
                    <a:pt x="9" y="251"/>
                  </a:moveTo>
                  <a:cubicBezTo>
                    <a:pt x="9" y="251"/>
                    <a:pt x="9" y="251"/>
                    <a:pt x="9" y="251"/>
                  </a:cubicBezTo>
                  <a:cubicBezTo>
                    <a:pt x="9" y="252"/>
                    <a:pt x="9" y="252"/>
                    <a:pt x="9" y="252"/>
                  </a:cubicBezTo>
                  <a:cubicBezTo>
                    <a:pt x="10" y="252"/>
                    <a:pt x="11" y="251"/>
                    <a:pt x="11" y="251"/>
                  </a:cubicBezTo>
                  <a:cubicBezTo>
                    <a:pt x="11" y="251"/>
                    <a:pt x="10" y="251"/>
                    <a:pt x="10" y="251"/>
                  </a:cubicBezTo>
                  <a:cubicBezTo>
                    <a:pt x="10" y="251"/>
                    <a:pt x="9" y="251"/>
                    <a:pt x="9" y="251"/>
                  </a:cubicBezTo>
                  <a:close/>
                  <a:moveTo>
                    <a:pt x="7" y="252"/>
                  </a:moveTo>
                  <a:cubicBezTo>
                    <a:pt x="7" y="252"/>
                    <a:pt x="7" y="253"/>
                    <a:pt x="7" y="253"/>
                  </a:cubicBezTo>
                  <a:cubicBezTo>
                    <a:pt x="8" y="253"/>
                    <a:pt x="8" y="252"/>
                    <a:pt x="9" y="252"/>
                  </a:cubicBezTo>
                  <a:cubicBezTo>
                    <a:pt x="9" y="252"/>
                    <a:pt x="9" y="252"/>
                    <a:pt x="9" y="252"/>
                  </a:cubicBezTo>
                  <a:cubicBezTo>
                    <a:pt x="9" y="252"/>
                    <a:pt x="9" y="252"/>
                    <a:pt x="9" y="251"/>
                  </a:cubicBezTo>
                  <a:cubicBezTo>
                    <a:pt x="8" y="252"/>
                    <a:pt x="8" y="252"/>
                    <a:pt x="7" y="252"/>
                  </a:cubicBezTo>
                  <a:cubicBezTo>
                    <a:pt x="7" y="252"/>
                    <a:pt x="7" y="252"/>
                    <a:pt x="7" y="252"/>
                  </a:cubicBezTo>
                  <a:close/>
                  <a:moveTo>
                    <a:pt x="7" y="252"/>
                  </a:moveTo>
                  <a:cubicBezTo>
                    <a:pt x="7" y="252"/>
                    <a:pt x="7" y="252"/>
                    <a:pt x="7" y="252"/>
                  </a:cubicBezTo>
                  <a:cubicBezTo>
                    <a:pt x="7" y="252"/>
                    <a:pt x="6" y="252"/>
                    <a:pt x="6" y="253"/>
                  </a:cubicBezTo>
                  <a:cubicBezTo>
                    <a:pt x="6" y="253"/>
                    <a:pt x="6" y="253"/>
                    <a:pt x="6" y="253"/>
                  </a:cubicBezTo>
                  <a:cubicBezTo>
                    <a:pt x="7" y="253"/>
                    <a:pt x="7" y="253"/>
                    <a:pt x="7" y="253"/>
                  </a:cubicBezTo>
                  <a:cubicBezTo>
                    <a:pt x="7" y="252"/>
                    <a:pt x="7" y="252"/>
                    <a:pt x="7" y="252"/>
                  </a:cubicBezTo>
                  <a:cubicBezTo>
                    <a:pt x="7" y="252"/>
                    <a:pt x="7" y="252"/>
                    <a:pt x="7" y="252"/>
                  </a:cubicBezTo>
                  <a:close/>
                  <a:moveTo>
                    <a:pt x="6" y="253"/>
                  </a:moveTo>
                  <a:cubicBezTo>
                    <a:pt x="6" y="253"/>
                    <a:pt x="5" y="253"/>
                    <a:pt x="5" y="254"/>
                  </a:cubicBezTo>
                  <a:cubicBezTo>
                    <a:pt x="5" y="254"/>
                    <a:pt x="6" y="254"/>
                    <a:pt x="6" y="253"/>
                  </a:cubicBezTo>
                  <a:close/>
                  <a:moveTo>
                    <a:pt x="14" y="246"/>
                  </a:moveTo>
                  <a:cubicBezTo>
                    <a:pt x="14" y="246"/>
                    <a:pt x="14" y="246"/>
                    <a:pt x="14" y="246"/>
                  </a:cubicBezTo>
                  <a:cubicBezTo>
                    <a:pt x="14" y="246"/>
                    <a:pt x="14" y="246"/>
                    <a:pt x="13" y="246"/>
                  </a:cubicBezTo>
                  <a:cubicBezTo>
                    <a:pt x="13" y="246"/>
                    <a:pt x="13" y="246"/>
                    <a:pt x="13" y="247"/>
                  </a:cubicBezTo>
                  <a:cubicBezTo>
                    <a:pt x="14" y="247"/>
                    <a:pt x="14" y="246"/>
                    <a:pt x="14" y="246"/>
                  </a:cubicBezTo>
                  <a:close/>
                  <a:moveTo>
                    <a:pt x="12" y="248"/>
                  </a:moveTo>
                  <a:cubicBezTo>
                    <a:pt x="12" y="247"/>
                    <a:pt x="12" y="247"/>
                    <a:pt x="12" y="247"/>
                  </a:cubicBezTo>
                  <a:cubicBezTo>
                    <a:pt x="12" y="247"/>
                    <a:pt x="12" y="247"/>
                    <a:pt x="12" y="247"/>
                  </a:cubicBezTo>
                  <a:cubicBezTo>
                    <a:pt x="12" y="247"/>
                    <a:pt x="12" y="248"/>
                    <a:pt x="12" y="248"/>
                  </a:cubicBezTo>
                  <a:cubicBezTo>
                    <a:pt x="12" y="248"/>
                    <a:pt x="12" y="248"/>
                    <a:pt x="12" y="248"/>
                  </a:cubicBezTo>
                  <a:close/>
                  <a:moveTo>
                    <a:pt x="10" y="248"/>
                  </a:moveTo>
                  <a:cubicBezTo>
                    <a:pt x="10" y="249"/>
                    <a:pt x="10" y="249"/>
                    <a:pt x="10" y="249"/>
                  </a:cubicBezTo>
                  <a:cubicBezTo>
                    <a:pt x="10" y="249"/>
                    <a:pt x="10" y="249"/>
                    <a:pt x="10" y="249"/>
                  </a:cubicBezTo>
                  <a:cubicBezTo>
                    <a:pt x="10" y="249"/>
                    <a:pt x="10" y="248"/>
                    <a:pt x="10" y="248"/>
                  </a:cubicBezTo>
                  <a:cubicBezTo>
                    <a:pt x="10" y="248"/>
                    <a:pt x="10" y="248"/>
                    <a:pt x="10" y="248"/>
                  </a:cubicBezTo>
                  <a:close/>
                  <a:moveTo>
                    <a:pt x="8" y="250"/>
                  </a:moveTo>
                  <a:cubicBezTo>
                    <a:pt x="8" y="250"/>
                    <a:pt x="8" y="250"/>
                    <a:pt x="7" y="250"/>
                  </a:cubicBezTo>
                  <a:cubicBezTo>
                    <a:pt x="7" y="250"/>
                    <a:pt x="7" y="251"/>
                    <a:pt x="7" y="251"/>
                  </a:cubicBezTo>
                  <a:cubicBezTo>
                    <a:pt x="8" y="251"/>
                    <a:pt x="8" y="251"/>
                    <a:pt x="8" y="250"/>
                  </a:cubicBezTo>
                  <a:close/>
                  <a:moveTo>
                    <a:pt x="9" y="252"/>
                  </a:moveTo>
                  <a:cubicBezTo>
                    <a:pt x="9" y="252"/>
                    <a:pt x="9" y="251"/>
                    <a:pt x="9" y="251"/>
                  </a:cubicBezTo>
                  <a:cubicBezTo>
                    <a:pt x="9" y="251"/>
                    <a:pt x="9" y="251"/>
                    <a:pt x="9" y="251"/>
                  </a:cubicBezTo>
                  <a:cubicBezTo>
                    <a:pt x="9" y="252"/>
                    <a:pt x="9" y="252"/>
                    <a:pt x="9" y="252"/>
                  </a:cubicBezTo>
                  <a:cubicBezTo>
                    <a:pt x="9" y="252"/>
                    <a:pt x="9" y="252"/>
                    <a:pt x="9" y="252"/>
                  </a:cubicBezTo>
                  <a:close/>
                  <a:moveTo>
                    <a:pt x="6" y="252"/>
                  </a:moveTo>
                  <a:cubicBezTo>
                    <a:pt x="6" y="252"/>
                    <a:pt x="6" y="252"/>
                    <a:pt x="6" y="252"/>
                  </a:cubicBezTo>
                  <a:cubicBezTo>
                    <a:pt x="6" y="252"/>
                    <a:pt x="6" y="252"/>
                    <a:pt x="6" y="252"/>
                  </a:cubicBezTo>
                  <a:cubicBezTo>
                    <a:pt x="5" y="252"/>
                    <a:pt x="5" y="252"/>
                    <a:pt x="5" y="252"/>
                  </a:cubicBezTo>
                  <a:cubicBezTo>
                    <a:pt x="5" y="252"/>
                    <a:pt x="5" y="252"/>
                    <a:pt x="5" y="253"/>
                  </a:cubicBezTo>
                  <a:cubicBezTo>
                    <a:pt x="6" y="253"/>
                    <a:pt x="6" y="252"/>
                    <a:pt x="6" y="252"/>
                  </a:cubicBezTo>
                  <a:close/>
                  <a:moveTo>
                    <a:pt x="21" y="242"/>
                  </a:moveTo>
                  <a:cubicBezTo>
                    <a:pt x="21" y="242"/>
                    <a:pt x="20" y="243"/>
                    <a:pt x="20" y="243"/>
                  </a:cubicBezTo>
                  <a:cubicBezTo>
                    <a:pt x="20" y="243"/>
                    <a:pt x="21" y="243"/>
                    <a:pt x="21" y="242"/>
                  </a:cubicBezTo>
                  <a:close/>
                  <a:moveTo>
                    <a:pt x="6" y="253"/>
                  </a:moveTo>
                  <a:cubicBezTo>
                    <a:pt x="6" y="252"/>
                    <a:pt x="7" y="252"/>
                    <a:pt x="7" y="252"/>
                  </a:cubicBezTo>
                  <a:cubicBezTo>
                    <a:pt x="6" y="252"/>
                    <a:pt x="6" y="252"/>
                    <a:pt x="6" y="252"/>
                  </a:cubicBezTo>
                  <a:cubicBezTo>
                    <a:pt x="6" y="252"/>
                    <a:pt x="5" y="252"/>
                    <a:pt x="5" y="253"/>
                  </a:cubicBezTo>
                  <a:cubicBezTo>
                    <a:pt x="6" y="253"/>
                    <a:pt x="6" y="253"/>
                    <a:pt x="6" y="253"/>
                  </a:cubicBezTo>
                  <a:close/>
                  <a:moveTo>
                    <a:pt x="1433" y="197"/>
                  </a:moveTo>
                  <a:cubicBezTo>
                    <a:pt x="1425" y="224"/>
                    <a:pt x="1408" y="241"/>
                    <a:pt x="1383" y="250"/>
                  </a:cubicBezTo>
                  <a:cubicBezTo>
                    <a:pt x="1372" y="254"/>
                    <a:pt x="1361" y="256"/>
                    <a:pt x="1350" y="256"/>
                  </a:cubicBezTo>
                  <a:cubicBezTo>
                    <a:pt x="1335" y="256"/>
                    <a:pt x="1321" y="256"/>
                    <a:pt x="1307" y="256"/>
                  </a:cubicBezTo>
                  <a:cubicBezTo>
                    <a:pt x="1306" y="256"/>
                    <a:pt x="1306" y="256"/>
                    <a:pt x="1305" y="256"/>
                  </a:cubicBezTo>
                  <a:cubicBezTo>
                    <a:pt x="1304" y="256"/>
                    <a:pt x="1304" y="255"/>
                    <a:pt x="1304" y="254"/>
                  </a:cubicBezTo>
                  <a:cubicBezTo>
                    <a:pt x="1304" y="253"/>
                    <a:pt x="1304" y="253"/>
                    <a:pt x="1304" y="252"/>
                  </a:cubicBezTo>
                  <a:cubicBezTo>
                    <a:pt x="1304" y="226"/>
                    <a:pt x="1304" y="199"/>
                    <a:pt x="1304" y="173"/>
                  </a:cubicBezTo>
                  <a:cubicBezTo>
                    <a:pt x="1304" y="147"/>
                    <a:pt x="1304" y="122"/>
                    <a:pt x="1304" y="96"/>
                  </a:cubicBezTo>
                  <a:cubicBezTo>
                    <a:pt x="1304" y="95"/>
                    <a:pt x="1304" y="94"/>
                    <a:pt x="1304" y="94"/>
                  </a:cubicBezTo>
                  <a:cubicBezTo>
                    <a:pt x="1304" y="91"/>
                    <a:pt x="1304" y="91"/>
                    <a:pt x="1307" y="91"/>
                  </a:cubicBezTo>
                  <a:cubicBezTo>
                    <a:pt x="1322" y="91"/>
                    <a:pt x="1338" y="91"/>
                    <a:pt x="1353" y="91"/>
                  </a:cubicBezTo>
                  <a:cubicBezTo>
                    <a:pt x="1366" y="92"/>
                    <a:pt x="1378" y="93"/>
                    <a:pt x="1390" y="97"/>
                  </a:cubicBezTo>
                  <a:cubicBezTo>
                    <a:pt x="1412" y="105"/>
                    <a:pt x="1426" y="120"/>
                    <a:pt x="1432" y="142"/>
                  </a:cubicBezTo>
                  <a:cubicBezTo>
                    <a:pt x="1437" y="160"/>
                    <a:pt x="1438" y="179"/>
                    <a:pt x="1433" y="197"/>
                  </a:cubicBezTo>
                  <a:close/>
                  <a:moveTo>
                    <a:pt x="1412" y="147"/>
                  </a:moveTo>
                  <a:cubicBezTo>
                    <a:pt x="1408" y="131"/>
                    <a:pt x="1397" y="120"/>
                    <a:pt x="1381" y="114"/>
                  </a:cubicBezTo>
                  <a:cubicBezTo>
                    <a:pt x="1372" y="110"/>
                    <a:pt x="1363" y="109"/>
                    <a:pt x="1353" y="109"/>
                  </a:cubicBezTo>
                  <a:cubicBezTo>
                    <a:pt x="1344" y="109"/>
                    <a:pt x="1335" y="109"/>
                    <a:pt x="1326" y="109"/>
                  </a:cubicBezTo>
                  <a:cubicBezTo>
                    <a:pt x="1325" y="109"/>
                    <a:pt x="1325" y="109"/>
                    <a:pt x="1325" y="109"/>
                  </a:cubicBezTo>
                  <a:cubicBezTo>
                    <a:pt x="1324" y="109"/>
                    <a:pt x="1323" y="109"/>
                    <a:pt x="1323" y="110"/>
                  </a:cubicBezTo>
                  <a:cubicBezTo>
                    <a:pt x="1323" y="111"/>
                    <a:pt x="1323" y="112"/>
                    <a:pt x="1323" y="112"/>
                  </a:cubicBezTo>
                  <a:cubicBezTo>
                    <a:pt x="1323" y="133"/>
                    <a:pt x="1323" y="153"/>
                    <a:pt x="1323" y="173"/>
                  </a:cubicBezTo>
                  <a:cubicBezTo>
                    <a:pt x="1323" y="194"/>
                    <a:pt x="1323" y="215"/>
                    <a:pt x="1323" y="235"/>
                  </a:cubicBezTo>
                  <a:cubicBezTo>
                    <a:pt x="1323" y="238"/>
                    <a:pt x="1323" y="238"/>
                    <a:pt x="1326" y="238"/>
                  </a:cubicBezTo>
                  <a:cubicBezTo>
                    <a:pt x="1333" y="238"/>
                    <a:pt x="1339" y="238"/>
                    <a:pt x="1346" y="238"/>
                  </a:cubicBezTo>
                  <a:cubicBezTo>
                    <a:pt x="1354" y="238"/>
                    <a:pt x="1363" y="238"/>
                    <a:pt x="1371" y="236"/>
                  </a:cubicBezTo>
                  <a:cubicBezTo>
                    <a:pt x="1391" y="230"/>
                    <a:pt x="1406" y="218"/>
                    <a:pt x="1412" y="198"/>
                  </a:cubicBezTo>
                  <a:cubicBezTo>
                    <a:pt x="1417" y="181"/>
                    <a:pt x="1417" y="164"/>
                    <a:pt x="1412" y="147"/>
                  </a:cubicBezTo>
                  <a:close/>
                  <a:moveTo>
                    <a:pt x="1772" y="256"/>
                  </a:moveTo>
                  <a:cubicBezTo>
                    <a:pt x="1769" y="256"/>
                    <a:pt x="1765" y="256"/>
                    <a:pt x="1762" y="256"/>
                  </a:cubicBezTo>
                  <a:cubicBezTo>
                    <a:pt x="1760" y="256"/>
                    <a:pt x="1757" y="256"/>
                    <a:pt x="1756" y="255"/>
                  </a:cubicBezTo>
                  <a:cubicBezTo>
                    <a:pt x="1755" y="254"/>
                    <a:pt x="1756" y="251"/>
                    <a:pt x="1756" y="249"/>
                  </a:cubicBezTo>
                  <a:cubicBezTo>
                    <a:pt x="1756" y="245"/>
                    <a:pt x="1756" y="242"/>
                    <a:pt x="1756" y="238"/>
                  </a:cubicBezTo>
                  <a:cubicBezTo>
                    <a:pt x="1754" y="238"/>
                    <a:pt x="1754" y="239"/>
                    <a:pt x="1754" y="240"/>
                  </a:cubicBezTo>
                  <a:cubicBezTo>
                    <a:pt x="1749" y="248"/>
                    <a:pt x="1742" y="254"/>
                    <a:pt x="1733" y="256"/>
                  </a:cubicBezTo>
                  <a:cubicBezTo>
                    <a:pt x="1723" y="260"/>
                    <a:pt x="1713" y="259"/>
                    <a:pt x="1703" y="256"/>
                  </a:cubicBezTo>
                  <a:cubicBezTo>
                    <a:pt x="1690" y="251"/>
                    <a:pt x="1682" y="240"/>
                    <a:pt x="1682" y="226"/>
                  </a:cubicBezTo>
                  <a:cubicBezTo>
                    <a:pt x="1682" y="222"/>
                    <a:pt x="1682" y="217"/>
                    <a:pt x="1683" y="213"/>
                  </a:cubicBezTo>
                  <a:cubicBezTo>
                    <a:pt x="1685" y="203"/>
                    <a:pt x="1692" y="196"/>
                    <a:pt x="1701" y="192"/>
                  </a:cubicBezTo>
                  <a:cubicBezTo>
                    <a:pt x="1707" y="189"/>
                    <a:pt x="1714" y="187"/>
                    <a:pt x="1721" y="186"/>
                  </a:cubicBezTo>
                  <a:cubicBezTo>
                    <a:pt x="1731" y="185"/>
                    <a:pt x="1742" y="183"/>
                    <a:pt x="1752" y="182"/>
                  </a:cubicBezTo>
                  <a:cubicBezTo>
                    <a:pt x="1756" y="181"/>
                    <a:pt x="1756" y="181"/>
                    <a:pt x="1755" y="178"/>
                  </a:cubicBezTo>
                  <a:cubicBezTo>
                    <a:pt x="1755" y="175"/>
                    <a:pt x="1755" y="172"/>
                    <a:pt x="1754" y="168"/>
                  </a:cubicBezTo>
                  <a:cubicBezTo>
                    <a:pt x="1751" y="157"/>
                    <a:pt x="1744" y="152"/>
                    <a:pt x="1732" y="152"/>
                  </a:cubicBezTo>
                  <a:cubicBezTo>
                    <a:pt x="1719" y="151"/>
                    <a:pt x="1707" y="155"/>
                    <a:pt x="1696" y="164"/>
                  </a:cubicBezTo>
                  <a:cubicBezTo>
                    <a:pt x="1695" y="164"/>
                    <a:pt x="1695" y="165"/>
                    <a:pt x="1693" y="165"/>
                  </a:cubicBezTo>
                  <a:cubicBezTo>
                    <a:pt x="1693" y="159"/>
                    <a:pt x="1693" y="154"/>
                    <a:pt x="1693" y="148"/>
                  </a:cubicBezTo>
                  <a:cubicBezTo>
                    <a:pt x="1693" y="147"/>
                    <a:pt x="1694" y="146"/>
                    <a:pt x="1695" y="145"/>
                  </a:cubicBezTo>
                  <a:cubicBezTo>
                    <a:pt x="1696" y="145"/>
                    <a:pt x="1697" y="144"/>
                    <a:pt x="1699" y="143"/>
                  </a:cubicBezTo>
                  <a:cubicBezTo>
                    <a:pt x="1711" y="138"/>
                    <a:pt x="1724" y="135"/>
                    <a:pt x="1738" y="136"/>
                  </a:cubicBezTo>
                  <a:cubicBezTo>
                    <a:pt x="1742" y="136"/>
                    <a:pt x="1746" y="137"/>
                    <a:pt x="1750" y="138"/>
                  </a:cubicBezTo>
                  <a:cubicBezTo>
                    <a:pt x="1763" y="142"/>
                    <a:pt x="1770" y="151"/>
                    <a:pt x="1773" y="163"/>
                  </a:cubicBezTo>
                  <a:cubicBezTo>
                    <a:pt x="1774" y="169"/>
                    <a:pt x="1774" y="175"/>
                    <a:pt x="1774" y="181"/>
                  </a:cubicBezTo>
                  <a:cubicBezTo>
                    <a:pt x="1775" y="205"/>
                    <a:pt x="1775" y="229"/>
                    <a:pt x="1775" y="253"/>
                  </a:cubicBezTo>
                  <a:cubicBezTo>
                    <a:pt x="1775" y="256"/>
                    <a:pt x="1775" y="256"/>
                    <a:pt x="1772" y="256"/>
                  </a:cubicBezTo>
                  <a:close/>
                  <a:moveTo>
                    <a:pt x="1756" y="204"/>
                  </a:moveTo>
                  <a:cubicBezTo>
                    <a:pt x="1756" y="202"/>
                    <a:pt x="1756" y="200"/>
                    <a:pt x="1756" y="199"/>
                  </a:cubicBezTo>
                  <a:cubicBezTo>
                    <a:pt x="1756" y="196"/>
                    <a:pt x="1756" y="196"/>
                    <a:pt x="1753" y="197"/>
                  </a:cubicBezTo>
                  <a:cubicBezTo>
                    <a:pt x="1753" y="197"/>
                    <a:pt x="1753" y="197"/>
                    <a:pt x="1753" y="197"/>
                  </a:cubicBezTo>
                  <a:cubicBezTo>
                    <a:pt x="1746" y="198"/>
                    <a:pt x="1739" y="199"/>
                    <a:pt x="1732" y="200"/>
                  </a:cubicBezTo>
                  <a:cubicBezTo>
                    <a:pt x="1726" y="201"/>
                    <a:pt x="1720" y="201"/>
                    <a:pt x="1714" y="203"/>
                  </a:cubicBezTo>
                  <a:cubicBezTo>
                    <a:pt x="1706" y="206"/>
                    <a:pt x="1702" y="211"/>
                    <a:pt x="1701" y="219"/>
                  </a:cubicBezTo>
                  <a:cubicBezTo>
                    <a:pt x="1700" y="231"/>
                    <a:pt x="1706" y="239"/>
                    <a:pt x="1717" y="242"/>
                  </a:cubicBezTo>
                  <a:cubicBezTo>
                    <a:pt x="1736" y="246"/>
                    <a:pt x="1749" y="234"/>
                    <a:pt x="1753" y="221"/>
                  </a:cubicBezTo>
                  <a:cubicBezTo>
                    <a:pt x="1755" y="216"/>
                    <a:pt x="1756" y="210"/>
                    <a:pt x="1756" y="204"/>
                  </a:cubicBezTo>
                  <a:close/>
                  <a:moveTo>
                    <a:pt x="1099" y="203"/>
                  </a:moveTo>
                  <a:cubicBezTo>
                    <a:pt x="1098" y="211"/>
                    <a:pt x="1097" y="219"/>
                    <a:pt x="1093" y="226"/>
                  </a:cubicBezTo>
                  <a:cubicBezTo>
                    <a:pt x="1084" y="245"/>
                    <a:pt x="1070" y="256"/>
                    <a:pt x="1049" y="258"/>
                  </a:cubicBezTo>
                  <a:cubicBezTo>
                    <a:pt x="1040" y="259"/>
                    <a:pt x="1031" y="259"/>
                    <a:pt x="1022" y="256"/>
                  </a:cubicBezTo>
                  <a:cubicBezTo>
                    <a:pt x="1005" y="251"/>
                    <a:pt x="994" y="240"/>
                    <a:pt x="988" y="224"/>
                  </a:cubicBezTo>
                  <a:cubicBezTo>
                    <a:pt x="981" y="205"/>
                    <a:pt x="982" y="186"/>
                    <a:pt x="990" y="167"/>
                  </a:cubicBezTo>
                  <a:cubicBezTo>
                    <a:pt x="997" y="150"/>
                    <a:pt x="1010" y="140"/>
                    <a:pt x="1028" y="137"/>
                  </a:cubicBezTo>
                  <a:cubicBezTo>
                    <a:pt x="1033" y="136"/>
                    <a:pt x="1038" y="135"/>
                    <a:pt x="1044" y="135"/>
                  </a:cubicBezTo>
                  <a:cubicBezTo>
                    <a:pt x="1051" y="135"/>
                    <a:pt x="1059" y="136"/>
                    <a:pt x="1067" y="140"/>
                  </a:cubicBezTo>
                  <a:cubicBezTo>
                    <a:pt x="1081" y="145"/>
                    <a:pt x="1090" y="156"/>
                    <a:pt x="1095" y="170"/>
                  </a:cubicBezTo>
                  <a:cubicBezTo>
                    <a:pt x="1099" y="180"/>
                    <a:pt x="1100" y="192"/>
                    <a:pt x="1099" y="203"/>
                  </a:cubicBezTo>
                  <a:close/>
                  <a:moveTo>
                    <a:pt x="1079" y="189"/>
                  </a:moveTo>
                  <a:cubicBezTo>
                    <a:pt x="1079" y="183"/>
                    <a:pt x="1078" y="178"/>
                    <a:pt x="1075" y="172"/>
                  </a:cubicBezTo>
                  <a:cubicBezTo>
                    <a:pt x="1071" y="162"/>
                    <a:pt x="1064" y="156"/>
                    <a:pt x="1053" y="153"/>
                  </a:cubicBezTo>
                  <a:cubicBezTo>
                    <a:pt x="1049" y="152"/>
                    <a:pt x="1044" y="151"/>
                    <a:pt x="1039" y="152"/>
                  </a:cubicBezTo>
                  <a:cubicBezTo>
                    <a:pt x="1023" y="152"/>
                    <a:pt x="1011" y="161"/>
                    <a:pt x="1006" y="177"/>
                  </a:cubicBezTo>
                  <a:cubicBezTo>
                    <a:pt x="1004" y="183"/>
                    <a:pt x="1003" y="190"/>
                    <a:pt x="1003" y="198"/>
                  </a:cubicBezTo>
                  <a:cubicBezTo>
                    <a:pt x="1003" y="201"/>
                    <a:pt x="1003" y="205"/>
                    <a:pt x="1004" y="208"/>
                  </a:cubicBezTo>
                  <a:cubicBezTo>
                    <a:pt x="1004" y="210"/>
                    <a:pt x="1004" y="212"/>
                    <a:pt x="1005" y="214"/>
                  </a:cubicBezTo>
                  <a:cubicBezTo>
                    <a:pt x="1009" y="227"/>
                    <a:pt x="1016" y="237"/>
                    <a:pt x="1030" y="241"/>
                  </a:cubicBezTo>
                  <a:cubicBezTo>
                    <a:pt x="1035" y="243"/>
                    <a:pt x="1042" y="243"/>
                    <a:pt x="1048" y="242"/>
                  </a:cubicBezTo>
                  <a:cubicBezTo>
                    <a:pt x="1060" y="241"/>
                    <a:pt x="1069" y="235"/>
                    <a:pt x="1075" y="223"/>
                  </a:cubicBezTo>
                  <a:cubicBezTo>
                    <a:pt x="1076" y="221"/>
                    <a:pt x="1077" y="219"/>
                    <a:pt x="1077" y="217"/>
                  </a:cubicBezTo>
                  <a:cubicBezTo>
                    <a:pt x="1080" y="208"/>
                    <a:pt x="1080" y="198"/>
                    <a:pt x="1079" y="189"/>
                  </a:cubicBezTo>
                  <a:close/>
                  <a:moveTo>
                    <a:pt x="886" y="195"/>
                  </a:moveTo>
                  <a:cubicBezTo>
                    <a:pt x="886" y="206"/>
                    <a:pt x="885" y="218"/>
                    <a:pt x="879" y="228"/>
                  </a:cubicBezTo>
                  <a:cubicBezTo>
                    <a:pt x="870" y="246"/>
                    <a:pt x="855" y="256"/>
                    <a:pt x="836" y="258"/>
                  </a:cubicBezTo>
                  <a:cubicBezTo>
                    <a:pt x="826" y="259"/>
                    <a:pt x="817" y="259"/>
                    <a:pt x="808" y="256"/>
                  </a:cubicBezTo>
                  <a:cubicBezTo>
                    <a:pt x="791" y="251"/>
                    <a:pt x="780" y="239"/>
                    <a:pt x="774" y="223"/>
                  </a:cubicBezTo>
                  <a:cubicBezTo>
                    <a:pt x="768" y="205"/>
                    <a:pt x="769" y="186"/>
                    <a:pt x="776" y="169"/>
                  </a:cubicBezTo>
                  <a:cubicBezTo>
                    <a:pt x="784" y="150"/>
                    <a:pt x="798" y="139"/>
                    <a:pt x="819" y="136"/>
                  </a:cubicBezTo>
                  <a:cubicBezTo>
                    <a:pt x="828" y="135"/>
                    <a:pt x="837" y="135"/>
                    <a:pt x="846" y="137"/>
                  </a:cubicBezTo>
                  <a:cubicBezTo>
                    <a:pt x="865" y="142"/>
                    <a:pt x="876" y="154"/>
                    <a:pt x="882" y="172"/>
                  </a:cubicBezTo>
                  <a:cubicBezTo>
                    <a:pt x="885" y="179"/>
                    <a:pt x="886" y="186"/>
                    <a:pt x="886" y="195"/>
                  </a:cubicBezTo>
                  <a:close/>
                  <a:moveTo>
                    <a:pt x="867" y="198"/>
                  </a:moveTo>
                  <a:cubicBezTo>
                    <a:pt x="867" y="190"/>
                    <a:pt x="866" y="183"/>
                    <a:pt x="864" y="176"/>
                  </a:cubicBezTo>
                  <a:cubicBezTo>
                    <a:pt x="860" y="164"/>
                    <a:pt x="852" y="156"/>
                    <a:pt x="840" y="153"/>
                  </a:cubicBezTo>
                  <a:cubicBezTo>
                    <a:pt x="836" y="152"/>
                    <a:pt x="831" y="151"/>
                    <a:pt x="827" y="152"/>
                  </a:cubicBezTo>
                  <a:cubicBezTo>
                    <a:pt x="811" y="152"/>
                    <a:pt x="799" y="161"/>
                    <a:pt x="793" y="176"/>
                  </a:cubicBezTo>
                  <a:cubicBezTo>
                    <a:pt x="788" y="189"/>
                    <a:pt x="788" y="203"/>
                    <a:pt x="793" y="217"/>
                  </a:cubicBezTo>
                  <a:cubicBezTo>
                    <a:pt x="796" y="229"/>
                    <a:pt x="804" y="237"/>
                    <a:pt x="816" y="241"/>
                  </a:cubicBezTo>
                  <a:cubicBezTo>
                    <a:pt x="822" y="242"/>
                    <a:pt x="827" y="243"/>
                    <a:pt x="833" y="242"/>
                  </a:cubicBezTo>
                  <a:cubicBezTo>
                    <a:pt x="847" y="241"/>
                    <a:pt x="857" y="234"/>
                    <a:pt x="862" y="221"/>
                  </a:cubicBezTo>
                  <a:cubicBezTo>
                    <a:pt x="866" y="214"/>
                    <a:pt x="867" y="205"/>
                    <a:pt x="867" y="198"/>
                  </a:cubicBezTo>
                  <a:close/>
                </a:path>
              </a:pathLst>
            </a:custGeom>
            <a:solidFill>
              <a:schemeClr val="bg1"/>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sz="1800" kern="0" dirty="0">
                <a:solidFill>
                  <a:prstClr val="black"/>
                </a:solidFill>
              </a:endParaRPr>
            </a:p>
          </p:txBody>
        </p:sp>
        <p:sp>
          <p:nvSpPr>
            <p:cNvPr id="72" name="Freeform 26"/>
            <p:cNvSpPr>
              <a:spLocks noChangeAspect="1" noEditPoints="1"/>
            </p:cNvSpPr>
            <p:nvPr/>
          </p:nvSpPr>
          <p:spPr bwMode="black">
            <a:xfrm>
              <a:off x="-1089502" y="-163414"/>
              <a:ext cx="999379" cy="220435"/>
            </a:xfrm>
            <a:custGeom>
              <a:avLst/>
              <a:gdLst>
                <a:gd name="T0" fmla="*/ 1225 w 3933"/>
                <a:gd name="T1" fmla="*/ 701 h 865"/>
                <a:gd name="T2" fmla="*/ 1013 w 3933"/>
                <a:gd name="T3" fmla="*/ 295 h 865"/>
                <a:gd name="T4" fmla="*/ 1442 w 3933"/>
                <a:gd name="T5" fmla="*/ 291 h 865"/>
                <a:gd name="T6" fmla="*/ 1229 w 3933"/>
                <a:gd name="T7" fmla="*/ 220 h 865"/>
                <a:gd name="T8" fmla="*/ 1068 w 3933"/>
                <a:gd name="T9" fmla="*/ 545 h 865"/>
                <a:gd name="T10" fmla="*/ 1409 w 3933"/>
                <a:gd name="T11" fmla="*/ 435 h 865"/>
                <a:gd name="T12" fmla="*/ 1633 w 3933"/>
                <a:gd name="T13" fmla="*/ 322 h 865"/>
                <a:gd name="T14" fmla="*/ 1633 w 3933"/>
                <a:gd name="T15" fmla="*/ 692 h 865"/>
                <a:gd name="T16" fmla="*/ 1511 w 3933"/>
                <a:gd name="T17" fmla="*/ 322 h 865"/>
                <a:gd name="T18" fmla="*/ 1692 w 3933"/>
                <a:gd name="T19" fmla="*/ 136 h 865"/>
                <a:gd name="T20" fmla="*/ 1899 w 3933"/>
                <a:gd name="T21" fmla="*/ 186 h 865"/>
                <a:gd name="T22" fmla="*/ 1924 w 3933"/>
                <a:gd name="T23" fmla="*/ 372 h 865"/>
                <a:gd name="T24" fmla="*/ 1777 w 3933"/>
                <a:gd name="T25" fmla="*/ 372 h 865"/>
                <a:gd name="T26" fmla="*/ 1777 w 3933"/>
                <a:gd name="T27" fmla="*/ 262 h 865"/>
                <a:gd name="T28" fmla="*/ 1938 w 3933"/>
                <a:gd name="T29" fmla="*/ 196 h 865"/>
                <a:gd name="T30" fmla="*/ 1981 w 3933"/>
                <a:gd name="T31" fmla="*/ 217 h 865"/>
                <a:gd name="T32" fmla="*/ 2037 w 3933"/>
                <a:gd name="T33" fmla="*/ 162 h 865"/>
                <a:gd name="T34" fmla="*/ 1978 w 3933"/>
                <a:gd name="T35" fmla="*/ 322 h 865"/>
                <a:gd name="T36" fmla="*/ 2275 w 3933"/>
                <a:gd name="T37" fmla="*/ 701 h 865"/>
                <a:gd name="T38" fmla="*/ 2151 w 3933"/>
                <a:gd name="T39" fmla="*/ 369 h 865"/>
                <a:gd name="T40" fmla="*/ 2289 w 3933"/>
                <a:gd name="T41" fmla="*/ 364 h 865"/>
                <a:gd name="T42" fmla="*/ 2285 w 3933"/>
                <a:gd name="T43" fmla="*/ 651 h 865"/>
                <a:gd name="T44" fmla="*/ 2480 w 3933"/>
                <a:gd name="T45" fmla="*/ 522 h 865"/>
                <a:gd name="T46" fmla="*/ 2716 w 3933"/>
                <a:gd name="T47" fmla="*/ 666 h 865"/>
                <a:gd name="T48" fmla="*/ 2441 w 3933"/>
                <a:gd name="T49" fmla="*/ 408 h 865"/>
                <a:gd name="T50" fmla="*/ 2742 w 3933"/>
                <a:gd name="T51" fmla="*/ 491 h 865"/>
                <a:gd name="T52" fmla="*/ 2588 w 3933"/>
                <a:gd name="T53" fmla="*/ 364 h 865"/>
                <a:gd name="T54" fmla="*/ 3193 w 3933"/>
                <a:gd name="T55" fmla="*/ 546 h 865"/>
                <a:gd name="T56" fmla="*/ 2892 w 3933"/>
                <a:gd name="T57" fmla="*/ 610 h 865"/>
                <a:gd name="T58" fmla="*/ 2987 w 3933"/>
                <a:gd name="T59" fmla="*/ 449 h 865"/>
                <a:gd name="T60" fmla="*/ 3113 w 3933"/>
                <a:gd name="T61" fmla="*/ 304 h 865"/>
                <a:gd name="T62" fmla="*/ 3030 w 3933"/>
                <a:gd name="T63" fmla="*/ 165 h 865"/>
                <a:gd name="T64" fmla="*/ 3070 w 3933"/>
                <a:gd name="T65" fmla="*/ 422 h 865"/>
                <a:gd name="T66" fmla="*/ 3563 w 3933"/>
                <a:gd name="T67" fmla="*/ 617 h 865"/>
                <a:gd name="T68" fmla="*/ 3254 w 3933"/>
                <a:gd name="T69" fmla="*/ 464 h 865"/>
                <a:gd name="T70" fmla="*/ 3552 w 3933"/>
                <a:gd name="T71" fmla="*/ 180 h 865"/>
                <a:gd name="T72" fmla="*/ 3316 w 3933"/>
                <a:gd name="T73" fmla="*/ 441 h 865"/>
                <a:gd name="T74" fmla="*/ 3584 w 3933"/>
                <a:gd name="T75" fmla="*/ 528 h 865"/>
                <a:gd name="T76" fmla="*/ 3349 w 3933"/>
                <a:gd name="T77" fmla="*/ 449 h 865"/>
                <a:gd name="T78" fmla="*/ 3495 w 3933"/>
                <a:gd name="T79" fmla="*/ 619 h 865"/>
                <a:gd name="T80" fmla="*/ 3749 w 3933"/>
                <a:gd name="T81" fmla="*/ 701 h 865"/>
                <a:gd name="T82" fmla="*/ 3838 w 3933"/>
                <a:gd name="T83" fmla="*/ 620 h 865"/>
                <a:gd name="T84" fmla="*/ 3651 w 3933"/>
                <a:gd name="T85" fmla="*/ 434 h 865"/>
                <a:gd name="T86" fmla="*/ 3721 w 3933"/>
                <a:gd name="T87" fmla="*/ 227 h 865"/>
                <a:gd name="T88" fmla="*/ 3933 w 3933"/>
                <a:gd name="T89" fmla="*/ 534 h 865"/>
                <a:gd name="T90" fmla="*/ 464 w 3933"/>
                <a:gd name="T91" fmla="*/ 0 h 865"/>
                <a:gd name="T92" fmla="*/ 158 w 3933"/>
                <a:gd name="T93" fmla="*/ 632 h 865"/>
                <a:gd name="T94" fmla="*/ 1 w 3933"/>
                <a:gd name="T95" fmla="*/ 694 h 865"/>
                <a:gd name="T96" fmla="*/ 722 w 3933"/>
                <a:gd name="T97" fmla="*/ 793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933" h="865">
                  <a:moveTo>
                    <a:pt x="1472" y="427"/>
                  </a:moveTo>
                  <a:cubicBezTo>
                    <a:pt x="1472" y="482"/>
                    <a:pt x="1462" y="530"/>
                    <a:pt x="1442" y="572"/>
                  </a:cubicBezTo>
                  <a:cubicBezTo>
                    <a:pt x="1422" y="613"/>
                    <a:pt x="1393" y="645"/>
                    <a:pt x="1355" y="668"/>
                  </a:cubicBezTo>
                  <a:cubicBezTo>
                    <a:pt x="1318" y="690"/>
                    <a:pt x="1274" y="701"/>
                    <a:pt x="1225" y="701"/>
                  </a:cubicBezTo>
                  <a:cubicBezTo>
                    <a:pt x="1177" y="701"/>
                    <a:pt x="1135" y="691"/>
                    <a:pt x="1098" y="669"/>
                  </a:cubicBezTo>
                  <a:cubicBezTo>
                    <a:pt x="1061" y="647"/>
                    <a:pt x="1033" y="616"/>
                    <a:pt x="1012" y="576"/>
                  </a:cubicBezTo>
                  <a:cubicBezTo>
                    <a:pt x="992" y="536"/>
                    <a:pt x="982" y="490"/>
                    <a:pt x="982" y="439"/>
                  </a:cubicBezTo>
                  <a:cubicBezTo>
                    <a:pt x="982" y="384"/>
                    <a:pt x="992" y="336"/>
                    <a:pt x="1013" y="295"/>
                  </a:cubicBezTo>
                  <a:cubicBezTo>
                    <a:pt x="1033" y="253"/>
                    <a:pt x="1063" y="221"/>
                    <a:pt x="1101" y="199"/>
                  </a:cubicBezTo>
                  <a:cubicBezTo>
                    <a:pt x="1139" y="176"/>
                    <a:pt x="1184" y="165"/>
                    <a:pt x="1234" y="165"/>
                  </a:cubicBezTo>
                  <a:cubicBezTo>
                    <a:pt x="1280" y="165"/>
                    <a:pt x="1321" y="176"/>
                    <a:pt x="1358" y="198"/>
                  </a:cubicBezTo>
                  <a:cubicBezTo>
                    <a:pt x="1394" y="220"/>
                    <a:pt x="1423" y="251"/>
                    <a:pt x="1442" y="291"/>
                  </a:cubicBezTo>
                  <a:cubicBezTo>
                    <a:pt x="1462" y="330"/>
                    <a:pt x="1472" y="376"/>
                    <a:pt x="1472" y="427"/>
                  </a:cubicBezTo>
                  <a:close/>
                  <a:moveTo>
                    <a:pt x="1409" y="435"/>
                  </a:moveTo>
                  <a:cubicBezTo>
                    <a:pt x="1409" y="367"/>
                    <a:pt x="1393" y="314"/>
                    <a:pt x="1361" y="276"/>
                  </a:cubicBezTo>
                  <a:cubicBezTo>
                    <a:pt x="1330" y="239"/>
                    <a:pt x="1286" y="220"/>
                    <a:pt x="1229" y="220"/>
                  </a:cubicBezTo>
                  <a:cubicBezTo>
                    <a:pt x="1194" y="220"/>
                    <a:pt x="1162" y="229"/>
                    <a:pt x="1134" y="247"/>
                  </a:cubicBezTo>
                  <a:cubicBezTo>
                    <a:pt x="1106" y="265"/>
                    <a:pt x="1084" y="290"/>
                    <a:pt x="1069" y="323"/>
                  </a:cubicBezTo>
                  <a:cubicBezTo>
                    <a:pt x="1053" y="356"/>
                    <a:pt x="1046" y="393"/>
                    <a:pt x="1046" y="434"/>
                  </a:cubicBezTo>
                  <a:cubicBezTo>
                    <a:pt x="1046" y="475"/>
                    <a:pt x="1053" y="512"/>
                    <a:pt x="1068" y="545"/>
                  </a:cubicBezTo>
                  <a:cubicBezTo>
                    <a:pt x="1083" y="577"/>
                    <a:pt x="1104" y="602"/>
                    <a:pt x="1131" y="620"/>
                  </a:cubicBezTo>
                  <a:cubicBezTo>
                    <a:pt x="1159" y="638"/>
                    <a:pt x="1190" y="646"/>
                    <a:pt x="1225" y="646"/>
                  </a:cubicBezTo>
                  <a:cubicBezTo>
                    <a:pt x="1282" y="646"/>
                    <a:pt x="1327" y="628"/>
                    <a:pt x="1360" y="590"/>
                  </a:cubicBezTo>
                  <a:cubicBezTo>
                    <a:pt x="1392" y="552"/>
                    <a:pt x="1409" y="501"/>
                    <a:pt x="1409" y="435"/>
                  </a:cubicBezTo>
                  <a:close/>
                  <a:moveTo>
                    <a:pt x="1735" y="196"/>
                  </a:moveTo>
                  <a:cubicBezTo>
                    <a:pt x="1723" y="190"/>
                    <a:pt x="1710" y="186"/>
                    <a:pt x="1695" y="186"/>
                  </a:cubicBezTo>
                  <a:cubicBezTo>
                    <a:pt x="1654" y="186"/>
                    <a:pt x="1633" y="213"/>
                    <a:pt x="1633" y="265"/>
                  </a:cubicBezTo>
                  <a:cubicBezTo>
                    <a:pt x="1633" y="322"/>
                    <a:pt x="1633" y="322"/>
                    <a:pt x="1633" y="322"/>
                  </a:cubicBezTo>
                  <a:cubicBezTo>
                    <a:pt x="1720" y="322"/>
                    <a:pt x="1720" y="322"/>
                    <a:pt x="1720" y="322"/>
                  </a:cubicBezTo>
                  <a:cubicBezTo>
                    <a:pt x="1720" y="372"/>
                    <a:pt x="1720" y="372"/>
                    <a:pt x="1720" y="372"/>
                  </a:cubicBezTo>
                  <a:cubicBezTo>
                    <a:pt x="1633" y="372"/>
                    <a:pt x="1633" y="372"/>
                    <a:pt x="1633" y="372"/>
                  </a:cubicBezTo>
                  <a:cubicBezTo>
                    <a:pt x="1633" y="692"/>
                    <a:pt x="1633" y="692"/>
                    <a:pt x="1633" y="692"/>
                  </a:cubicBezTo>
                  <a:cubicBezTo>
                    <a:pt x="1574" y="692"/>
                    <a:pt x="1574" y="692"/>
                    <a:pt x="1574" y="692"/>
                  </a:cubicBezTo>
                  <a:cubicBezTo>
                    <a:pt x="1574" y="372"/>
                    <a:pt x="1574" y="372"/>
                    <a:pt x="1574" y="372"/>
                  </a:cubicBezTo>
                  <a:cubicBezTo>
                    <a:pt x="1511" y="372"/>
                    <a:pt x="1511" y="372"/>
                    <a:pt x="1511" y="372"/>
                  </a:cubicBezTo>
                  <a:cubicBezTo>
                    <a:pt x="1511" y="322"/>
                    <a:pt x="1511" y="322"/>
                    <a:pt x="1511" y="322"/>
                  </a:cubicBezTo>
                  <a:cubicBezTo>
                    <a:pt x="1574" y="322"/>
                    <a:pt x="1574" y="322"/>
                    <a:pt x="1574" y="322"/>
                  </a:cubicBezTo>
                  <a:cubicBezTo>
                    <a:pt x="1574" y="262"/>
                    <a:pt x="1574" y="262"/>
                    <a:pt x="1574" y="262"/>
                  </a:cubicBezTo>
                  <a:cubicBezTo>
                    <a:pt x="1574" y="224"/>
                    <a:pt x="1585" y="194"/>
                    <a:pt x="1607" y="171"/>
                  </a:cubicBezTo>
                  <a:cubicBezTo>
                    <a:pt x="1629" y="148"/>
                    <a:pt x="1657" y="136"/>
                    <a:pt x="1692" y="136"/>
                  </a:cubicBezTo>
                  <a:cubicBezTo>
                    <a:pt x="1710" y="136"/>
                    <a:pt x="1724" y="138"/>
                    <a:pt x="1735" y="143"/>
                  </a:cubicBezTo>
                  <a:lnTo>
                    <a:pt x="1735" y="196"/>
                  </a:lnTo>
                  <a:close/>
                  <a:moveTo>
                    <a:pt x="1938" y="196"/>
                  </a:moveTo>
                  <a:cubicBezTo>
                    <a:pt x="1927" y="190"/>
                    <a:pt x="1914" y="186"/>
                    <a:pt x="1899" y="186"/>
                  </a:cubicBezTo>
                  <a:cubicBezTo>
                    <a:pt x="1858" y="186"/>
                    <a:pt x="1837" y="213"/>
                    <a:pt x="1837" y="265"/>
                  </a:cubicBezTo>
                  <a:cubicBezTo>
                    <a:pt x="1837" y="322"/>
                    <a:pt x="1837" y="322"/>
                    <a:pt x="1837" y="322"/>
                  </a:cubicBezTo>
                  <a:cubicBezTo>
                    <a:pt x="1924" y="322"/>
                    <a:pt x="1924" y="322"/>
                    <a:pt x="1924" y="322"/>
                  </a:cubicBezTo>
                  <a:cubicBezTo>
                    <a:pt x="1924" y="372"/>
                    <a:pt x="1924" y="372"/>
                    <a:pt x="1924" y="372"/>
                  </a:cubicBezTo>
                  <a:cubicBezTo>
                    <a:pt x="1837" y="372"/>
                    <a:pt x="1837" y="372"/>
                    <a:pt x="1837" y="372"/>
                  </a:cubicBezTo>
                  <a:cubicBezTo>
                    <a:pt x="1837" y="692"/>
                    <a:pt x="1837" y="692"/>
                    <a:pt x="1837" y="692"/>
                  </a:cubicBezTo>
                  <a:cubicBezTo>
                    <a:pt x="1777" y="692"/>
                    <a:pt x="1777" y="692"/>
                    <a:pt x="1777" y="692"/>
                  </a:cubicBezTo>
                  <a:cubicBezTo>
                    <a:pt x="1777" y="372"/>
                    <a:pt x="1777" y="372"/>
                    <a:pt x="1777" y="372"/>
                  </a:cubicBezTo>
                  <a:cubicBezTo>
                    <a:pt x="1715" y="372"/>
                    <a:pt x="1715" y="372"/>
                    <a:pt x="1715" y="372"/>
                  </a:cubicBezTo>
                  <a:cubicBezTo>
                    <a:pt x="1715" y="322"/>
                    <a:pt x="1715" y="322"/>
                    <a:pt x="1715" y="322"/>
                  </a:cubicBezTo>
                  <a:cubicBezTo>
                    <a:pt x="1777" y="322"/>
                    <a:pt x="1777" y="322"/>
                    <a:pt x="1777" y="322"/>
                  </a:cubicBezTo>
                  <a:cubicBezTo>
                    <a:pt x="1777" y="262"/>
                    <a:pt x="1777" y="262"/>
                    <a:pt x="1777" y="262"/>
                  </a:cubicBezTo>
                  <a:cubicBezTo>
                    <a:pt x="1777" y="224"/>
                    <a:pt x="1789" y="194"/>
                    <a:pt x="1811" y="171"/>
                  </a:cubicBezTo>
                  <a:cubicBezTo>
                    <a:pt x="1833" y="148"/>
                    <a:pt x="1861" y="136"/>
                    <a:pt x="1895" y="136"/>
                  </a:cubicBezTo>
                  <a:cubicBezTo>
                    <a:pt x="1913" y="136"/>
                    <a:pt x="1928" y="138"/>
                    <a:pt x="1938" y="143"/>
                  </a:cubicBezTo>
                  <a:lnTo>
                    <a:pt x="1938" y="196"/>
                  </a:lnTo>
                  <a:close/>
                  <a:moveTo>
                    <a:pt x="2048" y="189"/>
                  </a:moveTo>
                  <a:cubicBezTo>
                    <a:pt x="2048" y="200"/>
                    <a:pt x="2044" y="210"/>
                    <a:pt x="2036" y="217"/>
                  </a:cubicBezTo>
                  <a:cubicBezTo>
                    <a:pt x="2029" y="224"/>
                    <a:pt x="2019" y="228"/>
                    <a:pt x="2009" y="228"/>
                  </a:cubicBezTo>
                  <a:cubicBezTo>
                    <a:pt x="1998" y="228"/>
                    <a:pt x="1989" y="224"/>
                    <a:pt x="1981" y="217"/>
                  </a:cubicBezTo>
                  <a:cubicBezTo>
                    <a:pt x="1974" y="210"/>
                    <a:pt x="1970" y="201"/>
                    <a:pt x="1970" y="189"/>
                  </a:cubicBezTo>
                  <a:cubicBezTo>
                    <a:pt x="1970" y="179"/>
                    <a:pt x="1974" y="170"/>
                    <a:pt x="1981" y="162"/>
                  </a:cubicBezTo>
                  <a:cubicBezTo>
                    <a:pt x="1988" y="155"/>
                    <a:pt x="1998" y="151"/>
                    <a:pt x="2009" y="151"/>
                  </a:cubicBezTo>
                  <a:cubicBezTo>
                    <a:pt x="2020" y="151"/>
                    <a:pt x="2029" y="155"/>
                    <a:pt x="2037" y="162"/>
                  </a:cubicBezTo>
                  <a:cubicBezTo>
                    <a:pt x="2044" y="170"/>
                    <a:pt x="2048" y="179"/>
                    <a:pt x="2048" y="189"/>
                  </a:cubicBezTo>
                  <a:close/>
                  <a:moveTo>
                    <a:pt x="2038" y="692"/>
                  </a:moveTo>
                  <a:cubicBezTo>
                    <a:pt x="1978" y="692"/>
                    <a:pt x="1978" y="692"/>
                    <a:pt x="1978" y="692"/>
                  </a:cubicBezTo>
                  <a:cubicBezTo>
                    <a:pt x="1978" y="322"/>
                    <a:pt x="1978" y="322"/>
                    <a:pt x="1978" y="322"/>
                  </a:cubicBezTo>
                  <a:cubicBezTo>
                    <a:pt x="2038" y="322"/>
                    <a:pt x="2038" y="322"/>
                    <a:pt x="2038" y="322"/>
                  </a:cubicBezTo>
                  <a:lnTo>
                    <a:pt x="2038" y="692"/>
                  </a:lnTo>
                  <a:close/>
                  <a:moveTo>
                    <a:pt x="2376" y="675"/>
                  </a:moveTo>
                  <a:cubicBezTo>
                    <a:pt x="2348" y="693"/>
                    <a:pt x="2314" y="701"/>
                    <a:pt x="2275" y="701"/>
                  </a:cubicBezTo>
                  <a:cubicBezTo>
                    <a:pt x="2241" y="701"/>
                    <a:pt x="2211" y="694"/>
                    <a:pt x="2184" y="678"/>
                  </a:cubicBezTo>
                  <a:cubicBezTo>
                    <a:pt x="2157" y="663"/>
                    <a:pt x="2136" y="641"/>
                    <a:pt x="2121" y="612"/>
                  </a:cubicBezTo>
                  <a:cubicBezTo>
                    <a:pt x="2106" y="584"/>
                    <a:pt x="2099" y="552"/>
                    <a:pt x="2099" y="516"/>
                  </a:cubicBezTo>
                  <a:cubicBezTo>
                    <a:pt x="2099" y="455"/>
                    <a:pt x="2116" y="406"/>
                    <a:pt x="2151" y="369"/>
                  </a:cubicBezTo>
                  <a:cubicBezTo>
                    <a:pt x="2186" y="332"/>
                    <a:pt x="2233" y="313"/>
                    <a:pt x="2291" y="313"/>
                  </a:cubicBezTo>
                  <a:cubicBezTo>
                    <a:pt x="2324" y="313"/>
                    <a:pt x="2352" y="319"/>
                    <a:pt x="2377" y="332"/>
                  </a:cubicBezTo>
                  <a:cubicBezTo>
                    <a:pt x="2377" y="393"/>
                    <a:pt x="2377" y="393"/>
                    <a:pt x="2377" y="393"/>
                  </a:cubicBezTo>
                  <a:cubicBezTo>
                    <a:pt x="2349" y="373"/>
                    <a:pt x="2320" y="364"/>
                    <a:pt x="2289" y="364"/>
                  </a:cubicBezTo>
                  <a:cubicBezTo>
                    <a:pt x="2250" y="364"/>
                    <a:pt x="2219" y="377"/>
                    <a:pt x="2195" y="405"/>
                  </a:cubicBezTo>
                  <a:cubicBezTo>
                    <a:pt x="2171" y="432"/>
                    <a:pt x="2159" y="467"/>
                    <a:pt x="2159" y="511"/>
                  </a:cubicBezTo>
                  <a:cubicBezTo>
                    <a:pt x="2159" y="554"/>
                    <a:pt x="2171" y="588"/>
                    <a:pt x="2193" y="613"/>
                  </a:cubicBezTo>
                  <a:cubicBezTo>
                    <a:pt x="2216" y="638"/>
                    <a:pt x="2247" y="651"/>
                    <a:pt x="2285" y="651"/>
                  </a:cubicBezTo>
                  <a:cubicBezTo>
                    <a:pt x="2317" y="651"/>
                    <a:pt x="2348" y="640"/>
                    <a:pt x="2376" y="619"/>
                  </a:cubicBezTo>
                  <a:lnTo>
                    <a:pt x="2376" y="675"/>
                  </a:lnTo>
                  <a:close/>
                  <a:moveTo>
                    <a:pt x="2742" y="522"/>
                  </a:moveTo>
                  <a:cubicBezTo>
                    <a:pt x="2480" y="522"/>
                    <a:pt x="2480" y="522"/>
                    <a:pt x="2480" y="522"/>
                  </a:cubicBezTo>
                  <a:cubicBezTo>
                    <a:pt x="2481" y="564"/>
                    <a:pt x="2492" y="596"/>
                    <a:pt x="2513" y="618"/>
                  </a:cubicBezTo>
                  <a:cubicBezTo>
                    <a:pt x="2534" y="640"/>
                    <a:pt x="2564" y="651"/>
                    <a:pt x="2601" y="651"/>
                  </a:cubicBezTo>
                  <a:cubicBezTo>
                    <a:pt x="2643" y="651"/>
                    <a:pt x="2681" y="637"/>
                    <a:pt x="2716" y="610"/>
                  </a:cubicBezTo>
                  <a:cubicBezTo>
                    <a:pt x="2716" y="666"/>
                    <a:pt x="2716" y="666"/>
                    <a:pt x="2716" y="666"/>
                  </a:cubicBezTo>
                  <a:cubicBezTo>
                    <a:pt x="2683" y="689"/>
                    <a:pt x="2640" y="701"/>
                    <a:pt x="2587" y="701"/>
                  </a:cubicBezTo>
                  <a:cubicBezTo>
                    <a:pt x="2534" y="701"/>
                    <a:pt x="2493" y="684"/>
                    <a:pt x="2463" y="650"/>
                  </a:cubicBezTo>
                  <a:cubicBezTo>
                    <a:pt x="2433" y="616"/>
                    <a:pt x="2419" y="569"/>
                    <a:pt x="2419" y="509"/>
                  </a:cubicBezTo>
                  <a:cubicBezTo>
                    <a:pt x="2419" y="472"/>
                    <a:pt x="2426" y="439"/>
                    <a:pt x="2441" y="408"/>
                  </a:cubicBezTo>
                  <a:cubicBezTo>
                    <a:pt x="2456" y="378"/>
                    <a:pt x="2476" y="355"/>
                    <a:pt x="2502" y="338"/>
                  </a:cubicBezTo>
                  <a:cubicBezTo>
                    <a:pt x="2528" y="321"/>
                    <a:pt x="2557" y="313"/>
                    <a:pt x="2589" y="313"/>
                  </a:cubicBezTo>
                  <a:cubicBezTo>
                    <a:pt x="2637" y="313"/>
                    <a:pt x="2674" y="329"/>
                    <a:pt x="2701" y="360"/>
                  </a:cubicBezTo>
                  <a:cubicBezTo>
                    <a:pt x="2728" y="391"/>
                    <a:pt x="2742" y="435"/>
                    <a:pt x="2742" y="491"/>
                  </a:cubicBezTo>
                  <a:lnTo>
                    <a:pt x="2742" y="522"/>
                  </a:lnTo>
                  <a:close/>
                  <a:moveTo>
                    <a:pt x="2681" y="472"/>
                  </a:moveTo>
                  <a:cubicBezTo>
                    <a:pt x="2680" y="438"/>
                    <a:pt x="2672" y="411"/>
                    <a:pt x="2656" y="392"/>
                  </a:cubicBezTo>
                  <a:cubicBezTo>
                    <a:pt x="2640" y="373"/>
                    <a:pt x="2617" y="364"/>
                    <a:pt x="2588" y="364"/>
                  </a:cubicBezTo>
                  <a:cubicBezTo>
                    <a:pt x="2561" y="364"/>
                    <a:pt x="2537" y="374"/>
                    <a:pt x="2518" y="393"/>
                  </a:cubicBezTo>
                  <a:cubicBezTo>
                    <a:pt x="2498" y="413"/>
                    <a:pt x="2486" y="439"/>
                    <a:pt x="2481" y="472"/>
                  </a:cubicBezTo>
                  <a:lnTo>
                    <a:pt x="2681" y="472"/>
                  </a:lnTo>
                  <a:close/>
                  <a:moveTo>
                    <a:pt x="3193" y="546"/>
                  </a:moveTo>
                  <a:cubicBezTo>
                    <a:pt x="3193" y="592"/>
                    <a:pt x="3176" y="630"/>
                    <a:pt x="3142" y="659"/>
                  </a:cubicBezTo>
                  <a:cubicBezTo>
                    <a:pt x="3109" y="687"/>
                    <a:pt x="3065" y="701"/>
                    <a:pt x="3010" y="701"/>
                  </a:cubicBezTo>
                  <a:cubicBezTo>
                    <a:pt x="2961" y="701"/>
                    <a:pt x="2922" y="692"/>
                    <a:pt x="2892" y="673"/>
                  </a:cubicBezTo>
                  <a:cubicBezTo>
                    <a:pt x="2892" y="610"/>
                    <a:pt x="2892" y="610"/>
                    <a:pt x="2892" y="610"/>
                  </a:cubicBezTo>
                  <a:cubicBezTo>
                    <a:pt x="2927" y="637"/>
                    <a:pt x="2967" y="651"/>
                    <a:pt x="3013" y="651"/>
                  </a:cubicBezTo>
                  <a:cubicBezTo>
                    <a:pt x="3049" y="651"/>
                    <a:pt x="3078" y="642"/>
                    <a:pt x="3100" y="624"/>
                  </a:cubicBezTo>
                  <a:cubicBezTo>
                    <a:pt x="3121" y="606"/>
                    <a:pt x="3132" y="582"/>
                    <a:pt x="3132" y="551"/>
                  </a:cubicBezTo>
                  <a:cubicBezTo>
                    <a:pt x="3132" y="483"/>
                    <a:pt x="3084" y="449"/>
                    <a:pt x="2987" y="449"/>
                  </a:cubicBezTo>
                  <a:cubicBezTo>
                    <a:pt x="2944" y="449"/>
                    <a:pt x="2944" y="449"/>
                    <a:pt x="2944" y="449"/>
                  </a:cubicBezTo>
                  <a:cubicBezTo>
                    <a:pt x="2944" y="399"/>
                    <a:pt x="2944" y="399"/>
                    <a:pt x="2944" y="399"/>
                  </a:cubicBezTo>
                  <a:cubicBezTo>
                    <a:pt x="2985" y="399"/>
                    <a:pt x="2985" y="399"/>
                    <a:pt x="2985" y="399"/>
                  </a:cubicBezTo>
                  <a:cubicBezTo>
                    <a:pt x="3070" y="399"/>
                    <a:pt x="3113" y="367"/>
                    <a:pt x="3113" y="304"/>
                  </a:cubicBezTo>
                  <a:cubicBezTo>
                    <a:pt x="3113" y="245"/>
                    <a:pt x="3081" y="215"/>
                    <a:pt x="3015" y="215"/>
                  </a:cubicBezTo>
                  <a:cubicBezTo>
                    <a:pt x="2979" y="215"/>
                    <a:pt x="2944" y="228"/>
                    <a:pt x="2912" y="252"/>
                  </a:cubicBezTo>
                  <a:cubicBezTo>
                    <a:pt x="2912" y="195"/>
                    <a:pt x="2912" y="195"/>
                    <a:pt x="2912" y="195"/>
                  </a:cubicBezTo>
                  <a:cubicBezTo>
                    <a:pt x="2945" y="175"/>
                    <a:pt x="2985" y="165"/>
                    <a:pt x="3030" y="165"/>
                  </a:cubicBezTo>
                  <a:cubicBezTo>
                    <a:pt x="3073" y="165"/>
                    <a:pt x="3108" y="176"/>
                    <a:pt x="3134" y="199"/>
                  </a:cubicBezTo>
                  <a:cubicBezTo>
                    <a:pt x="3161" y="222"/>
                    <a:pt x="3174" y="252"/>
                    <a:pt x="3174" y="289"/>
                  </a:cubicBezTo>
                  <a:cubicBezTo>
                    <a:pt x="3174" y="357"/>
                    <a:pt x="3139" y="401"/>
                    <a:pt x="3070" y="420"/>
                  </a:cubicBezTo>
                  <a:cubicBezTo>
                    <a:pt x="3070" y="422"/>
                    <a:pt x="3070" y="422"/>
                    <a:pt x="3070" y="422"/>
                  </a:cubicBezTo>
                  <a:cubicBezTo>
                    <a:pt x="3107" y="426"/>
                    <a:pt x="3137" y="439"/>
                    <a:pt x="3159" y="462"/>
                  </a:cubicBezTo>
                  <a:cubicBezTo>
                    <a:pt x="3181" y="484"/>
                    <a:pt x="3193" y="512"/>
                    <a:pt x="3193" y="546"/>
                  </a:cubicBezTo>
                  <a:close/>
                  <a:moveTo>
                    <a:pt x="3584" y="528"/>
                  </a:moveTo>
                  <a:cubicBezTo>
                    <a:pt x="3584" y="561"/>
                    <a:pt x="3577" y="590"/>
                    <a:pt x="3563" y="617"/>
                  </a:cubicBezTo>
                  <a:cubicBezTo>
                    <a:pt x="3548" y="644"/>
                    <a:pt x="3529" y="665"/>
                    <a:pt x="3504" y="679"/>
                  </a:cubicBezTo>
                  <a:cubicBezTo>
                    <a:pt x="3479" y="694"/>
                    <a:pt x="3451" y="701"/>
                    <a:pt x="3421" y="701"/>
                  </a:cubicBezTo>
                  <a:cubicBezTo>
                    <a:pt x="3369" y="701"/>
                    <a:pt x="3328" y="681"/>
                    <a:pt x="3299" y="639"/>
                  </a:cubicBezTo>
                  <a:cubicBezTo>
                    <a:pt x="3269" y="597"/>
                    <a:pt x="3254" y="539"/>
                    <a:pt x="3254" y="464"/>
                  </a:cubicBezTo>
                  <a:cubicBezTo>
                    <a:pt x="3254" y="405"/>
                    <a:pt x="3263" y="352"/>
                    <a:pt x="3280" y="307"/>
                  </a:cubicBezTo>
                  <a:cubicBezTo>
                    <a:pt x="3298" y="262"/>
                    <a:pt x="3323" y="227"/>
                    <a:pt x="3355" y="202"/>
                  </a:cubicBezTo>
                  <a:cubicBezTo>
                    <a:pt x="3387" y="177"/>
                    <a:pt x="3424" y="165"/>
                    <a:pt x="3466" y="165"/>
                  </a:cubicBezTo>
                  <a:cubicBezTo>
                    <a:pt x="3502" y="165"/>
                    <a:pt x="3530" y="170"/>
                    <a:pt x="3552" y="180"/>
                  </a:cubicBezTo>
                  <a:cubicBezTo>
                    <a:pt x="3552" y="236"/>
                    <a:pt x="3552" y="236"/>
                    <a:pt x="3552" y="236"/>
                  </a:cubicBezTo>
                  <a:cubicBezTo>
                    <a:pt x="3525" y="222"/>
                    <a:pt x="3497" y="215"/>
                    <a:pt x="3467" y="215"/>
                  </a:cubicBezTo>
                  <a:cubicBezTo>
                    <a:pt x="3421" y="215"/>
                    <a:pt x="3385" y="236"/>
                    <a:pt x="3357" y="277"/>
                  </a:cubicBezTo>
                  <a:cubicBezTo>
                    <a:pt x="3330" y="318"/>
                    <a:pt x="3316" y="373"/>
                    <a:pt x="3316" y="441"/>
                  </a:cubicBezTo>
                  <a:cubicBezTo>
                    <a:pt x="3317" y="441"/>
                    <a:pt x="3317" y="441"/>
                    <a:pt x="3317" y="441"/>
                  </a:cubicBezTo>
                  <a:cubicBezTo>
                    <a:pt x="3341" y="392"/>
                    <a:pt x="3380" y="368"/>
                    <a:pt x="3435" y="368"/>
                  </a:cubicBezTo>
                  <a:cubicBezTo>
                    <a:pt x="3480" y="368"/>
                    <a:pt x="3516" y="383"/>
                    <a:pt x="3543" y="412"/>
                  </a:cubicBezTo>
                  <a:cubicBezTo>
                    <a:pt x="3570" y="441"/>
                    <a:pt x="3584" y="480"/>
                    <a:pt x="3584" y="528"/>
                  </a:cubicBezTo>
                  <a:close/>
                  <a:moveTo>
                    <a:pt x="3523" y="535"/>
                  </a:moveTo>
                  <a:cubicBezTo>
                    <a:pt x="3523" y="499"/>
                    <a:pt x="3514" y="471"/>
                    <a:pt x="3496" y="450"/>
                  </a:cubicBezTo>
                  <a:cubicBezTo>
                    <a:pt x="3479" y="429"/>
                    <a:pt x="3454" y="418"/>
                    <a:pt x="3422" y="418"/>
                  </a:cubicBezTo>
                  <a:cubicBezTo>
                    <a:pt x="3393" y="418"/>
                    <a:pt x="3369" y="428"/>
                    <a:pt x="3349" y="449"/>
                  </a:cubicBezTo>
                  <a:cubicBezTo>
                    <a:pt x="3329" y="469"/>
                    <a:pt x="3319" y="494"/>
                    <a:pt x="3319" y="523"/>
                  </a:cubicBezTo>
                  <a:cubicBezTo>
                    <a:pt x="3319" y="559"/>
                    <a:pt x="3329" y="590"/>
                    <a:pt x="3349" y="614"/>
                  </a:cubicBezTo>
                  <a:cubicBezTo>
                    <a:pt x="3368" y="639"/>
                    <a:pt x="3393" y="651"/>
                    <a:pt x="3423" y="651"/>
                  </a:cubicBezTo>
                  <a:cubicBezTo>
                    <a:pt x="3453" y="651"/>
                    <a:pt x="3477" y="640"/>
                    <a:pt x="3495" y="619"/>
                  </a:cubicBezTo>
                  <a:cubicBezTo>
                    <a:pt x="3514" y="597"/>
                    <a:pt x="3523" y="570"/>
                    <a:pt x="3523" y="535"/>
                  </a:cubicBezTo>
                  <a:close/>
                  <a:moveTo>
                    <a:pt x="3933" y="534"/>
                  </a:moveTo>
                  <a:cubicBezTo>
                    <a:pt x="3933" y="584"/>
                    <a:pt x="3916" y="625"/>
                    <a:pt x="3883" y="655"/>
                  </a:cubicBezTo>
                  <a:cubicBezTo>
                    <a:pt x="3849" y="686"/>
                    <a:pt x="3805" y="701"/>
                    <a:pt x="3749" y="701"/>
                  </a:cubicBezTo>
                  <a:cubicBezTo>
                    <a:pt x="3701" y="701"/>
                    <a:pt x="3665" y="694"/>
                    <a:pt x="3642" y="680"/>
                  </a:cubicBezTo>
                  <a:cubicBezTo>
                    <a:pt x="3642" y="617"/>
                    <a:pt x="3642" y="617"/>
                    <a:pt x="3642" y="617"/>
                  </a:cubicBezTo>
                  <a:cubicBezTo>
                    <a:pt x="3677" y="639"/>
                    <a:pt x="3713" y="651"/>
                    <a:pt x="3750" y="651"/>
                  </a:cubicBezTo>
                  <a:cubicBezTo>
                    <a:pt x="3786" y="651"/>
                    <a:pt x="3816" y="641"/>
                    <a:pt x="3838" y="620"/>
                  </a:cubicBezTo>
                  <a:cubicBezTo>
                    <a:pt x="3861" y="600"/>
                    <a:pt x="3872" y="572"/>
                    <a:pt x="3872" y="538"/>
                  </a:cubicBezTo>
                  <a:cubicBezTo>
                    <a:pt x="3872" y="504"/>
                    <a:pt x="3861" y="477"/>
                    <a:pt x="3838" y="458"/>
                  </a:cubicBezTo>
                  <a:cubicBezTo>
                    <a:pt x="3815" y="439"/>
                    <a:pt x="3782" y="429"/>
                    <a:pt x="3739" y="429"/>
                  </a:cubicBezTo>
                  <a:cubicBezTo>
                    <a:pt x="3705" y="429"/>
                    <a:pt x="3676" y="431"/>
                    <a:pt x="3651" y="434"/>
                  </a:cubicBezTo>
                  <a:cubicBezTo>
                    <a:pt x="3669" y="174"/>
                    <a:pt x="3669" y="174"/>
                    <a:pt x="3669" y="174"/>
                  </a:cubicBezTo>
                  <a:cubicBezTo>
                    <a:pt x="3909" y="174"/>
                    <a:pt x="3909" y="174"/>
                    <a:pt x="3909" y="174"/>
                  </a:cubicBezTo>
                  <a:cubicBezTo>
                    <a:pt x="3909" y="227"/>
                    <a:pt x="3909" y="227"/>
                    <a:pt x="3909" y="227"/>
                  </a:cubicBezTo>
                  <a:cubicBezTo>
                    <a:pt x="3721" y="227"/>
                    <a:pt x="3721" y="227"/>
                    <a:pt x="3721" y="227"/>
                  </a:cubicBezTo>
                  <a:cubicBezTo>
                    <a:pt x="3710" y="380"/>
                    <a:pt x="3710" y="380"/>
                    <a:pt x="3710" y="380"/>
                  </a:cubicBezTo>
                  <a:cubicBezTo>
                    <a:pt x="3758" y="378"/>
                    <a:pt x="3758" y="378"/>
                    <a:pt x="3758" y="378"/>
                  </a:cubicBezTo>
                  <a:cubicBezTo>
                    <a:pt x="3812" y="378"/>
                    <a:pt x="3854" y="391"/>
                    <a:pt x="3886" y="419"/>
                  </a:cubicBezTo>
                  <a:cubicBezTo>
                    <a:pt x="3917" y="446"/>
                    <a:pt x="3933" y="484"/>
                    <a:pt x="3933" y="534"/>
                  </a:cubicBezTo>
                  <a:close/>
                  <a:moveTo>
                    <a:pt x="722" y="793"/>
                  </a:moveTo>
                  <a:cubicBezTo>
                    <a:pt x="722" y="793"/>
                    <a:pt x="722" y="793"/>
                    <a:pt x="722" y="793"/>
                  </a:cubicBezTo>
                  <a:cubicBezTo>
                    <a:pt x="722" y="74"/>
                    <a:pt x="722" y="74"/>
                    <a:pt x="722" y="74"/>
                  </a:cubicBezTo>
                  <a:cubicBezTo>
                    <a:pt x="464" y="0"/>
                    <a:pt x="464" y="0"/>
                    <a:pt x="464" y="0"/>
                  </a:cubicBezTo>
                  <a:cubicBezTo>
                    <a:pt x="2" y="174"/>
                    <a:pt x="2" y="174"/>
                    <a:pt x="2"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1" y="694"/>
                    <a:pt x="1" y="694"/>
                    <a:pt x="1" y="694"/>
                  </a:cubicBezTo>
                  <a:cubicBezTo>
                    <a:pt x="464" y="865"/>
                    <a:pt x="464" y="865"/>
                    <a:pt x="464" y="865"/>
                  </a:cubicBezTo>
                  <a:cubicBezTo>
                    <a:pt x="464" y="865"/>
                    <a:pt x="464" y="865"/>
                    <a:pt x="464" y="865"/>
                  </a:cubicBezTo>
                  <a:cubicBezTo>
                    <a:pt x="722" y="794"/>
                    <a:pt x="722" y="794"/>
                    <a:pt x="722" y="794"/>
                  </a:cubicBezTo>
                  <a:cubicBezTo>
                    <a:pt x="722" y="793"/>
                    <a:pt x="722" y="793"/>
                    <a:pt x="722" y="793"/>
                  </a:cubicBezTo>
                  <a:close/>
                </a:path>
              </a:pathLst>
            </a:custGeom>
            <a:solidFill>
              <a:schemeClr val="bg1"/>
            </a:solidFill>
            <a:ln>
              <a:noFill/>
            </a:ln>
          </p:spPr>
          <p:txBody>
            <a:bodyPr vert="horz" wrap="square" lIns="89618" tIns="44809" rIns="89618" bIns="44809" numCol="1" anchor="t" anchorCtr="0" compatLnSpc="1">
              <a:prstTxWarp prst="textNoShape">
                <a:avLst/>
              </a:prstTxWarp>
            </a:bodyPr>
            <a:lstStyle/>
            <a:p>
              <a:pPr defTabSz="914191">
                <a:defRPr/>
              </a:pPr>
              <a:endParaRPr lang="en-US" sz="1764" kern="0" dirty="0">
                <a:solidFill>
                  <a:srgbClr val="505050"/>
                </a:solidFill>
              </a:endParaRPr>
            </a:p>
          </p:txBody>
        </p:sp>
        <p:grpSp>
          <p:nvGrpSpPr>
            <p:cNvPr id="52" name="Group 25"/>
            <p:cNvGrpSpPr>
              <a:grpSpLocks noChangeAspect="1"/>
            </p:cNvGrpSpPr>
            <p:nvPr/>
          </p:nvGrpSpPr>
          <p:grpSpPr bwMode="auto">
            <a:xfrm>
              <a:off x="-2587730" y="-120329"/>
              <a:ext cx="1159854" cy="140556"/>
              <a:chOff x="-1699" y="1488"/>
              <a:chExt cx="11074" cy="1342"/>
            </a:xfrm>
            <a:solidFill>
              <a:schemeClr val="accent6"/>
            </a:solidFill>
          </p:grpSpPr>
          <p:sp>
            <p:nvSpPr>
              <p:cNvPr id="53" name="Freeform 26"/>
              <p:cNvSpPr>
                <a:spLocks/>
              </p:cNvSpPr>
              <p:nvPr/>
            </p:nvSpPr>
            <p:spPr bwMode="auto">
              <a:xfrm>
                <a:off x="-1699" y="1578"/>
                <a:ext cx="1250" cy="1231"/>
              </a:xfrm>
              <a:custGeom>
                <a:avLst/>
                <a:gdLst>
                  <a:gd name="T0" fmla="*/ 1250 w 1250"/>
                  <a:gd name="T1" fmla="*/ 1231 h 1231"/>
                  <a:gd name="T2" fmla="*/ 1109 w 1250"/>
                  <a:gd name="T3" fmla="*/ 1231 h 1231"/>
                  <a:gd name="T4" fmla="*/ 1109 w 1250"/>
                  <a:gd name="T5" fmla="*/ 228 h 1231"/>
                  <a:gd name="T6" fmla="*/ 1104 w 1250"/>
                  <a:gd name="T7" fmla="*/ 228 h 1231"/>
                  <a:gd name="T8" fmla="*/ 662 w 1250"/>
                  <a:gd name="T9" fmla="*/ 1231 h 1231"/>
                  <a:gd name="T10" fmla="*/ 591 w 1250"/>
                  <a:gd name="T11" fmla="*/ 1231 h 1231"/>
                  <a:gd name="T12" fmla="*/ 142 w 1250"/>
                  <a:gd name="T13" fmla="*/ 223 h 1231"/>
                  <a:gd name="T14" fmla="*/ 139 w 1250"/>
                  <a:gd name="T15" fmla="*/ 223 h 1231"/>
                  <a:gd name="T16" fmla="*/ 139 w 1250"/>
                  <a:gd name="T17" fmla="*/ 1231 h 1231"/>
                  <a:gd name="T18" fmla="*/ 0 w 1250"/>
                  <a:gd name="T19" fmla="*/ 1231 h 1231"/>
                  <a:gd name="T20" fmla="*/ 0 w 1250"/>
                  <a:gd name="T21" fmla="*/ 0 h 1231"/>
                  <a:gd name="T22" fmla="*/ 191 w 1250"/>
                  <a:gd name="T23" fmla="*/ 0 h 1231"/>
                  <a:gd name="T24" fmla="*/ 622 w 1250"/>
                  <a:gd name="T25" fmla="*/ 986 h 1231"/>
                  <a:gd name="T26" fmla="*/ 629 w 1250"/>
                  <a:gd name="T27" fmla="*/ 986 h 1231"/>
                  <a:gd name="T28" fmla="*/ 1071 w 1250"/>
                  <a:gd name="T29" fmla="*/ 0 h 1231"/>
                  <a:gd name="T30" fmla="*/ 1250 w 1250"/>
                  <a:gd name="T31" fmla="*/ 0 h 1231"/>
                  <a:gd name="T32" fmla="*/ 1250 w 1250"/>
                  <a:gd name="T33" fmla="*/ 1231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0" h="1231">
                    <a:moveTo>
                      <a:pt x="1250" y="1231"/>
                    </a:moveTo>
                    <a:lnTo>
                      <a:pt x="1109" y="1231"/>
                    </a:lnTo>
                    <a:lnTo>
                      <a:pt x="1109" y="228"/>
                    </a:lnTo>
                    <a:lnTo>
                      <a:pt x="1104" y="228"/>
                    </a:lnTo>
                    <a:lnTo>
                      <a:pt x="662" y="1231"/>
                    </a:lnTo>
                    <a:lnTo>
                      <a:pt x="591" y="1231"/>
                    </a:lnTo>
                    <a:lnTo>
                      <a:pt x="142" y="223"/>
                    </a:lnTo>
                    <a:lnTo>
                      <a:pt x="139" y="223"/>
                    </a:lnTo>
                    <a:lnTo>
                      <a:pt x="139" y="1231"/>
                    </a:lnTo>
                    <a:lnTo>
                      <a:pt x="0" y="1231"/>
                    </a:lnTo>
                    <a:lnTo>
                      <a:pt x="0" y="0"/>
                    </a:lnTo>
                    <a:lnTo>
                      <a:pt x="191" y="0"/>
                    </a:lnTo>
                    <a:lnTo>
                      <a:pt x="622" y="986"/>
                    </a:lnTo>
                    <a:lnTo>
                      <a:pt x="629" y="986"/>
                    </a:lnTo>
                    <a:lnTo>
                      <a:pt x="1071" y="0"/>
                    </a:lnTo>
                    <a:lnTo>
                      <a:pt x="1250" y="0"/>
                    </a:lnTo>
                    <a:lnTo>
                      <a:pt x="1250" y="123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sp>
            <p:nvSpPr>
              <p:cNvPr id="54" name="Freeform 27"/>
              <p:cNvSpPr>
                <a:spLocks noEditPoints="1"/>
              </p:cNvSpPr>
              <p:nvPr/>
            </p:nvSpPr>
            <p:spPr bwMode="auto">
              <a:xfrm>
                <a:off x="-222" y="1523"/>
                <a:ext cx="185" cy="1286"/>
              </a:xfrm>
              <a:custGeom>
                <a:avLst/>
                <a:gdLst>
                  <a:gd name="T0" fmla="*/ 78 w 78"/>
                  <a:gd name="T1" fmla="*/ 38 h 541"/>
                  <a:gd name="T2" fmla="*/ 67 w 78"/>
                  <a:gd name="T3" fmla="*/ 66 h 541"/>
                  <a:gd name="T4" fmla="*/ 39 w 78"/>
                  <a:gd name="T5" fmla="*/ 77 h 541"/>
                  <a:gd name="T6" fmla="*/ 12 w 78"/>
                  <a:gd name="T7" fmla="*/ 66 h 541"/>
                  <a:gd name="T8" fmla="*/ 0 w 78"/>
                  <a:gd name="T9" fmla="*/ 38 h 541"/>
                  <a:gd name="T10" fmla="*/ 11 w 78"/>
                  <a:gd name="T11" fmla="*/ 11 h 541"/>
                  <a:gd name="T12" fmla="*/ 39 w 78"/>
                  <a:gd name="T13" fmla="*/ 0 h 541"/>
                  <a:gd name="T14" fmla="*/ 67 w 78"/>
                  <a:gd name="T15" fmla="*/ 11 h 541"/>
                  <a:gd name="T16" fmla="*/ 78 w 78"/>
                  <a:gd name="T17" fmla="*/ 38 h 541"/>
                  <a:gd name="T18" fmla="*/ 68 w 78"/>
                  <a:gd name="T19" fmla="*/ 541 h 541"/>
                  <a:gd name="T20" fmla="*/ 9 w 78"/>
                  <a:gd name="T21" fmla="*/ 541 h 541"/>
                  <a:gd name="T22" fmla="*/ 9 w 78"/>
                  <a:gd name="T23" fmla="*/ 171 h 541"/>
                  <a:gd name="T24" fmla="*/ 68 w 78"/>
                  <a:gd name="T25" fmla="*/ 171 h 541"/>
                  <a:gd name="T26" fmla="*/ 68 w 78"/>
                  <a:gd name="T27" fmla="*/ 541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41">
                    <a:moveTo>
                      <a:pt x="78" y="38"/>
                    </a:moveTo>
                    <a:cubicBezTo>
                      <a:pt x="78" y="49"/>
                      <a:pt x="74" y="59"/>
                      <a:pt x="67" y="66"/>
                    </a:cubicBezTo>
                    <a:cubicBezTo>
                      <a:pt x="59" y="73"/>
                      <a:pt x="50" y="77"/>
                      <a:pt x="39" y="77"/>
                    </a:cubicBezTo>
                    <a:cubicBezTo>
                      <a:pt x="28" y="77"/>
                      <a:pt x="19" y="73"/>
                      <a:pt x="12" y="66"/>
                    </a:cubicBezTo>
                    <a:cubicBezTo>
                      <a:pt x="4" y="59"/>
                      <a:pt x="0" y="50"/>
                      <a:pt x="0" y="38"/>
                    </a:cubicBezTo>
                    <a:cubicBezTo>
                      <a:pt x="0" y="28"/>
                      <a:pt x="4" y="19"/>
                      <a:pt x="11" y="11"/>
                    </a:cubicBezTo>
                    <a:cubicBezTo>
                      <a:pt x="19" y="4"/>
                      <a:pt x="28" y="0"/>
                      <a:pt x="39" y="0"/>
                    </a:cubicBezTo>
                    <a:cubicBezTo>
                      <a:pt x="50" y="0"/>
                      <a:pt x="59" y="4"/>
                      <a:pt x="67" y="11"/>
                    </a:cubicBezTo>
                    <a:cubicBezTo>
                      <a:pt x="74" y="19"/>
                      <a:pt x="78" y="28"/>
                      <a:pt x="78" y="38"/>
                    </a:cubicBezTo>
                    <a:close/>
                    <a:moveTo>
                      <a:pt x="68" y="541"/>
                    </a:moveTo>
                    <a:cubicBezTo>
                      <a:pt x="9" y="541"/>
                      <a:pt x="9" y="541"/>
                      <a:pt x="9" y="541"/>
                    </a:cubicBezTo>
                    <a:cubicBezTo>
                      <a:pt x="9" y="171"/>
                      <a:pt x="9" y="171"/>
                      <a:pt x="9" y="171"/>
                    </a:cubicBezTo>
                    <a:cubicBezTo>
                      <a:pt x="68" y="171"/>
                      <a:pt x="68" y="171"/>
                      <a:pt x="68" y="171"/>
                    </a:cubicBezTo>
                    <a:lnTo>
                      <a:pt x="68" y="5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dirty="0">
                  <a:solidFill>
                    <a:srgbClr val="505050"/>
                  </a:solidFill>
                </a:endParaRPr>
              </a:p>
            </p:txBody>
          </p:sp>
          <p:sp>
            <p:nvSpPr>
              <p:cNvPr id="56" name="Freeform 28"/>
              <p:cNvSpPr>
                <a:spLocks/>
              </p:cNvSpPr>
              <p:nvPr/>
            </p:nvSpPr>
            <p:spPr bwMode="auto">
              <a:xfrm>
                <a:off x="100" y="1908"/>
                <a:ext cx="659" cy="922"/>
              </a:xfrm>
              <a:custGeom>
                <a:avLst/>
                <a:gdLst>
                  <a:gd name="T0" fmla="*/ 278 w 279"/>
                  <a:gd name="T1" fmla="*/ 362 h 388"/>
                  <a:gd name="T2" fmla="*/ 176 w 279"/>
                  <a:gd name="T3" fmla="*/ 388 h 388"/>
                  <a:gd name="T4" fmla="*/ 85 w 279"/>
                  <a:gd name="T5" fmla="*/ 365 h 388"/>
                  <a:gd name="T6" fmla="*/ 23 w 279"/>
                  <a:gd name="T7" fmla="*/ 299 h 388"/>
                  <a:gd name="T8" fmla="*/ 0 w 279"/>
                  <a:gd name="T9" fmla="*/ 203 h 388"/>
                  <a:gd name="T10" fmla="*/ 53 w 279"/>
                  <a:gd name="T11" fmla="*/ 56 h 388"/>
                  <a:gd name="T12" fmla="*/ 193 w 279"/>
                  <a:gd name="T13" fmla="*/ 0 h 388"/>
                  <a:gd name="T14" fmla="*/ 279 w 279"/>
                  <a:gd name="T15" fmla="*/ 19 h 388"/>
                  <a:gd name="T16" fmla="*/ 279 w 279"/>
                  <a:gd name="T17" fmla="*/ 80 h 388"/>
                  <a:gd name="T18" fmla="*/ 191 w 279"/>
                  <a:gd name="T19" fmla="*/ 51 h 388"/>
                  <a:gd name="T20" fmla="*/ 97 w 279"/>
                  <a:gd name="T21" fmla="*/ 92 h 388"/>
                  <a:gd name="T22" fmla="*/ 61 w 279"/>
                  <a:gd name="T23" fmla="*/ 198 h 388"/>
                  <a:gd name="T24" fmla="*/ 95 w 279"/>
                  <a:gd name="T25" fmla="*/ 300 h 388"/>
                  <a:gd name="T26" fmla="*/ 187 w 279"/>
                  <a:gd name="T27" fmla="*/ 338 h 388"/>
                  <a:gd name="T28" fmla="*/ 278 w 279"/>
                  <a:gd name="T29" fmla="*/ 306 h 388"/>
                  <a:gd name="T30" fmla="*/ 278 w 279"/>
                  <a:gd name="T31" fmla="*/ 36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9" h="388">
                    <a:moveTo>
                      <a:pt x="278" y="362"/>
                    </a:moveTo>
                    <a:cubicBezTo>
                      <a:pt x="249" y="380"/>
                      <a:pt x="215" y="388"/>
                      <a:pt x="176" y="388"/>
                    </a:cubicBezTo>
                    <a:cubicBezTo>
                      <a:pt x="143" y="388"/>
                      <a:pt x="112" y="381"/>
                      <a:pt x="85" y="365"/>
                    </a:cubicBezTo>
                    <a:cubicBezTo>
                      <a:pt x="59" y="349"/>
                      <a:pt x="38" y="327"/>
                      <a:pt x="23" y="299"/>
                    </a:cubicBezTo>
                    <a:cubicBezTo>
                      <a:pt x="8" y="271"/>
                      <a:pt x="0" y="239"/>
                      <a:pt x="0" y="203"/>
                    </a:cubicBezTo>
                    <a:cubicBezTo>
                      <a:pt x="0" y="142"/>
                      <a:pt x="18" y="93"/>
                      <a:pt x="53" y="56"/>
                    </a:cubicBezTo>
                    <a:cubicBezTo>
                      <a:pt x="88" y="19"/>
                      <a:pt x="135" y="0"/>
                      <a:pt x="193" y="0"/>
                    </a:cubicBezTo>
                    <a:cubicBezTo>
                      <a:pt x="225" y="0"/>
                      <a:pt x="254" y="6"/>
                      <a:pt x="279" y="19"/>
                    </a:cubicBezTo>
                    <a:cubicBezTo>
                      <a:pt x="279" y="80"/>
                      <a:pt x="279" y="80"/>
                      <a:pt x="279" y="80"/>
                    </a:cubicBezTo>
                    <a:cubicBezTo>
                      <a:pt x="251" y="60"/>
                      <a:pt x="222" y="51"/>
                      <a:pt x="191" y="51"/>
                    </a:cubicBezTo>
                    <a:cubicBezTo>
                      <a:pt x="152" y="51"/>
                      <a:pt x="121" y="64"/>
                      <a:pt x="97" y="92"/>
                    </a:cubicBezTo>
                    <a:cubicBezTo>
                      <a:pt x="73" y="119"/>
                      <a:pt x="61" y="154"/>
                      <a:pt x="61" y="198"/>
                    </a:cubicBezTo>
                    <a:cubicBezTo>
                      <a:pt x="61" y="241"/>
                      <a:pt x="72" y="275"/>
                      <a:pt x="95" y="300"/>
                    </a:cubicBezTo>
                    <a:cubicBezTo>
                      <a:pt x="118" y="325"/>
                      <a:pt x="149" y="338"/>
                      <a:pt x="187" y="338"/>
                    </a:cubicBezTo>
                    <a:cubicBezTo>
                      <a:pt x="219" y="338"/>
                      <a:pt x="250" y="327"/>
                      <a:pt x="278" y="306"/>
                    </a:cubicBezTo>
                    <a:lnTo>
                      <a:pt x="278" y="36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sp>
            <p:nvSpPr>
              <p:cNvPr id="57" name="Freeform 29"/>
              <p:cNvSpPr>
                <a:spLocks/>
              </p:cNvSpPr>
              <p:nvPr/>
            </p:nvSpPr>
            <p:spPr bwMode="auto">
              <a:xfrm>
                <a:off x="913" y="1913"/>
                <a:ext cx="456" cy="896"/>
              </a:xfrm>
              <a:custGeom>
                <a:avLst/>
                <a:gdLst>
                  <a:gd name="T0" fmla="*/ 193 w 193"/>
                  <a:gd name="T1" fmla="*/ 67 h 377"/>
                  <a:gd name="T2" fmla="*/ 148 w 193"/>
                  <a:gd name="T3" fmla="*/ 55 h 377"/>
                  <a:gd name="T4" fmla="*/ 84 w 193"/>
                  <a:gd name="T5" fmla="*/ 92 h 377"/>
                  <a:gd name="T6" fmla="*/ 59 w 193"/>
                  <a:gd name="T7" fmla="*/ 189 h 377"/>
                  <a:gd name="T8" fmla="*/ 59 w 193"/>
                  <a:gd name="T9" fmla="*/ 377 h 377"/>
                  <a:gd name="T10" fmla="*/ 0 w 193"/>
                  <a:gd name="T11" fmla="*/ 377 h 377"/>
                  <a:gd name="T12" fmla="*/ 0 w 193"/>
                  <a:gd name="T13" fmla="*/ 7 h 377"/>
                  <a:gd name="T14" fmla="*/ 59 w 193"/>
                  <a:gd name="T15" fmla="*/ 7 h 377"/>
                  <a:gd name="T16" fmla="*/ 59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0" y="67"/>
                      <a:pt x="84" y="92"/>
                    </a:cubicBezTo>
                    <a:cubicBezTo>
                      <a:pt x="68" y="117"/>
                      <a:pt x="59" y="149"/>
                      <a:pt x="59" y="189"/>
                    </a:cubicBezTo>
                    <a:cubicBezTo>
                      <a:pt x="59" y="377"/>
                      <a:pt x="59" y="377"/>
                      <a:pt x="59" y="377"/>
                    </a:cubicBezTo>
                    <a:cubicBezTo>
                      <a:pt x="0" y="377"/>
                      <a:pt x="0" y="377"/>
                      <a:pt x="0" y="377"/>
                    </a:cubicBezTo>
                    <a:cubicBezTo>
                      <a:pt x="0" y="7"/>
                      <a:pt x="0" y="7"/>
                      <a:pt x="0" y="7"/>
                    </a:cubicBezTo>
                    <a:cubicBezTo>
                      <a:pt x="59" y="7"/>
                      <a:pt x="59" y="7"/>
                      <a:pt x="59" y="7"/>
                    </a:cubicBezTo>
                    <a:cubicBezTo>
                      <a:pt x="59" y="83"/>
                      <a:pt x="59" y="83"/>
                      <a:pt x="59"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sp>
            <p:nvSpPr>
              <p:cNvPr id="58" name="Freeform 30"/>
              <p:cNvSpPr>
                <a:spLocks noEditPoints="1"/>
              </p:cNvSpPr>
              <p:nvPr/>
            </p:nvSpPr>
            <p:spPr bwMode="auto">
              <a:xfrm>
                <a:off x="1376" y="1908"/>
                <a:ext cx="863" cy="922"/>
              </a:xfrm>
              <a:custGeom>
                <a:avLst/>
                <a:gdLst>
                  <a:gd name="T0" fmla="*/ 365 w 365"/>
                  <a:gd name="T1" fmla="*/ 193 h 388"/>
                  <a:gd name="T2" fmla="*/ 315 w 365"/>
                  <a:gd name="T3" fmla="*/ 335 h 388"/>
                  <a:gd name="T4" fmla="*/ 181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1"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sp>
            <p:nvSpPr>
              <p:cNvPr id="59" name="Freeform 31"/>
              <p:cNvSpPr>
                <a:spLocks/>
              </p:cNvSpPr>
              <p:nvPr/>
            </p:nvSpPr>
            <p:spPr bwMode="auto">
              <a:xfrm>
                <a:off x="2341" y="1908"/>
                <a:ext cx="536" cy="922"/>
              </a:xfrm>
              <a:custGeom>
                <a:avLst/>
                <a:gdLst>
                  <a:gd name="T0" fmla="*/ 227 w 227"/>
                  <a:gd name="T1" fmla="*/ 280 h 388"/>
                  <a:gd name="T2" fmla="*/ 190 w 227"/>
                  <a:gd name="T3" fmla="*/ 358 h 388"/>
                  <a:gd name="T4" fmla="*/ 92 w 227"/>
                  <a:gd name="T5" fmla="*/ 388 h 388"/>
                  <a:gd name="T6" fmla="*/ 0 w 227"/>
                  <a:gd name="T7" fmla="*/ 366 h 388"/>
                  <a:gd name="T8" fmla="*/ 0 w 227"/>
                  <a:gd name="T9" fmla="*/ 302 h 388"/>
                  <a:gd name="T10" fmla="*/ 96 w 227"/>
                  <a:gd name="T11" fmla="*/ 338 h 388"/>
                  <a:gd name="T12" fmla="*/ 167 w 227"/>
                  <a:gd name="T13" fmla="*/ 286 h 388"/>
                  <a:gd name="T14" fmla="*/ 153 w 227"/>
                  <a:gd name="T15" fmla="*/ 252 h 388"/>
                  <a:gd name="T16" fmla="*/ 90 w 227"/>
                  <a:gd name="T17" fmla="*/ 216 h 388"/>
                  <a:gd name="T18" fmla="*/ 21 w 227"/>
                  <a:gd name="T19" fmla="*/ 171 h 388"/>
                  <a:gd name="T20" fmla="*/ 1 w 227"/>
                  <a:gd name="T21" fmla="*/ 107 h 388"/>
                  <a:gd name="T22" fmla="*/ 38 w 227"/>
                  <a:gd name="T23" fmla="*/ 31 h 388"/>
                  <a:gd name="T24" fmla="*/ 131 w 227"/>
                  <a:gd name="T25" fmla="*/ 0 h 388"/>
                  <a:gd name="T26" fmla="*/ 210 w 227"/>
                  <a:gd name="T27" fmla="*/ 17 h 388"/>
                  <a:gd name="T28" fmla="*/ 210 w 227"/>
                  <a:gd name="T29" fmla="*/ 77 h 388"/>
                  <a:gd name="T30" fmla="*/ 126 w 227"/>
                  <a:gd name="T31" fmla="*/ 51 h 388"/>
                  <a:gd name="T32" fmla="*/ 79 w 227"/>
                  <a:gd name="T33" fmla="*/ 65 h 388"/>
                  <a:gd name="T34" fmla="*/ 61 w 227"/>
                  <a:gd name="T35" fmla="*/ 102 h 388"/>
                  <a:gd name="T36" fmla="*/ 75 w 227"/>
                  <a:gd name="T37" fmla="*/ 140 h 388"/>
                  <a:gd name="T38" fmla="*/ 132 w 227"/>
                  <a:gd name="T39" fmla="*/ 171 h 388"/>
                  <a:gd name="T40" fmla="*/ 206 w 227"/>
                  <a:gd name="T41" fmla="*/ 218 h 388"/>
                  <a:gd name="T42" fmla="*/ 227 w 227"/>
                  <a:gd name="T43" fmla="*/ 28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8">
                    <a:moveTo>
                      <a:pt x="227" y="280"/>
                    </a:moveTo>
                    <a:cubicBezTo>
                      <a:pt x="227" y="312"/>
                      <a:pt x="215" y="338"/>
                      <a:pt x="190" y="358"/>
                    </a:cubicBezTo>
                    <a:cubicBezTo>
                      <a:pt x="166" y="378"/>
                      <a:pt x="133" y="388"/>
                      <a:pt x="92" y="388"/>
                    </a:cubicBezTo>
                    <a:cubicBezTo>
                      <a:pt x="57" y="388"/>
                      <a:pt x="26" y="381"/>
                      <a:pt x="0" y="366"/>
                    </a:cubicBezTo>
                    <a:cubicBezTo>
                      <a:pt x="0" y="302"/>
                      <a:pt x="0" y="302"/>
                      <a:pt x="0" y="302"/>
                    </a:cubicBezTo>
                    <a:cubicBezTo>
                      <a:pt x="29" y="326"/>
                      <a:pt x="61" y="338"/>
                      <a:pt x="96" y="338"/>
                    </a:cubicBezTo>
                    <a:cubicBezTo>
                      <a:pt x="143" y="338"/>
                      <a:pt x="167" y="320"/>
                      <a:pt x="167" y="286"/>
                    </a:cubicBezTo>
                    <a:cubicBezTo>
                      <a:pt x="167" y="272"/>
                      <a:pt x="162" y="261"/>
                      <a:pt x="153" y="252"/>
                    </a:cubicBezTo>
                    <a:cubicBezTo>
                      <a:pt x="144" y="243"/>
                      <a:pt x="123" y="231"/>
                      <a:pt x="90" y="216"/>
                    </a:cubicBezTo>
                    <a:cubicBezTo>
                      <a:pt x="58" y="202"/>
                      <a:pt x="34" y="187"/>
                      <a:pt x="21" y="171"/>
                    </a:cubicBezTo>
                    <a:cubicBezTo>
                      <a:pt x="7" y="155"/>
                      <a:pt x="1" y="134"/>
                      <a:pt x="1" y="107"/>
                    </a:cubicBezTo>
                    <a:cubicBezTo>
                      <a:pt x="1" y="77"/>
                      <a:pt x="13" y="51"/>
                      <a:pt x="38" y="31"/>
                    </a:cubicBezTo>
                    <a:cubicBezTo>
                      <a:pt x="62" y="10"/>
                      <a:pt x="93" y="0"/>
                      <a:pt x="131" y="0"/>
                    </a:cubicBezTo>
                    <a:cubicBezTo>
                      <a:pt x="160" y="0"/>
                      <a:pt x="187" y="6"/>
                      <a:pt x="210" y="17"/>
                    </a:cubicBezTo>
                    <a:cubicBezTo>
                      <a:pt x="210" y="77"/>
                      <a:pt x="210" y="77"/>
                      <a:pt x="210" y="77"/>
                    </a:cubicBezTo>
                    <a:cubicBezTo>
                      <a:pt x="186" y="59"/>
                      <a:pt x="158" y="51"/>
                      <a:pt x="126" y="51"/>
                    </a:cubicBezTo>
                    <a:cubicBezTo>
                      <a:pt x="107" y="51"/>
                      <a:pt x="91" y="55"/>
                      <a:pt x="79" y="65"/>
                    </a:cubicBezTo>
                    <a:cubicBezTo>
                      <a:pt x="67" y="75"/>
                      <a:pt x="61" y="87"/>
                      <a:pt x="61" y="102"/>
                    </a:cubicBezTo>
                    <a:cubicBezTo>
                      <a:pt x="61" y="119"/>
                      <a:pt x="66" y="131"/>
                      <a:pt x="75" y="140"/>
                    </a:cubicBezTo>
                    <a:cubicBezTo>
                      <a:pt x="84" y="149"/>
                      <a:pt x="103" y="159"/>
                      <a:pt x="132" y="171"/>
                    </a:cubicBezTo>
                    <a:cubicBezTo>
                      <a:pt x="167" y="186"/>
                      <a:pt x="192" y="202"/>
                      <a:pt x="206" y="218"/>
                    </a:cubicBezTo>
                    <a:cubicBezTo>
                      <a:pt x="220" y="235"/>
                      <a:pt x="227" y="255"/>
                      <a:pt x="227" y="28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sp>
            <p:nvSpPr>
              <p:cNvPr id="60" name="Freeform 32"/>
              <p:cNvSpPr>
                <a:spLocks noEditPoints="1"/>
              </p:cNvSpPr>
              <p:nvPr/>
            </p:nvSpPr>
            <p:spPr bwMode="auto">
              <a:xfrm>
                <a:off x="2960" y="1908"/>
                <a:ext cx="863" cy="922"/>
              </a:xfrm>
              <a:custGeom>
                <a:avLst/>
                <a:gdLst>
                  <a:gd name="T0" fmla="*/ 365 w 365"/>
                  <a:gd name="T1" fmla="*/ 193 h 388"/>
                  <a:gd name="T2" fmla="*/ 315 w 365"/>
                  <a:gd name="T3" fmla="*/ 335 h 388"/>
                  <a:gd name="T4" fmla="*/ 180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0"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sp>
            <p:nvSpPr>
              <p:cNvPr id="61" name="Freeform 33"/>
              <p:cNvSpPr>
                <a:spLocks/>
              </p:cNvSpPr>
              <p:nvPr/>
            </p:nvSpPr>
            <p:spPr bwMode="auto">
              <a:xfrm>
                <a:off x="3856" y="1488"/>
                <a:ext cx="529" cy="1321"/>
              </a:xfrm>
              <a:custGeom>
                <a:avLst/>
                <a:gdLst>
                  <a:gd name="T0" fmla="*/ 224 w 224"/>
                  <a:gd name="T1" fmla="*/ 60 h 556"/>
                  <a:gd name="T2" fmla="*/ 184 w 224"/>
                  <a:gd name="T3" fmla="*/ 50 h 556"/>
                  <a:gd name="T4" fmla="*/ 122 w 224"/>
                  <a:gd name="T5" fmla="*/ 129 h 556"/>
                  <a:gd name="T6" fmla="*/ 122 w 224"/>
                  <a:gd name="T7" fmla="*/ 186 h 556"/>
                  <a:gd name="T8" fmla="*/ 209 w 224"/>
                  <a:gd name="T9" fmla="*/ 186 h 556"/>
                  <a:gd name="T10" fmla="*/ 209 w 224"/>
                  <a:gd name="T11" fmla="*/ 236 h 556"/>
                  <a:gd name="T12" fmla="*/ 122 w 224"/>
                  <a:gd name="T13" fmla="*/ 236 h 556"/>
                  <a:gd name="T14" fmla="*/ 122 w 224"/>
                  <a:gd name="T15" fmla="*/ 556 h 556"/>
                  <a:gd name="T16" fmla="*/ 63 w 224"/>
                  <a:gd name="T17" fmla="*/ 556 h 556"/>
                  <a:gd name="T18" fmla="*/ 63 w 224"/>
                  <a:gd name="T19" fmla="*/ 236 h 556"/>
                  <a:gd name="T20" fmla="*/ 0 w 224"/>
                  <a:gd name="T21" fmla="*/ 236 h 556"/>
                  <a:gd name="T22" fmla="*/ 0 w 224"/>
                  <a:gd name="T23" fmla="*/ 186 h 556"/>
                  <a:gd name="T24" fmla="*/ 63 w 224"/>
                  <a:gd name="T25" fmla="*/ 186 h 556"/>
                  <a:gd name="T26" fmla="*/ 63 w 224"/>
                  <a:gd name="T27" fmla="*/ 126 h 556"/>
                  <a:gd name="T28" fmla="*/ 96 w 224"/>
                  <a:gd name="T29" fmla="*/ 35 h 556"/>
                  <a:gd name="T30" fmla="*/ 181 w 224"/>
                  <a:gd name="T31" fmla="*/ 0 h 556"/>
                  <a:gd name="T32" fmla="*/ 224 w 224"/>
                  <a:gd name="T33" fmla="*/ 7 h 556"/>
                  <a:gd name="T34" fmla="*/ 224 w 224"/>
                  <a:gd name="T35" fmla="*/ 6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556">
                    <a:moveTo>
                      <a:pt x="224" y="60"/>
                    </a:moveTo>
                    <a:cubicBezTo>
                      <a:pt x="212" y="54"/>
                      <a:pt x="199" y="50"/>
                      <a:pt x="184" y="50"/>
                    </a:cubicBezTo>
                    <a:cubicBezTo>
                      <a:pt x="143" y="50"/>
                      <a:pt x="122" y="77"/>
                      <a:pt x="122" y="129"/>
                    </a:cubicBezTo>
                    <a:cubicBezTo>
                      <a:pt x="122" y="186"/>
                      <a:pt x="122" y="186"/>
                      <a:pt x="122" y="186"/>
                    </a:cubicBezTo>
                    <a:cubicBezTo>
                      <a:pt x="209" y="186"/>
                      <a:pt x="209" y="186"/>
                      <a:pt x="209" y="186"/>
                    </a:cubicBezTo>
                    <a:cubicBezTo>
                      <a:pt x="209" y="236"/>
                      <a:pt x="209" y="236"/>
                      <a:pt x="209" y="236"/>
                    </a:cubicBezTo>
                    <a:cubicBezTo>
                      <a:pt x="122" y="236"/>
                      <a:pt x="122" y="236"/>
                      <a:pt x="122" y="236"/>
                    </a:cubicBezTo>
                    <a:cubicBezTo>
                      <a:pt x="122" y="556"/>
                      <a:pt x="122" y="556"/>
                      <a:pt x="122" y="556"/>
                    </a:cubicBezTo>
                    <a:cubicBezTo>
                      <a:pt x="63" y="556"/>
                      <a:pt x="63" y="556"/>
                      <a:pt x="63" y="556"/>
                    </a:cubicBezTo>
                    <a:cubicBezTo>
                      <a:pt x="63" y="236"/>
                      <a:pt x="63" y="236"/>
                      <a:pt x="63" y="236"/>
                    </a:cubicBezTo>
                    <a:cubicBezTo>
                      <a:pt x="0" y="236"/>
                      <a:pt x="0" y="236"/>
                      <a:pt x="0" y="236"/>
                    </a:cubicBezTo>
                    <a:cubicBezTo>
                      <a:pt x="0" y="186"/>
                      <a:pt x="0" y="186"/>
                      <a:pt x="0" y="186"/>
                    </a:cubicBezTo>
                    <a:cubicBezTo>
                      <a:pt x="63" y="186"/>
                      <a:pt x="63" y="186"/>
                      <a:pt x="63" y="186"/>
                    </a:cubicBezTo>
                    <a:cubicBezTo>
                      <a:pt x="63" y="126"/>
                      <a:pt x="63" y="126"/>
                      <a:pt x="63" y="126"/>
                    </a:cubicBezTo>
                    <a:cubicBezTo>
                      <a:pt x="63" y="88"/>
                      <a:pt x="74" y="58"/>
                      <a:pt x="96" y="35"/>
                    </a:cubicBezTo>
                    <a:cubicBezTo>
                      <a:pt x="118" y="12"/>
                      <a:pt x="146" y="0"/>
                      <a:pt x="181" y="0"/>
                    </a:cubicBezTo>
                    <a:cubicBezTo>
                      <a:pt x="199" y="0"/>
                      <a:pt x="213" y="2"/>
                      <a:pt x="224" y="7"/>
                    </a:cubicBezTo>
                    <a:lnTo>
                      <a:pt x="224" y="6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sp>
            <p:nvSpPr>
              <p:cNvPr id="62" name="Freeform 34"/>
              <p:cNvSpPr>
                <a:spLocks/>
              </p:cNvSpPr>
              <p:nvPr/>
            </p:nvSpPr>
            <p:spPr bwMode="auto">
              <a:xfrm>
                <a:off x="4338" y="1668"/>
                <a:ext cx="513" cy="1162"/>
              </a:xfrm>
              <a:custGeom>
                <a:avLst/>
                <a:gdLst>
                  <a:gd name="T0" fmla="*/ 217 w 217"/>
                  <a:gd name="T1" fmla="*/ 477 h 489"/>
                  <a:gd name="T2" fmla="*/ 161 w 217"/>
                  <a:gd name="T3" fmla="*/ 489 h 489"/>
                  <a:gd name="T4" fmla="*/ 64 w 217"/>
                  <a:gd name="T5" fmla="*/ 379 h 489"/>
                  <a:gd name="T6" fmla="*/ 64 w 217"/>
                  <a:gd name="T7" fmla="*/ 160 h 489"/>
                  <a:gd name="T8" fmla="*/ 0 w 217"/>
                  <a:gd name="T9" fmla="*/ 160 h 489"/>
                  <a:gd name="T10" fmla="*/ 0 w 217"/>
                  <a:gd name="T11" fmla="*/ 110 h 489"/>
                  <a:gd name="T12" fmla="*/ 64 w 217"/>
                  <a:gd name="T13" fmla="*/ 110 h 489"/>
                  <a:gd name="T14" fmla="*/ 64 w 217"/>
                  <a:gd name="T15" fmla="*/ 20 h 489"/>
                  <a:gd name="T16" fmla="*/ 123 w 217"/>
                  <a:gd name="T17" fmla="*/ 0 h 489"/>
                  <a:gd name="T18" fmla="*/ 123 w 217"/>
                  <a:gd name="T19" fmla="*/ 110 h 489"/>
                  <a:gd name="T20" fmla="*/ 217 w 217"/>
                  <a:gd name="T21" fmla="*/ 110 h 489"/>
                  <a:gd name="T22" fmla="*/ 217 w 217"/>
                  <a:gd name="T23" fmla="*/ 160 h 489"/>
                  <a:gd name="T24" fmla="*/ 123 w 217"/>
                  <a:gd name="T25" fmla="*/ 160 h 489"/>
                  <a:gd name="T26" fmla="*/ 123 w 217"/>
                  <a:gd name="T27" fmla="*/ 369 h 489"/>
                  <a:gd name="T28" fmla="*/ 136 w 217"/>
                  <a:gd name="T29" fmla="*/ 422 h 489"/>
                  <a:gd name="T30" fmla="*/ 178 w 217"/>
                  <a:gd name="T31" fmla="*/ 438 h 489"/>
                  <a:gd name="T32" fmla="*/ 217 w 217"/>
                  <a:gd name="T33" fmla="*/ 426 h 489"/>
                  <a:gd name="T34" fmla="*/ 217 w 217"/>
                  <a:gd name="T35" fmla="*/ 477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489">
                    <a:moveTo>
                      <a:pt x="217" y="477"/>
                    </a:moveTo>
                    <a:cubicBezTo>
                      <a:pt x="203" y="485"/>
                      <a:pt x="184" y="489"/>
                      <a:pt x="161" y="489"/>
                    </a:cubicBezTo>
                    <a:cubicBezTo>
                      <a:pt x="96" y="489"/>
                      <a:pt x="64" y="452"/>
                      <a:pt x="64" y="379"/>
                    </a:cubicBezTo>
                    <a:cubicBezTo>
                      <a:pt x="64" y="160"/>
                      <a:pt x="64" y="160"/>
                      <a:pt x="64" y="160"/>
                    </a:cubicBezTo>
                    <a:cubicBezTo>
                      <a:pt x="0" y="160"/>
                      <a:pt x="0" y="160"/>
                      <a:pt x="0" y="160"/>
                    </a:cubicBezTo>
                    <a:cubicBezTo>
                      <a:pt x="0" y="110"/>
                      <a:pt x="0" y="110"/>
                      <a:pt x="0" y="110"/>
                    </a:cubicBezTo>
                    <a:cubicBezTo>
                      <a:pt x="64" y="110"/>
                      <a:pt x="64" y="110"/>
                      <a:pt x="64" y="110"/>
                    </a:cubicBezTo>
                    <a:cubicBezTo>
                      <a:pt x="64" y="20"/>
                      <a:pt x="64" y="20"/>
                      <a:pt x="64" y="20"/>
                    </a:cubicBezTo>
                    <a:cubicBezTo>
                      <a:pt x="123" y="0"/>
                      <a:pt x="123" y="0"/>
                      <a:pt x="123" y="0"/>
                    </a:cubicBezTo>
                    <a:cubicBezTo>
                      <a:pt x="123" y="110"/>
                      <a:pt x="123" y="110"/>
                      <a:pt x="123" y="110"/>
                    </a:cubicBezTo>
                    <a:cubicBezTo>
                      <a:pt x="217" y="110"/>
                      <a:pt x="217" y="110"/>
                      <a:pt x="217" y="110"/>
                    </a:cubicBezTo>
                    <a:cubicBezTo>
                      <a:pt x="217" y="160"/>
                      <a:pt x="217" y="160"/>
                      <a:pt x="217" y="160"/>
                    </a:cubicBezTo>
                    <a:cubicBezTo>
                      <a:pt x="123" y="160"/>
                      <a:pt x="123" y="160"/>
                      <a:pt x="123" y="160"/>
                    </a:cubicBezTo>
                    <a:cubicBezTo>
                      <a:pt x="123" y="369"/>
                      <a:pt x="123" y="369"/>
                      <a:pt x="123" y="369"/>
                    </a:cubicBezTo>
                    <a:cubicBezTo>
                      <a:pt x="123" y="394"/>
                      <a:pt x="128" y="412"/>
                      <a:pt x="136" y="422"/>
                    </a:cubicBezTo>
                    <a:cubicBezTo>
                      <a:pt x="145" y="433"/>
                      <a:pt x="159" y="438"/>
                      <a:pt x="178" y="438"/>
                    </a:cubicBezTo>
                    <a:cubicBezTo>
                      <a:pt x="193" y="438"/>
                      <a:pt x="206" y="434"/>
                      <a:pt x="217" y="426"/>
                    </a:cubicBezTo>
                    <a:lnTo>
                      <a:pt x="217" y="47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sp>
            <p:nvSpPr>
              <p:cNvPr id="63" name="Freeform 35"/>
              <p:cNvSpPr>
                <a:spLocks noEditPoints="1"/>
              </p:cNvSpPr>
              <p:nvPr/>
            </p:nvSpPr>
            <p:spPr bwMode="auto">
              <a:xfrm>
                <a:off x="5212" y="1578"/>
                <a:ext cx="1090" cy="1231"/>
              </a:xfrm>
              <a:custGeom>
                <a:avLst/>
                <a:gdLst>
                  <a:gd name="T0" fmla="*/ 1090 w 1090"/>
                  <a:gd name="T1" fmla="*/ 1231 h 1231"/>
                  <a:gd name="T2" fmla="*/ 932 w 1090"/>
                  <a:gd name="T3" fmla="*/ 1231 h 1231"/>
                  <a:gd name="T4" fmla="*/ 802 w 1090"/>
                  <a:gd name="T5" fmla="*/ 886 h 1231"/>
                  <a:gd name="T6" fmla="*/ 282 w 1090"/>
                  <a:gd name="T7" fmla="*/ 886 h 1231"/>
                  <a:gd name="T8" fmla="*/ 159 w 1090"/>
                  <a:gd name="T9" fmla="*/ 1231 h 1231"/>
                  <a:gd name="T10" fmla="*/ 0 w 1090"/>
                  <a:gd name="T11" fmla="*/ 1231 h 1231"/>
                  <a:gd name="T12" fmla="*/ 468 w 1090"/>
                  <a:gd name="T13" fmla="*/ 0 h 1231"/>
                  <a:gd name="T14" fmla="*/ 617 w 1090"/>
                  <a:gd name="T15" fmla="*/ 0 h 1231"/>
                  <a:gd name="T16" fmla="*/ 1090 w 1090"/>
                  <a:gd name="T17" fmla="*/ 1231 h 1231"/>
                  <a:gd name="T18" fmla="*/ 754 w 1090"/>
                  <a:gd name="T19" fmla="*/ 755 h 1231"/>
                  <a:gd name="T20" fmla="*/ 542 w 1090"/>
                  <a:gd name="T21" fmla="*/ 180 h 1231"/>
                  <a:gd name="T22" fmla="*/ 539 w 1090"/>
                  <a:gd name="T23" fmla="*/ 180 h 1231"/>
                  <a:gd name="T24" fmla="*/ 329 w 1090"/>
                  <a:gd name="T25" fmla="*/ 755 h 1231"/>
                  <a:gd name="T26" fmla="*/ 754 w 1090"/>
                  <a:gd name="T27" fmla="*/ 755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0" h="1231">
                    <a:moveTo>
                      <a:pt x="1090" y="1231"/>
                    </a:moveTo>
                    <a:lnTo>
                      <a:pt x="932" y="1231"/>
                    </a:lnTo>
                    <a:lnTo>
                      <a:pt x="802" y="886"/>
                    </a:lnTo>
                    <a:lnTo>
                      <a:pt x="282" y="886"/>
                    </a:lnTo>
                    <a:lnTo>
                      <a:pt x="159" y="1231"/>
                    </a:lnTo>
                    <a:lnTo>
                      <a:pt x="0" y="1231"/>
                    </a:lnTo>
                    <a:lnTo>
                      <a:pt x="468" y="0"/>
                    </a:lnTo>
                    <a:lnTo>
                      <a:pt x="617" y="0"/>
                    </a:lnTo>
                    <a:lnTo>
                      <a:pt x="1090" y="1231"/>
                    </a:lnTo>
                    <a:close/>
                    <a:moveTo>
                      <a:pt x="754" y="755"/>
                    </a:moveTo>
                    <a:lnTo>
                      <a:pt x="542" y="180"/>
                    </a:lnTo>
                    <a:lnTo>
                      <a:pt x="539" y="180"/>
                    </a:lnTo>
                    <a:lnTo>
                      <a:pt x="329" y="755"/>
                    </a:lnTo>
                    <a:lnTo>
                      <a:pt x="754" y="75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sp>
            <p:nvSpPr>
              <p:cNvPr id="64" name="Freeform 36"/>
              <p:cNvSpPr>
                <a:spLocks/>
              </p:cNvSpPr>
              <p:nvPr/>
            </p:nvSpPr>
            <p:spPr bwMode="auto">
              <a:xfrm>
                <a:off x="6363" y="1930"/>
                <a:ext cx="726" cy="879"/>
              </a:xfrm>
              <a:custGeom>
                <a:avLst/>
                <a:gdLst>
                  <a:gd name="T0" fmla="*/ 726 w 726"/>
                  <a:gd name="T1" fmla="*/ 40 h 879"/>
                  <a:gd name="T2" fmla="*/ 206 w 726"/>
                  <a:gd name="T3" fmla="*/ 760 h 879"/>
                  <a:gd name="T4" fmla="*/ 719 w 726"/>
                  <a:gd name="T5" fmla="*/ 760 h 879"/>
                  <a:gd name="T6" fmla="*/ 719 w 726"/>
                  <a:gd name="T7" fmla="*/ 879 h 879"/>
                  <a:gd name="T8" fmla="*/ 0 w 726"/>
                  <a:gd name="T9" fmla="*/ 879 h 879"/>
                  <a:gd name="T10" fmla="*/ 0 w 726"/>
                  <a:gd name="T11" fmla="*/ 836 h 879"/>
                  <a:gd name="T12" fmla="*/ 518 w 726"/>
                  <a:gd name="T13" fmla="*/ 118 h 879"/>
                  <a:gd name="T14" fmla="*/ 50 w 726"/>
                  <a:gd name="T15" fmla="*/ 118 h 879"/>
                  <a:gd name="T16" fmla="*/ 50 w 726"/>
                  <a:gd name="T17" fmla="*/ 0 h 879"/>
                  <a:gd name="T18" fmla="*/ 726 w 726"/>
                  <a:gd name="T19" fmla="*/ 0 h 879"/>
                  <a:gd name="T20" fmla="*/ 726 w 726"/>
                  <a:gd name="T21" fmla="*/ 40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6" h="879">
                    <a:moveTo>
                      <a:pt x="726" y="40"/>
                    </a:moveTo>
                    <a:lnTo>
                      <a:pt x="206" y="760"/>
                    </a:lnTo>
                    <a:lnTo>
                      <a:pt x="719" y="760"/>
                    </a:lnTo>
                    <a:lnTo>
                      <a:pt x="719" y="879"/>
                    </a:lnTo>
                    <a:lnTo>
                      <a:pt x="0" y="879"/>
                    </a:lnTo>
                    <a:lnTo>
                      <a:pt x="0" y="836"/>
                    </a:lnTo>
                    <a:lnTo>
                      <a:pt x="518" y="118"/>
                    </a:lnTo>
                    <a:lnTo>
                      <a:pt x="50" y="118"/>
                    </a:lnTo>
                    <a:lnTo>
                      <a:pt x="50" y="0"/>
                    </a:lnTo>
                    <a:lnTo>
                      <a:pt x="726" y="0"/>
                    </a:lnTo>
                    <a:lnTo>
                      <a:pt x="726" y="4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sp>
            <p:nvSpPr>
              <p:cNvPr id="65" name="Freeform 37"/>
              <p:cNvSpPr>
                <a:spLocks/>
              </p:cNvSpPr>
              <p:nvPr/>
            </p:nvSpPr>
            <p:spPr bwMode="auto">
              <a:xfrm>
                <a:off x="7193" y="1930"/>
                <a:ext cx="728" cy="900"/>
              </a:xfrm>
              <a:custGeom>
                <a:avLst/>
                <a:gdLst>
                  <a:gd name="T0" fmla="*/ 308 w 308"/>
                  <a:gd name="T1" fmla="*/ 370 h 379"/>
                  <a:gd name="T2" fmla="*/ 248 w 308"/>
                  <a:gd name="T3" fmla="*/ 370 h 379"/>
                  <a:gd name="T4" fmla="*/ 248 w 308"/>
                  <a:gd name="T5" fmla="*/ 312 h 379"/>
                  <a:gd name="T6" fmla="*/ 247 w 308"/>
                  <a:gd name="T7" fmla="*/ 312 h 379"/>
                  <a:gd name="T8" fmla="*/ 133 w 308"/>
                  <a:gd name="T9" fmla="*/ 379 h 379"/>
                  <a:gd name="T10" fmla="*/ 0 w 308"/>
                  <a:gd name="T11" fmla="*/ 221 h 379"/>
                  <a:gd name="T12" fmla="*/ 0 w 308"/>
                  <a:gd name="T13" fmla="*/ 0 h 379"/>
                  <a:gd name="T14" fmla="*/ 60 w 308"/>
                  <a:gd name="T15" fmla="*/ 0 h 379"/>
                  <a:gd name="T16" fmla="*/ 60 w 308"/>
                  <a:gd name="T17" fmla="*/ 212 h 379"/>
                  <a:gd name="T18" fmla="*/ 149 w 308"/>
                  <a:gd name="T19" fmla="*/ 329 h 379"/>
                  <a:gd name="T20" fmla="*/ 221 w 308"/>
                  <a:gd name="T21" fmla="*/ 297 h 379"/>
                  <a:gd name="T22" fmla="*/ 248 w 308"/>
                  <a:gd name="T23" fmla="*/ 213 h 379"/>
                  <a:gd name="T24" fmla="*/ 248 w 308"/>
                  <a:gd name="T25" fmla="*/ 0 h 379"/>
                  <a:gd name="T26" fmla="*/ 308 w 308"/>
                  <a:gd name="T27" fmla="*/ 0 h 379"/>
                  <a:gd name="T28" fmla="*/ 308 w 308"/>
                  <a:gd name="T29" fmla="*/ 37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8" h="379">
                    <a:moveTo>
                      <a:pt x="308" y="370"/>
                    </a:moveTo>
                    <a:cubicBezTo>
                      <a:pt x="248" y="370"/>
                      <a:pt x="248" y="370"/>
                      <a:pt x="248" y="370"/>
                    </a:cubicBezTo>
                    <a:cubicBezTo>
                      <a:pt x="248" y="312"/>
                      <a:pt x="248" y="312"/>
                      <a:pt x="248" y="312"/>
                    </a:cubicBezTo>
                    <a:cubicBezTo>
                      <a:pt x="247" y="312"/>
                      <a:pt x="247" y="312"/>
                      <a:pt x="247" y="312"/>
                    </a:cubicBezTo>
                    <a:cubicBezTo>
                      <a:pt x="222" y="357"/>
                      <a:pt x="184" y="379"/>
                      <a:pt x="133" y="379"/>
                    </a:cubicBezTo>
                    <a:cubicBezTo>
                      <a:pt x="45" y="379"/>
                      <a:pt x="0" y="327"/>
                      <a:pt x="0" y="221"/>
                    </a:cubicBezTo>
                    <a:cubicBezTo>
                      <a:pt x="0" y="0"/>
                      <a:pt x="0" y="0"/>
                      <a:pt x="0" y="0"/>
                    </a:cubicBezTo>
                    <a:cubicBezTo>
                      <a:pt x="60" y="0"/>
                      <a:pt x="60" y="0"/>
                      <a:pt x="60" y="0"/>
                    </a:cubicBezTo>
                    <a:cubicBezTo>
                      <a:pt x="60" y="212"/>
                      <a:pt x="60" y="212"/>
                      <a:pt x="60" y="212"/>
                    </a:cubicBezTo>
                    <a:cubicBezTo>
                      <a:pt x="60" y="290"/>
                      <a:pt x="90" y="329"/>
                      <a:pt x="149" y="329"/>
                    </a:cubicBezTo>
                    <a:cubicBezTo>
                      <a:pt x="179" y="329"/>
                      <a:pt x="203" y="318"/>
                      <a:pt x="221" y="297"/>
                    </a:cubicBezTo>
                    <a:cubicBezTo>
                      <a:pt x="239" y="275"/>
                      <a:pt x="248" y="248"/>
                      <a:pt x="248" y="213"/>
                    </a:cubicBezTo>
                    <a:cubicBezTo>
                      <a:pt x="248" y="0"/>
                      <a:pt x="248" y="0"/>
                      <a:pt x="248" y="0"/>
                    </a:cubicBezTo>
                    <a:cubicBezTo>
                      <a:pt x="308" y="0"/>
                      <a:pt x="308" y="0"/>
                      <a:pt x="308" y="0"/>
                    </a:cubicBezTo>
                    <a:lnTo>
                      <a:pt x="308" y="37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sp>
            <p:nvSpPr>
              <p:cNvPr id="66" name="Freeform 38"/>
              <p:cNvSpPr>
                <a:spLocks/>
              </p:cNvSpPr>
              <p:nvPr/>
            </p:nvSpPr>
            <p:spPr bwMode="auto">
              <a:xfrm>
                <a:off x="8148" y="1913"/>
                <a:ext cx="456" cy="896"/>
              </a:xfrm>
              <a:custGeom>
                <a:avLst/>
                <a:gdLst>
                  <a:gd name="T0" fmla="*/ 193 w 193"/>
                  <a:gd name="T1" fmla="*/ 67 h 377"/>
                  <a:gd name="T2" fmla="*/ 148 w 193"/>
                  <a:gd name="T3" fmla="*/ 55 h 377"/>
                  <a:gd name="T4" fmla="*/ 84 w 193"/>
                  <a:gd name="T5" fmla="*/ 92 h 377"/>
                  <a:gd name="T6" fmla="*/ 60 w 193"/>
                  <a:gd name="T7" fmla="*/ 189 h 377"/>
                  <a:gd name="T8" fmla="*/ 60 w 193"/>
                  <a:gd name="T9" fmla="*/ 377 h 377"/>
                  <a:gd name="T10" fmla="*/ 0 w 193"/>
                  <a:gd name="T11" fmla="*/ 377 h 377"/>
                  <a:gd name="T12" fmla="*/ 0 w 193"/>
                  <a:gd name="T13" fmla="*/ 7 h 377"/>
                  <a:gd name="T14" fmla="*/ 60 w 193"/>
                  <a:gd name="T15" fmla="*/ 7 h 377"/>
                  <a:gd name="T16" fmla="*/ 60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1" y="67"/>
                      <a:pt x="84" y="92"/>
                    </a:cubicBezTo>
                    <a:cubicBezTo>
                      <a:pt x="68" y="117"/>
                      <a:pt x="60" y="149"/>
                      <a:pt x="60" y="189"/>
                    </a:cubicBezTo>
                    <a:cubicBezTo>
                      <a:pt x="60" y="377"/>
                      <a:pt x="60" y="377"/>
                      <a:pt x="60" y="377"/>
                    </a:cubicBezTo>
                    <a:cubicBezTo>
                      <a:pt x="0" y="377"/>
                      <a:pt x="0" y="377"/>
                      <a:pt x="0" y="377"/>
                    </a:cubicBezTo>
                    <a:cubicBezTo>
                      <a:pt x="0" y="7"/>
                      <a:pt x="0" y="7"/>
                      <a:pt x="0" y="7"/>
                    </a:cubicBezTo>
                    <a:cubicBezTo>
                      <a:pt x="60" y="7"/>
                      <a:pt x="60" y="7"/>
                      <a:pt x="60" y="7"/>
                    </a:cubicBezTo>
                    <a:cubicBezTo>
                      <a:pt x="60" y="83"/>
                      <a:pt x="60" y="83"/>
                      <a:pt x="60"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sp>
            <p:nvSpPr>
              <p:cNvPr id="68" name="Freeform 39"/>
              <p:cNvSpPr>
                <a:spLocks noEditPoints="1"/>
              </p:cNvSpPr>
              <p:nvPr/>
            </p:nvSpPr>
            <p:spPr bwMode="auto">
              <a:xfrm>
                <a:off x="8611" y="1908"/>
                <a:ext cx="764" cy="922"/>
              </a:xfrm>
              <a:custGeom>
                <a:avLst/>
                <a:gdLst>
                  <a:gd name="T0" fmla="*/ 323 w 323"/>
                  <a:gd name="T1" fmla="*/ 209 h 388"/>
                  <a:gd name="T2" fmla="*/ 62 w 323"/>
                  <a:gd name="T3" fmla="*/ 209 h 388"/>
                  <a:gd name="T4" fmla="*/ 95 w 323"/>
                  <a:gd name="T5" fmla="*/ 305 h 388"/>
                  <a:gd name="T6" fmla="*/ 183 w 323"/>
                  <a:gd name="T7" fmla="*/ 338 h 388"/>
                  <a:gd name="T8" fmla="*/ 297 w 323"/>
                  <a:gd name="T9" fmla="*/ 297 h 388"/>
                  <a:gd name="T10" fmla="*/ 297 w 323"/>
                  <a:gd name="T11" fmla="*/ 353 h 388"/>
                  <a:gd name="T12" fmla="*/ 169 w 323"/>
                  <a:gd name="T13" fmla="*/ 388 h 388"/>
                  <a:gd name="T14" fmla="*/ 45 w 323"/>
                  <a:gd name="T15" fmla="*/ 337 h 388"/>
                  <a:gd name="T16" fmla="*/ 0 w 323"/>
                  <a:gd name="T17" fmla="*/ 196 h 388"/>
                  <a:gd name="T18" fmla="*/ 23 w 323"/>
                  <a:gd name="T19" fmla="*/ 95 h 388"/>
                  <a:gd name="T20" fmla="*/ 84 w 323"/>
                  <a:gd name="T21" fmla="*/ 25 h 388"/>
                  <a:gd name="T22" fmla="*/ 171 w 323"/>
                  <a:gd name="T23" fmla="*/ 0 h 388"/>
                  <a:gd name="T24" fmla="*/ 283 w 323"/>
                  <a:gd name="T25" fmla="*/ 47 h 388"/>
                  <a:gd name="T26" fmla="*/ 323 w 323"/>
                  <a:gd name="T27" fmla="*/ 178 h 388"/>
                  <a:gd name="T28" fmla="*/ 323 w 323"/>
                  <a:gd name="T29" fmla="*/ 209 h 388"/>
                  <a:gd name="T30" fmla="*/ 263 w 323"/>
                  <a:gd name="T31" fmla="*/ 159 h 388"/>
                  <a:gd name="T32" fmla="*/ 238 w 323"/>
                  <a:gd name="T33" fmla="*/ 79 h 388"/>
                  <a:gd name="T34" fmla="*/ 170 w 323"/>
                  <a:gd name="T35" fmla="*/ 51 h 388"/>
                  <a:gd name="T36" fmla="*/ 100 w 323"/>
                  <a:gd name="T37" fmla="*/ 80 h 388"/>
                  <a:gd name="T38" fmla="*/ 63 w 323"/>
                  <a:gd name="T39" fmla="*/ 159 h 388"/>
                  <a:gd name="T40" fmla="*/ 263 w 323"/>
                  <a:gd name="T41" fmla="*/ 159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3" h="388">
                    <a:moveTo>
                      <a:pt x="323" y="209"/>
                    </a:moveTo>
                    <a:cubicBezTo>
                      <a:pt x="62" y="209"/>
                      <a:pt x="62" y="209"/>
                      <a:pt x="62" y="209"/>
                    </a:cubicBezTo>
                    <a:cubicBezTo>
                      <a:pt x="63" y="251"/>
                      <a:pt x="74" y="283"/>
                      <a:pt x="95" y="305"/>
                    </a:cubicBezTo>
                    <a:cubicBezTo>
                      <a:pt x="116" y="327"/>
                      <a:pt x="145" y="338"/>
                      <a:pt x="183" y="338"/>
                    </a:cubicBezTo>
                    <a:cubicBezTo>
                      <a:pt x="225" y="338"/>
                      <a:pt x="263" y="324"/>
                      <a:pt x="297" y="297"/>
                    </a:cubicBezTo>
                    <a:cubicBezTo>
                      <a:pt x="297" y="353"/>
                      <a:pt x="297" y="353"/>
                      <a:pt x="297" y="353"/>
                    </a:cubicBezTo>
                    <a:cubicBezTo>
                      <a:pt x="265" y="376"/>
                      <a:pt x="222" y="388"/>
                      <a:pt x="169" y="388"/>
                    </a:cubicBezTo>
                    <a:cubicBezTo>
                      <a:pt x="116" y="388"/>
                      <a:pt x="75" y="371"/>
                      <a:pt x="45" y="337"/>
                    </a:cubicBezTo>
                    <a:cubicBezTo>
                      <a:pt x="15" y="303"/>
                      <a:pt x="0" y="256"/>
                      <a:pt x="0" y="196"/>
                    </a:cubicBezTo>
                    <a:cubicBezTo>
                      <a:pt x="0" y="159"/>
                      <a:pt x="8" y="125"/>
                      <a:pt x="23" y="95"/>
                    </a:cubicBezTo>
                    <a:cubicBezTo>
                      <a:pt x="38" y="65"/>
                      <a:pt x="58" y="42"/>
                      <a:pt x="84" y="25"/>
                    </a:cubicBezTo>
                    <a:cubicBezTo>
                      <a:pt x="110" y="8"/>
                      <a:pt x="139" y="0"/>
                      <a:pt x="171" y="0"/>
                    </a:cubicBezTo>
                    <a:cubicBezTo>
                      <a:pt x="219" y="0"/>
                      <a:pt x="256" y="16"/>
                      <a:pt x="283" y="47"/>
                    </a:cubicBezTo>
                    <a:cubicBezTo>
                      <a:pt x="310" y="78"/>
                      <a:pt x="323" y="122"/>
                      <a:pt x="323" y="178"/>
                    </a:cubicBezTo>
                    <a:lnTo>
                      <a:pt x="323" y="209"/>
                    </a:lnTo>
                    <a:close/>
                    <a:moveTo>
                      <a:pt x="263" y="159"/>
                    </a:moveTo>
                    <a:cubicBezTo>
                      <a:pt x="262" y="124"/>
                      <a:pt x="254" y="98"/>
                      <a:pt x="238" y="79"/>
                    </a:cubicBezTo>
                    <a:cubicBezTo>
                      <a:pt x="222" y="60"/>
                      <a:pt x="199" y="51"/>
                      <a:pt x="170" y="51"/>
                    </a:cubicBezTo>
                    <a:cubicBezTo>
                      <a:pt x="143" y="51"/>
                      <a:pt x="119" y="60"/>
                      <a:pt x="100" y="80"/>
                    </a:cubicBezTo>
                    <a:cubicBezTo>
                      <a:pt x="80" y="100"/>
                      <a:pt x="68" y="126"/>
                      <a:pt x="63" y="159"/>
                    </a:cubicBezTo>
                    <a:lnTo>
                      <a:pt x="263" y="15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grpSp>
      </p:grpSp>
      <p:sp>
        <p:nvSpPr>
          <p:cNvPr id="173" name="Rectangle 172"/>
          <p:cNvSpPr/>
          <p:nvPr/>
        </p:nvSpPr>
        <p:spPr bwMode="auto">
          <a:xfrm>
            <a:off x="4731216" y="1813514"/>
            <a:ext cx="1943291" cy="1078340"/>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
        <p:nvSpPr>
          <p:cNvPr id="180" name="Rectangle 179"/>
          <p:cNvSpPr/>
          <p:nvPr/>
        </p:nvSpPr>
        <p:spPr bwMode="auto">
          <a:xfrm>
            <a:off x="4737051" y="5538115"/>
            <a:ext cx="1943291" cy="1078340"/>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
        <p:nvSpPr>
          <p:cNvPr id="182" name="Rectangle 181"/>
          <p:cNvSpPr/>
          <p:nvPr/>
        </p:nvSpPr>
        <p:spPr bwMode="auto">
          <a:xfrm>
            <a:off x="4735881" y="3039843"/>
            <a:ext cx="1943291" cy="1078340"/>
          </a:xfrm>
          <a:prstGeom prst="rect">
            <a:avLst/>
          </a:prstGeom>
          <a:solidFill>
            <a:schemeClr val="bg1">
              <a:lumMod val="8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
        <p:nvSpPr>
          <p:cNvPr id="183" name="Rectangle 182"/>
          <p:cNvSpPr/>
          <p:nvPr/>
        </p:nvSpPr>
        <p:spPr bwMode="auto">
          <a:xfrm>
            <a:off x="4734330" y="4281932"/>
            <a:ext cx="1943291" cy="1078340"/>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20" name="Group 19"/>
          <p:cNvGrpSpPr/>
          <p:nvPr/>
        </p:nvGrpSpPr>
        <p:grpSpPr>
          <a:xfrm>
            <a:off x="5858596" y="1813031"/>
            <a:ext cx="1263521" cy="4797648"/>
            <a:chOff x="4150155" y="1932654"/>
            <a:chExt cx="1254925" cy="4765008"/>
          </a:xfrm>
        </p:grpSpPr>
        <p:sp>
          <p:nvSpPr>
            <p:cNvPr id="22" name="Rectangle 21"/>
            <p:cNvSpPr/>
            <p:nvPr/>
          </p:nvSpPr>
          <p:spPr bwMode="auto">
            <a:xfrm rot="10800000">
              <a:off x="4837936" y="1932654"/>
              <a:ext cx="532616" cy="4765007"/>
            </a:xfrm>
            <a:prstGeom prst="rect">
              <a:avLst/>
            </a:prstGeom>
            <a:solidFill>
              <a:schemeClr val="bg2">
                <a:lumMod val="10000"/>
              </a:schemeClr>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defRPr/>
              </a:pPr>
              <a:r>
                <a:rPr lang="en-US" sz="2000" b="1" kern="0" spc="50" dirty="0">
                  <a:gradFill>
                    <a:gsLst>
                      <a:gs pos="0">
                        <a:srgbClr val="FFFFFF"/>
                      </a:gs>
                      <a:gs pos="83000">
                        <a:srgbClr val="FFFFFF"/>
                      </a:gs>
                    </a:gsLst>
                    <a:lin ang="5400000" scaled="1"/>
                  </a:gradFill>
                </a:rPr>
                <a:t>INTELLIGENCE</a:t>
              </a:r>
            </a:p>
          </p:txBody>
        </p:sp>
        <p:sp>
          <p:nvSpPr>
            <p:cNvPr id="153" name="Right Triangle 152"/>
            <p:cNvSpPr/>
            <p:nvPr/>
          </p:nvSpPr>
          <p:spPr bwMode="auto">
            <a:xfrm rot="10800000">
              <a:off x="4150155" y="1932655"/>
              <a:ext cx="693270" cy="1490472"/>
            </a:xfrm>
            <a:prstGeom prst="rtTriangle">
              <a:avLst/>
            </a:prstGeom>
            <a:solidFill>
              <a:schemeClr val="bg2">
                <a:lumMod val="10000"/>
              </a:schemeClr>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defRPr/>
              </a:pPr>
              <a:endParaRPr lang="en-US" sz="2000" b="1" kern="0" spc="50" dirty="0">
                <a:gradFill>
                  <a:gsLst>
                    <a:gs pos="0">
                      <a:srgbClr val="FFFFFF"/>
                    </a:gs>
                    <a:gs pos="83000">
                      <a:srgbClr val="FFFFFF"/>
                    </a:gs>
                  </a:gsLst>
                  <a:lin ang="5400000" scaled="1"/>
                </a:gradFill>
              </a:endParaRPr>
            </a:p>
          </p:txBody>
        </p:sp>
        <p:sp>
          <p:nvSpPr>
            <p:cNvPr id="154" name="Right Triangle 153"/>
            <p:cNvSpPr/>
            <p:nvPr/>
          </p:nvSpPr>
          <p:spPr bwMode="auto">
            <a:xfrm rot="10800000" flipV="1">
              <a:off x="4150156" y="5207190"/>
              <a:ext cx="693270" cy="1490472"/>
            </a:xfrm>
            <a:prstGeom prst="rtTriangle">
              <a:avLst/>
            </a:prstGeom>
            <a:solidFill>
              <a:schemeClr val="bg2">
                <a:lumMod val="10000"/>
              </a:schemeClr>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defRPr/>
              </a:pPr>
              <a:endParaRPr lang="en-US" sz="2000" b="1" kern="0" spc="50" dirty="0">
                <a:gradFill>
                  <a:gsLst>
                    <a:gs pos="0">
                      <a:srgbClr val="FFFFFF"/>
                    </a:gs>
                    <a:gs pos="83000">
                      <a:srgbClr val="FFFFFF"/>
                    </a:gs>
                  </a:gsLst>
                  <a:lin ang="5400000" scaled="1"/>
                </a:gradFill>
              </a:endParaRPr>
            </a:p>
          </p:txBody>
        </p:sp>
        <p:sp>
          <p:nvSpPr>
            <p:cNvPr id="156" name="Right Triangle 155"/>
            <p:cNvSpPr/>
            <p:nvPr/>
          </p:nvSpPr>
          <p:spPr bwMode="auto">
            <a:xfrm rot="10800000">
              <a:off x="4711809" y="1932655"/>
              <a:ext cx="693270" cy="1490472"/>
            </a:xfrm>
            <a:prstGeom prst="rtTriangle">
              <a:avLst/>
            </a:prstGeom>
            <a:solidFill>
              <a:schemeClr val="bg1"/>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defRPr/>
              </a:pPr>
              <a:endParaRPr lang="en-US" sz="2000" b="1" kern="0" spc="50" dirty="0">
                <a:gradFill>
                  <a:gsLst>
                    <a:gs pos="0">
                      <a:srgbClr val="FFFFFF"/>
                    </a:gs>
                    <a:gs pos="83000">
                      <a:srgbClr val="FFFFFF"/>
                    </a:gs>
                  </a:gsLst>
                  <a:lin ang="5400000" scaled="1"/>
                </a:gradFill>
              </a:endParaRPr>
            </a:p>
          </p:txBody>
        </p:sp>
        <p:sp>
          <p:nvSpPr>
            <p:cNvPr id="158" name="Right Triangle 157"/>
            <p:cNvSpPr/>
            <p:nvPr/>
          </p:nvSpPr>
          <p:spPr bwMode="auto">
            <a:xfrm rot="10800000" flipV="1">
              <a:off x="4711810" y="5207190"/>
              <a:ext cx="693270" cy="1490472"/>
            </a:xfrm>
            <a:prstGeom prst="rtTriangle">
              <a:avLst/>
            </a:prstGeom>
            <a:solidFill>
              <a:schemeClr val="bg1"/>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defRPr/>
              </a:pPr>
              <a:endParaRPr lang="en-US" sz="2000" b="1" kern="0" spc="50" dirty="0">
                <a:gradFill>
                  <a:gsLst>
                    <a:gs pos="0">
                      <a:srgbClr val="FFFFFF"/>
                    </a:gs>
                    <a:gs pos="83000">
                      <a:srgbClr val="FFFFFF"/>
                    </a:gs>
                  </a:gsLst>
                  <a:lin ang="5400000" scaled="1"/>
                </a:gradFill>
              </a:endParaRPr>
            </a:p>
          </p:txBody>
        </p:sp>
      </p:grpSp>
      <p:sp>
        <p:nvSpPr>
          <p:cNvPr id="161" name="Rectangle 160"/>
          <p:cNvSpPr/>
          <p:nvPr/>
        </p:nvSpPr>
        <p:spPr bwMode="auto">
          <a:xfrm>
            <a:off x="4736546" y="1918559"/>
            <a:ext cx="2105893" cy="84942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defRPr/>
            </a:pPr>
            <a:r>
              <a:rPr lang="en-US" sz="1800" kern="0" spc="50" dirty="0">
                <a:gradFill>
                  <a:gsLst>
                    <a:gs pos="0">
                      <a:srgbClr val="505050"/>
                    </a:gs>
                    <a:gs pos="83000">
                      <a:srgbClr val="505050"/>
                    </a:gs>
                  </a:gsLst>
                  <a:lin ang="5400000" scaled="1"/>
                </a:gradFill>
              </a:rPr>
              <a:t>Stream </a:t>
            </a:r>
            <a:br>
              <a:rPr lang="en-US" sz="1800" kern="0" spc="50" dirty="0">
                <a:gradFill>
                  <a:gsLst>
                    <a:gs pos="0">
                      <a:srgbClr val="505050"/>
                    </a:gs>
                    <a:gs pos="83000">
                      <a:srgbClr val="505050"/>
                    </a:gs>
                  </a:gsLst>
                  <a:lin ang="5400000" scaled="1"/>
                </a:gradFill>
              </a:rPr>
            </a:br>
            <a:r>
              <a:rPr lang="en-US" sz="1800" kern="0" spc="50" dirty="0">
                <a:gradFill>
                  <a:gsLst>
                    <a:gs pos="0">
                      <a:srgbClr val="505050"/>
                    </a:gs>
                    <a:gs pos="83000">
                      <a:srgbClr val="505050"/>
                    </a:gs>
                  </a:gsLst>
                  <a:lin ang="5400000" scaled="1"/>
                </a:gradFill>
              </a:rPr>
              <a:t>Analytics</a:t>
            </a:r>
          </a:p>
        </p:txBody>
      </p:sp>
      <p:sp>
        <p:nvSpPr>
          <p:cNvPr id="184" name="Rectangle 183"/>
          <p:cNvSpPr/>
          <p:nvPr/>
        </p:nvSpPr>
        <p:spPr bwMode="auto">
          <a:xfrm>
            <a:off x="4744917" y="3146222"/>
            <a:ext cx="2105893" cy="84942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defRPr/>
            </a:pPr>
            <a:r>
              <a:rPr lang="en-US" sz="1800" kern="0" spc="50" dirty="0">
                <a:gradFill>
                  <a:gsLst>
                    <a:gs pos="0">
                      <a:srgbClr val="505050"/>
                    </a:gs>
                    <a:gs pos="83000">
                      <a:srgbClr val="505050"/>
                    </a:gs>
                  </a:gsLst>
                  <a:lin ang="5400000" scaled="1"/>
                </a:gradFill>
              </a:rPr>
              <a:t>Machine Learning</a:t>
            </a:r>
          </a:p>
        </p:txBody>
      </p:sp>
      <p:sp>
        <p:nvSpPr>
          <p:cNvPr id="185" name="Rectangle 184"/>
          <p:cNvSpPr/>
          <p:nvPr/>
        </p:nvSpPr>
        <p:spPr bwMode="auto">
          <a:xfrm>
            <a:off x="4753466" y="4371273"/>
            <a:ext cx="2105893" cy="84942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defRPr/>
            </a:pPr>
            <a:r>
              <a:rPr lang="en-US" sz="1800" kern="0" spc="50" dirty="0">
                <a:gradFill>
                  <a:gsLst>
                    <a:gs pos="0">
                      <a:srgbClr val="505050"/>
                    </a:gs>
                    <a:gs pos="83000">
                      <a:srgbClr val="505050"/>
                    </a:gs>
                  </a:gsLst>
                  <a:lin ang="5400000" scaled="1"/>
                </a:gradFill>
              </a:rPr>
              <a:t>Statistical Analysis</a:t>
            </a:r>
          </a:p>
        </p:txBody>
      </p:sp>
      <p:sp>
        <p:nvSpPr>
          <p:cNvPr id="186" name="Rectangle 185"/>
          <p:cNvSpPr/>
          <p:nvPr/>
        </p:nvSpPr>
        <p:spPr bwMode="auto">
          <a:xfrm>
            <a:off x="4730802" y="5669244"/>
            <a:ext cx="2105893" cy="84942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defRPr/>
            </a:pPr>
            <a:r>
              <a:rPr lang="en-US" sz="1800" kern="0" spc="50" dirty="0">
                <a:gradFill>
                  <a:gsLst>
                    <a:gs pos="0">
                      <a:srgbClr val="505050"/>
                    </a:gs>
                    <a:gs pos="83000">
                      <a:srgbClr val="505050"/>
                    </a:gs>
                  </a:gsLst>
                  <a:lin ang="5400000" scaled="1"/>
                </a:gradFill>
              </a:rPr>
              <a:t>Intelligent </a:t>
            </a:r>
          </a:p>
          <a:p>
            <a:pPr defTabSz="932293" fontAlgn="base">
              <a:spcBef>
                <a:spcPct val="0"/>
              </a:spcBef>
              <a:spcAft>
                <a:spcPct val="0"/>
              </a:spcAft>
              <a:defRPr/>
            </a:pPr>
            <a:r>
              <a:rPr lang="en-US" sz="1800" kern="0" spc="50" dirty="0">
                <a:gradFill>
                  <a:gsLst>
                    <a:gs pos="0">
                      <a:srgbClr val="505050"/>
                    </a:gs>
                    <a:gs pos="83000">
                      <a:srgbClr val="505050"/>
                    </a:gs>
                  </a:gsLst>
                  <a:lin ang="5400000" scaled="1"/>
                </a:gradFill>
              </a:rPr>
              <a:t>Apps</a:t>
            </a:r>
          </a:p>
        </p:txBody>
      </p:sp>
    </p:spTree>
    <p:extLst>
      <p:ext uri="{BB962C8B-B14F-4D97-AF65-F5344CB8AC3E}">
        <p14:creationId xmlns:p14="http://schemas.microsoft.com/office/powerpoint/2010/main" val="82588175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F2C81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638" y="2335509"/>
            <a:ext cx="11887200" cy="2323508"/>
          </a:xfrm>
        </p:spPr>
        <p:txBody>
          <a:bodyPr/>
          <a:lstStyle/>
          <a:p>
            <a:pPr>
              <a:lnSpc>
                <a:spcPct val="100000"/>
              </a:lnSpc>
            </a:pPr>
            <a:r>
              <a:rPr lang="en-US" sz="6000" dirty="0">
                <a:solidFill>
                  <a:schemeClr val="tx2">
                    <a:lumMod val="10000"/>
                  </a:schemeClr>
                </a:solidFill>
              </a:rPr>
              <a:t>The Value of CSP for Power BI</a:t>
            </a:r>
            <a:endParaRPr lang="en-US" sz="3200" dirty="0">
              <a:solidFill>
                <a:srgbClr val="505050"/>
              </a:solidFill>
              <a:latin typeface="+mn-lt"/>
            </a:endParaRPr>
          </a:p>
        </p:txBody>
      </p:sp>
      <p:sp>
        <p:nvSpPr>
          <p:cNvPr id="2" name="Rectangle 1"/>
          <p:cNvSpPr/>
          <p:nvPr/>
        </p:nvSpPr>
        <p:spPr>
          <a:xfrm>
            <a:off x="359307" y="3356517"/>
            <a:ext cx="9434933" cy="954107"/>
          </a:xfrm>
          <a:prstGeom prst="rect">
            <a:avLst/>
          </a:prstGeom>
        </p:spPr>
        <p:txBody>
          <a:bodyPr wrap="square">
            <a:spAutoFit/>
          </a:bodyPr>
          <a:lstStyle/>
          <a:p>
            <a:r>
              <a:rPr lang="en-US" sz="2800" dirty="0">
                <a:solidFill>
                  <a:schemeClr val="tx2">
                    <a:lumMod val="10000"/>
                  </a:schemeClr>
                </a:solidFill>
                <a:latin typeface="+mj-lt"/>
              </a:rPr>
              <a:t>Using the capabilities of the Cloud Solution Provider Program to enhance your Power BI solutions</a:t>
            </a:r>
          </a:p>
        </p:txBody>
      </p:sp>
    </p:spTree>
    <p:extLst>
      <p:ext uri="{BB962C8B-B14F-4D97-AF65-F5344CB8AC3E}">
        <p14:creationId xmlns:p14="http://schemas.microsoft.com/office/powerpoint/2010/main" val="320700633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a:blip r:embed="rId3"/>
          <a:stretch>
            <a:fillRect/>
          </a:stretch>
        </p:blipFill>
        <p:spPr>
          <a:xfrm>
            <a:off x="182855" y="175224"/>
            <a:ext cx="12253620" cy="7042582"/>
          </a:xfrm>
          <a:prstGeom prst="rect">
            <a:avLst/>
          </a:prstGeom>
        </p:spPr>
      </p:pic>
      <p:sp>
        <p:nvSpPr>
          <p:cNvPr id="6" name="Rectangle 5"/>
          <p:cNvSpPr/>
          <p:nvPr/>
        </p:nvSpPr>
        <p:spPr bwMode="auto">
          <a:xfrm>
            <a:off x="0" y="0"/>
            <a:ext cx="7970292" cy="7042582"/>
          </a:xfrm>
          <a:prstGeom prst="rect">
            <a:avLst/>
          </a:prstGeom>
          <a:gradFill flip="none" rotWithShape="1">
            <a:gsLst>
              <a:gs pos="100000">
                <a:schemeClr val="accent1">
                  <a:lumMod val="5000"/>
                  <a:lumOff val="95000"/>
                  <a:alpha val="0"/>
                </a:schemeClr>
              </a:gs>
              <a:gs pos="62000">
                <a:schemeClr val="tx1"/>
              </a:gs>
            </a:gsLst>
            <a:lin ang="0" scaled="1"/>
            <a:tileRect/>
          </a:gra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1" name="Rectangle 10"/>
          <p:cNvSpPr/>
          <p:nvPr/>
        </p:nvSpPr>
        <p:spPr bwMode="auto">
          <a:xfrm>
            <a:off x="1" y="0"/>
            <a:ext cx="3962400" cy="7217806"/>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txBox="1">
            <a:spLocks/>
          </p:cNvSpPr>
          <p:nvPr/>
        </p:nvSpPr>
        <p:spPr>
          <a:xfrm>
            <a:off x="275163" y="754452"/>
            <a:ext cx="9142703" cy="1096807"/>
          </a:xfrm>
          <a:prstGeom prst="rect">
            <a:avLst/>
          </a:prstGeom>
        </p:spPr>
        <p:txBody>
          <a:bodyPr vert="horz" wrap="square" lIns="198955" tIns="124347" rIns="198955" bIns="124347" rtlCol="0" anchor="t">
            <a:noAutofit/>
          </a:bodyPr>
          <a:lstStyle>
            <a:lvl1pPr algn="l" defTabSz="685845" rtl="0" eaLnBrk="1" latinLnBrk="0" hangingPunct="1">
              <a:lnSpc>
                <a:spcPct val="90000"/>
              </a:lnSpc>
              <a:spcBef>
                <a:spcPct val="0"/>
              </a:spcBef>
              <a:buNone/>
              <a:defRPr lang="en-US" sz="3971" b="0" kern="1200" cap="none" spc="-75" baseline="0" dirty="0" smtClean="0">
                <a:ln w="3175">
                  <a:noFill/>
                </a:ln>
                <a:solidFill>
                  <a:schemeClr val="tx2"/>
                </a:solidFill>
                <a:effectLst/>
                <a:latin typeface="+mj-lt"/>
                <a:ea typeface="+mn-ea"/>
                <a:cs typeface="Segoe UI" pitchFamily="34" charset="0"/>
              </a:defRPr>
            </a:lvl1pPr>
          </a:lstStyle>
          <a:p>
            <a:r>
              <a:rPr lang="en-US" sz="4799" dirty="0">
                <a:solidFill>
                  <a:schemeClr val="tx2">
                    <a:lumMod val="10000"/>
                  </a:schemeClr>
                </a:solidFill>
              </a:rPr>
              <a:t>Agenda</a:t>
            </a:r>
          </a:p>
        </p:txBody>
      </p:sp>
      <p:sp>
        <p:nvSpPr>
          <p:cNvPr id="4" name="Text Placeholder 2"/>
          <p:cNvSpPr txBox="1">
            <a:spLocks/>
          </p:cNvSpPr>
          <p:nvPr/>
        </p:nvSpPr>
        <p:spPr>
          <a:xfrm>
            <a:off x="256844" y="1480072"/>
            <a:ext cx="3587781" cy="4604782"/>
          </a:xfrm>
          <a:prstGeom prst="rect">
            <a:avLst/>
          </a:prstGeom>
        </p:spPr>
        <p:txBody>
          <a:bodyPr vert="horz" wrap="square" lIns="248694" tIns="198955" rIns="248694" bIns="198955" rtlCol="0">
            <a:noAutofit/>
          </a:bodyPr>
          <a:lst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solidFill>
                  <a:schemeClr val="tx2"/>
                </a:soli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solidFill>
                  <a:schemeClr val="tx2"/>
                </a:soli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solidFill>
                  <a:schemeClr val="tx2"/>
                </a:soli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solidFill>
                  <a:schemeClr val="tx2"/>
                </a:soli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a:lstStyle>
          <a:p>
            <a:pPr marL="0" indent="0">
              <a:lnSpc>
                <a:spcPct val="150000"/>
              </a:lnSpc>
              <a:buNone/>
            </a:pPr>
            <a:r>
              <a:rPr lang="en-US" sz="1904" dirty="0">
                <a:solidFill>
                  <a:schemeClr val="tx2">
                    <a:lumMod val="10000"/>
                  </a:schemeClr>
                </a:solidFill>
                <a:latin typeface="Segoe UI"/>
              </a:rPr>
              <a:t>Cloud Vision &amp; Opportunity</a:t>
            </a:r>
          </a:p>
          <a:p>
            <a:pPr marL="0" indent="0">
              <a:lnSpc>
                <a:spcPct val="150000"/>
              </a:lnSpc>
              <a:buNone/>
            </a:pPr>
            <a:r>
              <a:rPr lang="en-US" sz="1904" dirty="0">
                <a:solidFill>
                  <a:schemeClr val="tx2">
                    <a:lumMod val="10000"/>
                  </a:schemeClr>
                </a:solidFill>
                <a:latin typeface="Segoe UI"/>
              </a:rPr>
              <a:t>What is Power BI</a:t>
            </a:r>
          </a:p>
          <a:p>
            <a:pPr marL="0" indent="0">
              <a:lnSpc>
                <a:spcPct val="150000"/>
              </a:lnSpc>
              <a:buNone/>
            </a:pPr>
            <a:r>
              <a:rPr lang="en-US" sz="1904" dirty="0">
                <a:solidFill>
                  <a:schemeClr val="tx2">
                    <a:lumMod val="10000"/>
                  </a:schemeClr>
                </a:solidFill>
                <a:latin typeface="Segoe UI"/>
              </a:rPr>
              <a:t>Power BI in CSP</a:t>
            </a:r>
          </a:p>
          <a:p>
            <a:pPr marL="0" indent="0">
              <a:lnSpc>
                <a:spcPct val="150000"/>
              </a:lnSpc>
              <a:buNone/>
            </a:pPr>
            <a:r>
              <a:rPr lang="en-US" sz="1904" dirty="0">
                <a:solidFill>
                  <a:schemeClr val="tx2">
                    <a:lumMod val="10000"/>
                  </a:schemeClr>
                </a:solidFill>
                <a:latin typeface="Segoe UI"/>
              </a:rPr>
              <a:t>Power BI in Action</a:t>
            </a:r>
            <a:endParaRPr lang="en-US" sz="1632" dirty="0">
              <a:solidFill>
                <a:schemeClr val="tx2">
                  <a:lumMod val="10000"/>
                </a:schemeClr>
              </a:solidFill>
              <a:latin typeface="Segoe UI"/>
            </a:endParaRPr>
          </a:p>
          <a:p>
            <a:pPr marL="0" indent="0">
              <a:lnSpc>
                <a:spcPct val="150000"/>
              </a:lnSpc>
              <a:buNone/>
            </a:pPr>
            <a:r>
              <a:rPr lang="en-US" sz="1904" dirty="0">
                <a:solidFill>
                  <a:schemeClr val="tx2">
                    <a:lumMod val="10000"/>
                  </a:schemeClr>
                </a:solidFill>
                <a:latin typeface="Segoe UI"/>
              </a:rPr>
              <a:t>Summary </a:t>
            </a:r>
          </a:p>
        </p:txBody>
      </p:sp>
    </p:spTree>
    <p:extLst>
      <p:ext uri="{BB962C8B-B14F-4D97-AF65-F5344CB8AC3E}">
        <p14:creationId xmlns:p14="http://schemas.microsoft.com/office/powerpoint/2010/main" val="3681914711"/>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51"/>
          <p:cNvSpPr/>
          <p:nvPr/>
        </p:nvSpPr>
        <p:spPr bwMode="auto">
          <a:xfrm>
            <a:off x="5774135" y="1351464"/>
            <a:ext cx="6430566" cy="772829"/>
          </a:xfrm>
          <a:prstGeom prst="rect">
            <a:avLst/>
          </a:prstGeom>
          <a:solidFill>
            <a:srgbClr val="F2C81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
        <p:nvSpPr>
          <p:cNvPr id="74" name="Rectangle 73"/>
          <p:cNvSpPr/>
          <p:nvPr/>
        </p:nvSpPr>
        <p:spPr bwMode="auto">
          <a:xfrm>
            <a:off x="293232" y="1351464"/>
            <a:ext cx="5200852" cy="772829"/>
          </a:xfrm>
          <a:prstGeom prst="rect">
            <a:avLst/>
          </a:prstGeom>
          <a:solidFill>
            <a:srgbClr val="F2C81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
        <p:nvSpPr>
          <p:cNvPr id="69" name="TextBox 68"/>
          <p:cNvSpPr txBox="1"/>
          <p:nvPr/>
        </p:nvSpPr>
        <p:spPr>
          <a:xfrm>
            <a:off x="8177175" y="3949498"/>
            <a:ext cx="1118072" cy="577937"/>
          </a:xfrm>
          <a:prstGeom prst="rect">
            <a:avLst/>
          </a:prstGeom>
          <a:noFill/>
        </p:spPr>
        <p:txBody>
          <a:bodyPr wrap="none" lIns="182854" tIns="146283" rIns="182854" bIns="146283" rtlCol="0">
            <a:spAutoFit/>
          </a:bodyPr>
          <a:lstStyle/>
          <a:p>
            <a:pPr algn="ctr" defTabSz="932597">
              <a:lnSpc>
                <a:spcPct val="90000"/>
              </a:lnSpc>
              <a:spcAft>
                <a:spcPts val="600"/>
              </a:spcAft>
            </a:pPr>
            <a:r>
              <a:rPr lang="en-US" sz="2000" kern="0" dirty="0">
                <a:solidFill>
                  <a:schemeClr val="bg2">
                    <a:lumMod val="10000"/>
                  </a:schemeClr>
                </a:solidFill>
              </a:rPr>
              <a:t>Create</a:t>
            </a:r>
          </a:p>
        </p:txBody>
      </p:sp>
      <p:sp>
        <p:nvSpPr>
          <p:cNvPr id="65" name="Oval 64"/>
          <p:cNvSpPr/>
          <p:nvPr/>
        </p:nvSpPr>
        <p:spPr bwMode="auto">
          <a:xfrm>
            <a:off x="8119435" y="2537998"/>
            <a:ext cx="1233553" cy="1233553"/>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1" name="TextBox 90"/>
          <p:cNvSpPr txBox="1"/>
          <p:nvPr/>
        </p:nvSpPr>
        <p:spPr>
          <a:xfrm>
            <a:off x="3062657" y="3949498"/>
            <a:ext cx="1309356" cy="577937"/>
          </a:xfrm>
          <a:prstGeom prst="rect">
            <a:avLst/>
          </a:prstGeom>
          <a:noFill/>
        </p:spPr>
        <p:txBody>
          <a:bodyPr wrap="none" lIns="182854" tIns="146283" rIns="182854" bIns="146283" rtlCol="0">
            <a:spAutoFit/>
          </a:bodyPr>
          <a:lstStyle/>
          <a:p>
            <a:pPr algn="ctr" defTabSz="932597">
              <a:lnSpc>
                <a:spcPct val="90000"/>
              </a:lnSpc>
              <a:spcAft>
                <a:spcPts val="600"/>
              </a:spcAft>
            </a:pPr>
            <a:r>
              <a:rPr lang="en-US" sz="2000" kern="0" dirty="0">
                <a:solidFill>
                  <a:schemeClr val="bg2">
                    <a:lumMod val="10000"/>
                  </a:schemeClr>
                </a:solidFill>
              </a:rPr>
              <a:t>Manage</a:t>
            </a:r>
          </a:p>
        </p:txBody>
      </p:sp>
      <p:sp>
        <p:nvSpPr>
          <p:cNvPr id="63" name="Oval 62"/>
          <p:cNvSpPr/>
          <p:nvPr/>
        </p:nvSpPr>
        <p:spPr bwMode="auto">
          <a:xfrm>
            <a:off x="3126957" y="2537998"/>
            <a:ext cx="1233553" cy="1233553"/>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0" name="TextBox 99"/>
          <p:cNvSpPr txBox="1"/>
          <p:nvPr/>
        </p:nvSpPr>
        <p:spPr>
          <a:xfrm>
            <a:off x="5126519" y="3952255"/>
            <a:ext cx="2368225" cy="572422"/>
          </a:xfrm>
          <a:prstGeom prst="rect">
            <a:avLst/>
          </a:prstGeom>
          <a:noFill/>
        </p:spPr>
        <p:txBody>
          <a:bodyPr wrap="none" lIns="182854" tIns="146283" rIns="182854" bIns="146283" rtlCol="0">
            <a:spAutoFit/>
          </a:bodyPr>
          <a:lstStyle/>
          <a:p>
            <a:pPr algn="ctr" defTabSz="932597">
              <a:lnSpc>
                <a:spcPct val="90000"/>
              </a:lnSpc>
              <a:spcAft>
                <a:spcPts val="600"/>
              </a:spcAft>
            </a:pPr>
            <a:r>
              <a:rPr lang="en-US" sz="2000" kern="0" dirty="0">
                <a:solidFill>
                  <a:schemeClr val="bg2">
                    <a:lumMod val="10000"/>
                  </a:schemeClr>
                </a:solidFill>
              </a:rPr>
              <a:t>Integrate/Deploy</a:t>
            </a:r>
          </a:p>
        </p:txBody>
      </p:sp>
      <p:sp>
        <p:nvSpPr>
          <p:cNvPr id="62" name="Oval 61"/>
          <p:cNvSpPr/>
          <p:nvPr/>
        </p:nvSpPr>
        <p:spPr bwMode="auto">
          <a:xfrm>
            <a:off x="5626419" y="2537998"/>
            <a:ext cx="1233553" cy="1233553"/>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4" name="AutoShape 16"/>
          <p:cNvSpPr>
            <a:spLocks noChangeAspect="1" noChangeArrowheads="1" noTextEdit="1"/>
          </p:cNvSpPr>
          <p:nvPr/>
        </p:nvSpPr>
        <p:spPr bwMode="auto">
          <a:xfrm>
            <a:off x="10628791" y="2400840"/>
            <a:ext cx="543523" cy="5846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rgbClr val="505050"/>
              </a:solidFill>
            </a:endParaRPr>
          </a:p>
        </p:txBody>
      </p:sp>
      <p:sp>
        <p:nvSpPr>
          <p:cNvPr id="141" name="TextBox 140"/>
          <p:cNvSpPr txBox="1"/>
          <p:nvPr/>
        </p:nvSpPr>
        <p:spPr>
          <a:xfrm>
            <a:off x="9906435" y="3952255"/>
            <a:ext cx="2443565" cy="572422"/>
          </a:xfrm>
          <a:prstGeom prst="rect">
            <a:avLst/>
          </a:prstGeom>
          <a:noFill/>
        </p:spPr>
        <p:txBody>
          <a:bodyPr wrap="none" lIns="182854" tIns="146283" rIns="182854" bIns="146283" rtlCol="0">
            <a:spAutoFit/>
          </a:bodyPr>
          <a:lstStyle/>
          <a:p>
            <a:pPr algn="ctr" defTabSz="932597">
              <a:lnSpc>
                <a:spcPct val="90000"/>
              </a:lnSpc>
              <a:spcAft>
                <a:spcPts val="600"/>
              </a:spcAft>
            </a:pPr>
            <a:r>
              <a:rPr lang="en-US" sz="2000" kern="0" dirty="0">
                <a:solidFill>
                  <a:schemeClr val="bg2">
                    <a:lumMod val="10000"/>
                  </a:schemeClr>
                </a:solidFill>
              </a:rPr>
              <a:t>Maintain/Support</a:t>
            </a:r>
          </a:p>
        </p:txBody>
      </p:sp>
      <p:sp>
        <p:nvSpPr>
          <p:cNvPr id="72" name="Oval 71"/>
          <p:cNvSpPr/>
          <p:nvPr/>
        </p:nvSpPr>
        <p:spPr bwMode="auto">
          <a:xfrm>
            <a:off x="10497099" y="2537998"/>
            <a:ext cx="1233553" cy="1233553"/>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5" name="Right Arrow 144"/>
          <p:cNvSpPr/>
          <p:nvPr/>
        </p:nvSpPr>
        <p:spPr bwMode="auto">
          <a:xfrm>
            <a:off x="2153014" y="2951872"/>
            <a:ext cx="498240" cy="405805"/>
          </a:xfrm>
          <a:prstGeom prst="rightArrow">
            <a:avLst/>
          </a:prstGeom>
          <a:solidFill>
            <a:schemeClr val="bg2">
              <a:lumMod val="1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dirty="0">
              <a:solidFill>
                <a:schemeClr val="bg2">
                  <a:lumMod val="10000"/>
                </a:schemeClr>
              </a:solidFill>
            </a:endParaRPr>
          </a:p>
        </p:txBody>
      </p:sp>
      <p:sp>
        <p:nvSpPr>
          <p:cNvPr id="146" name="Right Arrow 145"/>
          <p:cNvSpPr/>
          <p:nvPr/>
        </p:nvSpPr>
        <p:spPr bwMode="auto">
          <a:xfrm>
            <a:off x="4731644" y="2951872"/>
            <a:ext cx="498240" cy="405805"/>
          </a:xfrm>
          <a:prstGeom prst="rightArrow">
            <a:avLst/>
          </a:prstGeom>
          <a:solidFill>
            <a:schemeClr val="bg2">
              <a:lumMod val="1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dirty="0">
              <a:solidFill>
                <a:schemeClr val="bg2">
                  <a:lumMod val="10000"/>
                </a:schemeClr>
              </a:solidFill>
            </a:endParaRPr>
          </a:p>
        </p:txBody>
      </p:sp>
      <p:sp>
        <p:nvSpPr>
          <p:cNvPr id="147" name="Right Arrow 146"/>
          <p:cNvSpPr/>
          <p:nvPr/>
        </p:nvSpPr>
        <p:spPr bwMode="auto">
          <a:xfrm>
            <a:off x="7270155" y="2951872"/>
            <a:ext cx="498240" cy="405805"/>
          </a:xfrm>
          <a:prstGeom prst="rightArrow">
            <a:avLst/>
          </a:prstGeom>
          <a:solidFill>
            <a:schemeClr val="bg2">
              <a:lumMod val="1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dirty="0">
              <a:solidFill>
                <a:schemeClr val="bg2">
                  <a:lumMod val="10000"/>
                </a:schemeClr>
              </a:solidFill>
            </a:endParaRPr>
          </a:p>
        </p:txBody>
      </p:sp>
      <p:sp>
        <p:nvSpPr>
          <p:cNvPr id="148" name="Right Arrow 147"/>
          <p:cNvSpPr/>
          <p:nvPr/>
        </p:nvSpPr>
        <p:spPr bwMode="auto">
          <a:xfrm>
            <a:off x="9682603" y="2951872"/>
            <a:ext cx="498240" cy="405805"/>
          </a:xfrm>
          <a:prstGeom prst="rightArrow">
            <a:avLst/>
          </a:prstGeom>
          <a:solidFill>
            <a:schemeClr val="bg2">
              <a:lumMod val="1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dirty="0">
              <a:solidFill>
                <a:schemeClr val="bg2">
                  <a:lumMod val="10000"/>
                </a:schemeClr>
              </a:solidFill>
            </a:endParaRPr>
          </a:p>
        </p:txBody>
      </p:sp>
      <p:sp>
        <p:nvSpPr>
          <p:cNvPr id="156" name="TextBox 155"/>
          <p:cNvSpPr txBox="1"/>
          <p:nvPr/>
        </p:nvSpPr>
        <p:spPr>
          <a:xfrm>
            <a:off x="66331" y="1414297"/>
            <a:ext cx="5890390" cy="647165"/>
          </a:xfrm>
          <a:prstGeom prst="rect">
            <a:avLst/>
          </a:prstGeom>
          <a:noFill/>
          <a:ln w="22225">
            <a:noFill/>
            <a:prstDash val="sysDash"/>
          </a:ln>
        </p:spPr>
        <p:txBody>
          <a:bodyPr wrap="square" lIns="186521" tIns="149217" rIns="186521" bIns="149217" rtlCol="0">
            <a:spAutoFit/>
          </a:bodyPr>
          <a:lstStyle/>
          <a:p>
            <a:pPr algn="ctr" defTabSz="932597">
              <a:lnSpc>
                <a:spcPct val="90000"/>
              </a:lnSpc>
              <a:spcAft>
                <a:spcPts val="612"/>
              </a:spcAft>
            </a:pPr>
            <a:r>
              <a:rPr lang="en-US" sz="2400" kern="0" dirty="0">
                <a:solidFill>
                  <a:schemeClr val="bg2">
                    <a:lumMod val="10000"/>
                  </a:schemeClr>
                </a:solidFill>
              </a:rPr>
              <a:t>What end customers own</a:t>
            </a:r>
          </a:p>
        </p:txBody>
      </p:sp>
      <p:sp>
        <p:nvSpPr>
          <p:cNvPr id="159" name="Title 2"/>
          <p:cNvSpPr>
            <a:spLocks noGrp="1"/>
          </p:cNvSpPr>
          <p:nvPr>
            <p:ph type="title"/>
          </p:nvPr>
        </p:nvSpPr>
        <p:spPr>
          <a:xfrm>
            <a:off x="293232" y="58234"/>
            <a:ext cx="12254367" cy="946413"/>
          </a:xfrm>
        </p:spPr>
        <p:txBody>
          <a:bodyPr/>
          <a:lstStyle/>
          <a:p>
            <a:r>
              <a:rPr lang="en-US" sz="4800" dirty="0">
                <a:solidFill>
                  <a:schemeClr val="bg2">
                    <a:lumMod val="10000"/>
                  </a:schemeClr>
                </a:solidFill>
              </a:rPr>
              <a:t>Life cycle of a Power BI engagement without CSP</a:t>
            </a:r>
          </a:p>
        </p:txBody>
      </p:sp>
      <p:sp>
        <p:nvSpPr>
          <p:cNvPr id="122" name="TextBox 121"/>
          <p:cNvSpPr txBox="1"/>
          <p:nvPr/>
        </p:nvSpPr>
        <p:spPr>
          <a:xfrm>
            <a:off x="778794" y="3949498"/>
            <a:ext cx="786060" cy="572422"/>
          </a:xfrm>
          <a:prstGeom prst="rect">
            <a:avLst/>
          </a:prstGeom>
          <a:noFill/>
        </p:spPr>
        <p:txBody>
          <a:bodyPr wrap="none" lIns="182854" tIns="146283" rIns="182854" bIns="146283" rtlCol="0">
            <a:spAutoFit/>
          </a:bodyPr>
          <a:lstStyle/>
          <a:p>
            <a:pPr algn="ctr" defTabSz="932597">
              <a:lnSpc>
                <a:spcPct val="90000"/>
              </a:lnSpc>
              <a:spcAft>
                <a:spcPts val="600"/>
              </a:spcAft>
            </a:pPr>
            <a:r>
              <a:rPr lang="en-US" sz="2000" kern="0" dirty="0">
                <a:solidFill>
                  <a:schemeClr val="bg2">
                    <a:lumMod val="10000"/>
                  </a:schemeClr>
                </a:solidFill>
              </a:rPr>
              <a:t>Buy</a:t>
            </a:r>
          </a:p>
        </p:txBody>
      </p:sp>
      <p:grpSp>
        <p:nvGrpSpPr>
          <p:cNvPr id="2" name="Group 1"/>
          <p:cNvGrpSpPr/>
          <p:nvPr/>
        </p:nvGrpSpPr>
        <p:grpSpPr>
          <a:xfrm>
            <a:off x="590172" y="2537998"/>
            <a:ext cx="1233553" cy="1233553"/>
            <a:chOff x="312816" y="2195563"/>
            <a:chExt cx="1233553" cy="1233553"/>
          </a:xfrm>
        </p:grpSpPr>
        <p:sp>
          <p:nvSpPr>
            <p:cNvPr id="64" name="Oval 63"/>
            <p:cNvSpPr/>
            <p:nvPr/>
          </p:nvSpPr>
          <p:spPr bwMode="auto">
            <a:xfrm>
              <a:off x="312816" y="2195563"/>
              <a:ext cx="1233553" cy="1233553"/>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a:blip r:embed="rId3"/>
            <a:stretch>
              <a:fillRect/>
            </a:stretch>
          </p:blipFill>
          <p:spPr>
            <a:xfrm>
              <a:off x="699260" y="2542955"/>
              <a:ext cx="420356" cy="480108"/>
            </a:xfrm>
            <a:prstGeom prst="rect">
              <a:avLst/>
            </a:prstGeom>
          </p:spPr>
        </p:pic>
      </p:grpSp>
      <p:sp>
        <p:nvSpPr>
          <p:cNvPr id="58" name="Rectangle 57"/>
          <p:cNvSpPr/>
          <p:nvPr/>
        </p:nvSpPr>
        <p:spPr bwMode="auto">
          <a:xfrm>
            <a:off x="0" y="6440061"/>
            <a:ext cx="12436475" cy="554464"/>
          </a:xfrm>
          <a:prstGeom prst="rect">
            <a:avLst/>
          </a:prstGeom>
          <a:solidFill>
            <a:schemeClr val="bg2">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0" name="TextBox 69"/>
          <p:cNvSpPr txBox="1"/>
          <p:nvPr/>
        </p:nvSpPr>
        <p:spPr>
          <a:xfrm>
            <a:off x="5445634" y="1399510"/>
            <a:ext cx="7270155" cy="647165"/>
          </a:xfrm>
          <a:prstGeom prst="rect">
            <a:avLst/>
          </a:prstGeom>
          <a:noFill/>
          <a:ln w="22225">
            <a:noFill/>
            <a:prstDash val="sysDash"/>
          </a:ln>
        </p:spPr>
        <p:txBody>
          <a:bodyPr wrap="square" lIns="186521" tIns="149217" rIns="186521" bIns="149217" rtlCol="0">
            <a:spAutoFit/>
          </a:bodyPr>
          <a:lstStyle/>
          <a:p>
            <a:pPr algn="ctr" defTabSz="932597">
              <a:lnSpc>
                <a:spcPct val="90000"/>
              </a:lnSpc>
              <a:spcAft>
                <a:spcPts val="612"/>
              </a:spcAft>
            </a:pPr>
            <a:r>
              <a:rPr lang="en-US" sz="2400" kern="0" dirty="0">
                <a:solidFill>
                  <a:schemeClr val="bg2">
                    <a:lumMod val="10000"/>
                  </a:schemeClr>
                </a:solidFill>
              </a:rPr>
              <a:t>What partners own</a:t>
            </a:r>
          </a:p>
        </p:txBody>
      </p:sp>
      <p:pic>
        <p:nvPicPr>
          <p:cNvPr id="28" name="Picture 27"/>
          <p:cNvPicPr>
            <a:picLocks noChangeAspect="1"/>
          </p:cNvPicPr>
          <p:nvPr/>
        </p:nvPicPr>
        <p:blipFill>
          <a:blip r:embed="rId4"/>
          <a:stretch>
            <a:fillRect/>
          </a:stretch>
        </p:blipFill>
        <p:spPr>
          <a:xfrm>
            <a:off x="3506945" y="2905699"/>
            <a:ext cx="473575" cy="473840"/>
          </a:xfrm>
          <a:prstGeom prst="rect">
            <a:avLst/>
          </a:prstGeom>
        </p:spPr>
      </p:pic>
      <p:pic>
        <p:nvPicPr>
          <p:cNvPr id="76" name="Picture 75"/>
          <p:cNvPicPr>
            <a:picLocks noChangeAspect="1"/>
          </p:cNvPicPr>
          <p:nvPr/>
        </p:nvPicPr>
        <p:blipFill>
          <a:blip r:embed="rId5"/>
          <a:stretch>
            <a:fillRect/>
          </a:stretch>
        </p:blipFill>
        <p:spPr>
          <a:xfrm>
            <a:off x="10833651" y="2827754"/>
            <a:ext cx="554393" cy="620313"/>
          </a:xfrm>
          <a:prstGeom prst="rect">
            <a:avLst/>
          </a:prstGeom>
        </p:spPr>
      </p:pic>
      <p:pic>
        <p:nvPicPr>
          <p:cNvPr id="77" name="Picture 76"/>
          <p:cNvPicPr>
            <a:picLocks noChangeAspect="1"/>
          </p:cNvPicPr>
          <p:nvPr/>
        </p:nvPicPr>
        <p:blipFill>
          <a:blip r:embed="rId6"/>
          <a:stretch>
            <a:fillRect/>
          </a:stretch>
        </p:blipFill>
        <p:spPr>
          <a:xfrm>
            <a:off x="6073466" y="2828863"/>
            <a:ext cx="339457" cy="595871"/>
          </a:xfrm>
          <a:prstGeom prst="rect">
            <a:avLst/>
          </a:prstGeom>
        </p:spPr>
      </p:pic>
      <p:pic>
        <p:nvPicPr>
          <p:cNvPr id="78" name="Picture 77"/>
          <p:cNvPicPr>
            <a:picLocks noChangeAspect="1"/>
          </p:cNvPicPr>
          <p:nvPr/>
        </p:nvPicPr>
        <p:blipFill>
          <a:blip r:embed="rId7"/>
          <a:stretch>
            <a:fillRect/>
          </a:stretch>
        </p:blipFill>
        <p:spPr>
          <a:xfrm>
            <a:off x="8450222" y="2832009"/>
            <a:ext cx="529511" cy="610749"/>
          </a:xfrm>
          <a:prstGeom prst="rect">
            <a:avLst/>
          </a:prstGeom>
        </p:spPr>
      </p:pic>
      <p:sp>
        <p:nvSpPr>
          <p:cNvPr id="79" name="Rectangle 78"/>
          <p:cNvSpPr/>
          <p:nvPr/>
        </p:nvSpPr>
        <p:spPr>
          <a:xfrm>
            <a:off x="7802263" y="4507289"/>
            <a:ext cx="2376037" cy="2793574"/>
          </a:xfrm>
          <a:prstGeom prst="rect">
            <a:avLst/>
          </a:prstGeom>
          <a:noFill/>
          <a:ln w="3175">
            <a:noFill/>
            <a:prstDash val="dash"/>
          </a:ln>
        </p:spPr>
        <p:style>
          <a:lnRef idx="2">
            <a:schemeClr val="accent1"/>
          </a:lnRef>
          <a:fillRef idx="1">
            <a:schemeClr val="lt1"/>
          </a:fillRef>
          <a:effectRef idx="0">
            <a:schemeClr val="accent1"/>
          </a:effectRef>
          <a:fontRef idx="minor">
            <a:schemeClr val="dk1"/>
          </a:fontRef>
        </p:style>
        <p:txBody>
          <a:bodyPr rtlCol="0" anchor="t"/>
          <a:lstStyle/>
          <a:p>
            <a:pPr defTabSz="950973"/>
            <a:r>
              <a:rPr lang="en-US" sz="1400" kern="0" dirty="0">
                <a:solidFill>
                  <a:schemeClr val="bg2">
                    <a:lumMod val="10000"/>
                  </a:schemeClr>
                </a:solidFill>
              </a:rPr>
              <a:t>Create and share rich custom visualizations </a:t>
            </a:r>
          </a:p>
          <a:p>
            <a:pPr defTabSz="950973">
              <a:lnSpc>
                <a:spcPts val="1200"/>
              </a:lnSpc>
            </a:pPr>
            <a:r>
              <a:rPr lang="en-US" sz="1400" kern="0" dirty="0">
                <a:solidFill>
                  <a:schemeClr val="bg2">
                    <a:lumMod val="10000"/>
                  </a:schemeClr>
                </a:solidFill>
              </a:rPr>
              <a:t>and dashboards</a:t>
            </a:r>
            <a:br>
              <a:rPr lang="en-US" sz="1400" kern="0" dirty="0">
                <a:solidFill>
                  <a:schemeClr val="bg2">
                    <a:lumMod val="10000"/>
                  </a:schemeClr>
                </a:solidFill>
              </a:rPr>
            </a:br>
            <a:endParaRPr lang="en-US" sz="1400" kern="0" dirty="0">
              <a:solidFill>
                <a:schemeClr val="bg2">
                  <a:lumMod val="10000"/>
                </a:schemeClr>
              </a:solidFill>
            </a:endParaRPr>
          </a:p>
          <a:p>
            <a:pPr defTabSz="950973">
              <a:lnSpc>
                <a:spcPts val="1200"/>
              </a:lnSpc>
            </a:pPr>
            <a:r>
              <a:rPr lang="en-US" sz="1400" kern="0" dirty="0">
                <a:solidFill>
                  <a:schemeClr val="bg2">
                    <a:lumMod val="10000"/>
                  </a:schemeClr>
                </a:solidFill>
              </a:rPr>
              <a:t>Create and share organizational content packs</a:t>
            </a:r>
          </a:p>
        </p:txBody>
      </p:sp>
      <p:sp>
        <p:nvSpPr>
          <p:cNvPr id="80" name="Rectangle 79"/>
          <p:cNvSpPr/>
          <p:nvPr/>
        </p:nvSpPr>
        <p:spPr>
          <a:xfrm>
            <a:off x="2651523" y="4502077"/>
            <a:ext cx="3305197" cy="2803998"/>
          </a:xfrm>
          <a:prstGeom prst="rect">
            <a:avLst/>
          </a:prstGeom>
          <a:noFill/>
          <a:ln w="3175">
            <a:noFill/>
            <a:prstDash val="dash"/>
          </a:ln>
        </p:spPr>
        <p:style>
          <a:lnRef idx="2">
            <a:schemeClr val="accent1"/>
          </a:lnRef>
          <a:fillRef idx="1">
            <a:schemeClr val="lt1"/>
          </a:fillRef>
          <a:effectRef idx="0">
            <a:schemeClr val="accent1"/>
          </a:effectRef>
          <a:fontRef idx="minor">
            <a:schemeClr val="dk1"/>
          </a:fontRef>
        </p:style>
        <p:txBody>
          <a:bodyPr rtlCol="0" anchor="t"/>
          <a:lstStyle/>
          <a:p>
            <a:pPr defTabSz="950973">
              <a:lnSpc>
                <a:spcPts val="1200"/>
              </a:lnSpc>
            </a:pPr>
            <a:r>
              <a:rPr lang="en-US" sz="1400" kern="0" dirty="0">
                <a:solidFill>
                  <a:schemeClr val="bg2">
                    <a:lumMod val="10000"/>
                  </a:schemeClr>
                </a:solidFill>
              </a:rPr>
              <a:t>Provide access to partner </a:t>
            </a:r>
            <a:br>
              <a:rPr lang="en-US" sz="1400" kern="0" dirty="0">
                <a:solidFill>
                  <a:schemeClr val="bg2">
                    <a:lumMod val="10000"/>
                  </a:schemeClr>
                </a:solidFill>
              </a:rPr>
            </a:br>
            <a:endParaRPr lang="en-US" sz="1400" kern="0" dirty="0">
              <a:solidFill>
                <a:schemeClr val="bg2">
                  <a:lumMod val="10000"/>
                </a:schemeClr>
              </a:solidFill>
            </a:endParaRPr>
          </a:p>
          <a:p>
            <a:pPr defTabSz="950973">
              <a:lnSpc>
                <a:spcPts val="1200"/>
              </a:lnSpc>
            </a:pPr>
            <a:r>
              <a:rPr lang="en-US" sz="1400" kern="0" dirty="0">
                <a:solidFill>
                  <a:schemeClr val="bg2">
                    <a:lumMod val="10000"/>
                  </a:schemeClr>
                </a:solidFill>
              </a:rPr>
              <a:t>Add users to subscription</a:t>
            </a:r>
            <a:br>
              <a:rPr lang="en-US" sz="1400" kern="0" dirty="0">
                <a:solidFill>
                  <a:schemeClr val="bg2">
                    <a:lumMod val="10000"/>
                  </a:schemeClr>
                </a:solidFill>
              </a:rPr>
            </a:br>
            <a:r>
              <a:rPr lang="en-US" sz="1400" kern="0" dirty="0">
                <a:solidFill>
                  <a:schemeClr val="bg2">
                    <a:lumMod val="10000"/>
                  </a:schemeClr>
                </a:solidFill>
              </a:rPr>
              <a:t> </a:t>
            </a:r>
          </a:p>
          <a:p>
            <a:pPr defTabSz="950973">
              <a:lnSpc>
                <a:spcPts val="1200"/>
              </a:lnSpc>
            </a:pPr>
            <a:r>
              <a:rPr lang="en-US" sz="1400" kern="0" dirty="0">
                <a:solidFill>
                  <a:schemeClr val="bg2">
                    <a:lumMod val="10000"/>
                  </a:schemeClr>
                </a:solidFill>
              </a:rPr>
              <a:t>Assign subscription licenses </a:t>
            </a:r>
          </a:p>
          <a:p>
            <a:pPr defTabSz="950973">
              <a:lnSpc>
                <a:spcPts val="1200"/>
              </a:lnSpc>
            </a:pPr>
            <a:r>
              <a:rPr lang="en-US" sz="1400" kern="0" dirty="0">
                <a:solidFill>
                  <a:schemeClr val="bg2">
                    <a:lumMod val="10000"/>
                  </a:schemeClr>
                </a:solidFill>
              </a:rPr>
              <a:t>to users</a:t>
            </a:r>
          </a:p>
        </p:txBody>
      </p:sp>
      <p:sp>
        <p:nvSpPr>
          <p:cNvPr id="81" name="Rectangle 80"/>
          <p:cNvSpPr/>
          <p:nvPr/>
        </p:nvSpPr>
        <p:spPr>
          <a:xfrm>
            <a:off x="5258876" y="4512720"/>
            <a:ext cx="2169540" cy="2782712"/>
          </a:xfrm>
          <a:prstGeom prst="rect">
            <a:avLst/>
          </a:prstGeom>
          <a:noFill/>
          <a:ln w="3175">
            <a:noFill/>
            <a:prstDash val="dash"/>
          </a:ln>
        </p:spPr>
        <p:style>
          <a:lnRef idx="2">
            <a:schemeClr val="accent1"/>
          </a:lnRef>
          <a:fillRef idx="1">
            <a:schemeClr val="lt1"/>
          </a:fillRef>
          <a:effectRef idx="0">
            <a:schemeClr val="accent1"/>
          </a:effectRef>
          <a:fontRef idx="minor">
            <a:schemeClr val="dk1"/>
          </a:fontRef>
        </p:style>
        <p:txBody>
          <a:bodyPr rtlCol="0" anchor="t"/>
          <a:lstStyle/>
          <a:p>
            <a:pPr defTabSz="950973"/>
            <a:r>
              <a:rPr lang="en-US" sz="1400" kern="0" dirty="0">
                <a:solidFill>
                  <a:schemeClr val="bg2">
                    <a:lumMod val="10000"/>
                  </a:schemeClr>
                </a:solidFill>
              </a:rPr>
              <a:t>Connect to on premise data sources and various SaaS services</a:t>
            </a:r>
          </a:p>
        </p:txBody>
      </p:sp>
      <p:sp>
        <p:nvSpPr>
          <p:cNvPr id="82" name="Rectangle 81"/>
          <p:cNvSpPr/>
          <p:nvPr/>
        </p:nvSpPr>
        <p:spPr>
          <a:xfrm>
            <a:off x="10157294" y="4524468"/>
            <a:ext cx="2379900" cy="2759217"/>
          </a:xfrm>
          <a:prstGeom prst="rect">
            <a:avLst/>
          </a:prstGeom>
          <a:noFill/>
          <a:ln w="3175">
            <a:noFill/>
            <a:prstDash val="dash"/>
          </a:ln>
        </p:spPr>
        <p:style>
          <a:lnRef idx="2">
            <a:schemeClr val="accent1"/>
          </a:lnRef>
          <a:fillRef idx="1">
            <a:schemeClr val="lt1"/>
          </a:fillRef>
          <a:effectRef idx="0">
            <a:schemeClr val="accent1"/>
          </a:effectRef>
          <a:fontRef idx="minor">
            <a:schemeClr val="dk1"/>
          </a:fontRef>
        </p:style>
        <p:txBody>
          <a:bodyPr rtlCol="0" anchor="t"/>
          <a:lstStyle/>
          <a:p>
            <a:pPr defTabSz="950973"/>
            <a:r>
              <a:rPr lang="en-US" sz="1400" kern="0" dirty="0">
                <a:solidFill>
                  <a:schemeClr val="bg2">
                    <a:lumMod val="10000"/>
                  </a:schemeClr>
                </a:solidFill>
              </a:rPr>
              <a:t>Maintain and support power BI dashboards</a:t>
            </a:r>
          </a:p>
        </p:txBody>
      </p:sp>
      <p:sp>
        <p:nvSpPr>
          <p:cNvPr id="83" name="Rectangle 82"/>
          <p:cNvSpPr/>
          <p:nvPr/>
        </p:nvSpPr>
        <p:spPr>
          <a:xfrm>
            <a:off x="192779" y="4512720"/>
            <a:ext cx="2254058" cy="2782712"/>
          </a:xfrm>
          <a:prstGeom prst="rect">
            <a:avLst/>
          </a:prstGeom>
          <a:noFill/>
          <a:ln w="3175">
            <a:noFill/>
            <a:prstDash val="dash"/>
          </a:ln>
        </p:spPr>
        <p:style>
          <a:lnRef idx="2">
            <a:schemeClr val="accent1"/>
          </a:lnRef>
          <a:fillRef idx="1">
            <a:schemeClr val="lt1"/>
          </a:fillRef>
          <a:effectRef idx="0">
            <a:schemeClr val="accent1"/>
          </a:effectRef>
          <a:fontRef idx="minor">
            <a:schemeClr val="dk1"/>
          </a:fontRef>
        </p:style>
        <p:txBody>
          <a:bodyPr rtlCol="0" anchor="t"/>
          <a:lstStyle/>
          <a:p>
            <a:pPr defTabSz="950973">
              <a:lnSpc>
                <a:spcPts val="1200"/>
              </a:lnSpc>
            </a:pPr>
            <a:r>
              <a:rPr lang="en-US" sz="1400" kern="0" dirty="0">
                <a:solidFill>
                  <a:schemeClr val="bg2">
                    <a:lumMod val="10000"/>
                  </a:schemeClr>
                </a:solidFill>
              </a:rPr>
              <a:t>Power BI with Office 365</a:t>
            </a:r>
            <a:br>
              <a:rPr lang="en-US" sz="1400" kern="0" dirty="0">
                <a:solidFill>
                  <a:schemeClr val="bg2">
                    <a:lumMod val="10000"/>
                  </a:schemeClr>
                </a:solidFill>
              </a:rPr>
            </a:br>
            <a:endParaRPr lang="en-US" sz="1400" kern="0" dirty="0">
              <a:solidFill>
                <a:schemeClr val="bg2">
                  <a:lumMod val="10000"/>
                </a:schemeClr>
              </a:solidFill>
            </a:endParaRPr>
          </a:p>
          <a:p>
            <a:pPr defTabSz="950973">
              <a:lnSpc>
                <a:spcPts val="1200"/>
              </a:lnSpc>
            </a:pPr>
            <a:r>
              <a:rPr lang="en-US" sz="1400" kern="0" dirty="0">
                <a:solidFill>
                  <a:schemeClr val="bg2">
                    <a:lumMod val="10000"/>
                  </a:schemeClr>
                </a:solidFill>
              </a:rPr>
              <a:t>Power BI standalone SKU</a:t>
            </a:r>
          </a:p>
        </p:txBody>
      </p:sp>
    </p:spTree>
    <p:extLst>
      <p:ext uri="{BB962C8B-B14F-4D97-AF65-F5344CB8AC3E}">
        <p14:creationId xmlns:p14="http://schemas.microsoft.com/office/powerpoint/2010/main" val="8702966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6"/>
                                        </p:tgtEl>
                                        <p:attrNameLst>
                                          <p:attrName>style.visibility</p:attrName>
                                        </p:attrNameLst>
                                      </p:cBhvr>
                                      <p:to>
                                        <p:strVal val="visible"/>
                                      </p:to>
                                    </p:set>
                                    <p:animEffect transition="in" filter="fade">
                                      <p:cBhvr>
                                        <p:cTn id="7" dur="500"/>
                                        <p:tgtEl>
                                          <p:spTgt spid="15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4"/>
                                        </p:tgtEl>
                                        <p:attrNameLst>
                                          <p:attrName>style.visibility</p:attrName>
                                        </p:attrNameLst>
                                      </p:cBhvr>
                                      <p:to>
                                        <p:strVal val="visible"/>
                                      </p:to>
                                    </p:set>
                                    <p:animEffect transition="in" filter="fade">
                                      <p:cBhvr>
                                        <p:cTn id="10" dur="500"/>
                                        <p:tgtEl>
                                          <p:spTgt spid="74"/>
                                        </p:tgtEl>
                                      </p:cBhvr>
                                    </p:animEffect>
                                  </p:childTnLst>
                                </p:cTn>
                              </p:par>
                              <p:par>
                                <p:cTn id="11" presetID="10" presetClass="entr" presetSubtype="0" fill="hold"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500"/>
                                        <p:tgtEl>
                                          <p:spTgt spid="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2"/>
                                        </p:tgtEl>
                                        <p:attrNameLst>
                                          <p:attrName>style.visibility</p:attrName>
                                        </p:attrNameLst>
                                      </p:cBhvr>
                                      <p:to>
                                        <p:strVal val="visible"/>
                                      </p:to>
                                    </p:set>
                                    <p:animEffect transition="in" filter="fade">
                                      <p:cBhvr>
                                        <p:cTn id="16" dur="500"/>
                                        <p:tgtEl>
                                          <p:spTgt spid="12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83"/>
                                        </p:tgtEl>
                                        <p:attrNameLst>
                                          <p:attrName>style.visibility</p:attrName>
                                        </p:attrNameLst>
                                      </p:cBhvr>
                                      <p:to>
                                        <p:strVal val="visible"/>
                                      </p:to>
                                    </p:set>
                                    <p:animEffect transition="in" filter="fade">
                                      <p:cBhvr>
                                        <p:cTn id="19" dur="500"/>
                                        <p:tgtEl>
                                          <p:spTgt spid="83"/>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80"/>
                                        </p:tgtEl>
                                        <p:attrNameLst>
                                          <p:attrName>style.visibility</p:attrName>
                                        </p:attrNameLst>
                                      </p:cBhvr>
                                      <p:to>
                                        <p:strVal val="visible"/>
                                      </p:to>
                                    </p:set>
                                    <p:animEffect transition="in" filter="fade">
                                      <p:cBhvr>
                                        <p:cTn id="22" dur="500"/>
                                        <p:tgtEl>
                                          <p:spTgt spid="8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91"/>
                                        </p:tgtEl>
                                        <p:attrNameLst>
                                          <p:attrName>style.visibility</p:attrName>
                                        </p:attrNameLst>
                                      </p:cBhvr>
                                      <p:to>
                                        <p:strVal val="visible"/>
                                      </p:to>
                                    </p:set>
                                    <p:animEffect transition="in" filter="fade">
                                      <p:cBhvr>
                                        <p:cTn id="25" dur="500"/>
                                        <p:tgtEl>
                                          <p:spTgt spid="91"/>
                                        </p:tgtEl>
                                      </p:cBhvr>
                                    </p:animEffect>
                                  </p:childTnLst>
                                </p:cTn>
                              </p:par>
                              <p:par>
                                <p:cTn id="26" presetID="10" presetClass="entr" presetSubtype="0" fill="hold" nodeType="withEffect">
                                  <p:stCondLst>
                                    <p:cond delay="0"/>
                                  </p:stCondLst>
                                  <p:childTnLst>
                                    <p:set>
                                      <p:cBhvr>
                                        <p:cTn id="27" dur="1" fill="hold">
                                          <p:stCondLst>
                                            <p:cond delay="0"/>
                                          </p:stCondLst>
                                        </p:cTn>
                                        <p:tgtEl>
                                          <p:spTgt spid="28"/>
                                        </p:tgtEl>
                                        <p:attrNameLst>
                                          <p:attrName>style.visibility</p:attrName>
                                        </p:attrNameLst>
                                      </p:cBhvr>
                                      <p:to>
                                        <p:strVal val="visible"/>
                                      </p:to>
                                    </p:set>
                                    <p:animEffect transition="in" filter="fade">
                                      <p:cBhvr>
                                        <p:cTn id="28" dur="500"/>
                                        <p:tgtEl>
                                          <p:spTgt spid="2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63"/>
                                        </p:tgtEl>
                                        <p:attrNameLst>
                                          <p:attrName>style.visibility</p:attrName>
                                        </p:attrNameLst>
                                      </p:cBhvr>
                                      <p:to>
                                        <p:strVal val="visible"/>
                                      </p:to>
                                    </p:set>
                                    <p:animEffect transition="in" filter="fade">
                                      <p:cBhvr>
                                        <p:cTn id="31" dur="500"/>
                                        <p:tgtEl>
                                          <p:spTgt spid="63"/>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45"/>
                                        </p:tgtEl>
                                        <p:attrNameLst>
                                          <p:attrName>style.visibility</p:attrName>
                                        </p:attrNameLst>
                                      </p:cBhvr>
                                      <p:to>
                                        <p:strVal val="visible"/>
                                      </p:to>
                                    </p:set>
                                    <p:animEffect transition="in" filter="fade">
                                      <p:cBhvr>
                                        <p:cTn id="34" dur="500"/>
                                        <p:tgtEl>
                                          <p:spTgt spid="145"/>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46"/>
                                        </p:tgtEl>
                                        <p:attrNameLst>
                                          <p:attrName>style.visibility</p:attrName>
                                        </p:attrNameLst>
                                      </p:cBhvr>
                                      <p:to>
                                        <p:strVal val="visible"/>
                                      </p:to>
                                    </p:set>
                                    <p:animEffect transition="in" filter="fade">
                                      <p:cBhvr>
                                        <p:cTn id="39" dur="500"/>
                                        <p:tgtEl>
                                          <p:spTgt spid="146"/>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70"/>
                                        </p:tgtEl>
                                        <p:attrNameLst>
                                          <p:attrName>style.visibility</p:attrName>
                                        </p:attrNameLst>
                                      </p:cBhvr>
                                      <p:to>
                                        <p:strVal val="visible"/>
                                      </p:to>
                                    </p:set>
                                    <p:animEffect transition="in" filter="fade">
                                      <p:cBhvr>
                                        <p:cTn id="42" dur="500"/>
                                        <p:tgtEl>
                                          <p:spTgt spid="70"/>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52"/>
                                        </p:tgtEl>
                                        <p:attrNameLst>
                                          <p:attrName>style.visibility</p:attrName>
                                        </p:attrNameLst>
                                      </p:cBhvr>
                                      <p:to>
                                        <p:strVal val="visible"/>
                                      </p:to>
                                    </p:set>
                                    <p:animEffect transition="in" filter="fade">
                                      <p:cBhvr>
                                        <p:cTn id="45" dur="500"/>
                                        <p:tgtEl>
                                          <p:spTgt spid="52"/>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62"/>
                                        </p:tgtEl>
                                        <p:attrNameLst>
                                          <p:attrName>style.visibility</p:attrName>
                                        </p:attrNameLst>
                                      </p:cBhvr>
                                      <p:to>
                                        <p:strVal val="visible"/>
                                      </p:to>
                                    </p:set>
                                    <p:animEffect transition="in" filter="fade">
                                      <p:cBhvr>
                                        <p:cTn id="48" dur="500"/>
                                        <p:tgtEl>
                                          <p:spTgt spid="62"/>
                                        </p:tgtEl>
                                      </p:cBhvr>
                                    </p:animEffect>
                                  </p:childTnLst>
                                </p:cTn>
                              </p:par>
                              <p:par>
                                <p:cTn id="49" presetID="10" presetClass="entr" presetSubtype="0" fill="hold" nodeType="withEffect">
                                  <p:stCondLst>
                                    <p:cond delay="0"/>
                                  </p:stCondLst>
                                  <p:childTnLst>
                                    <p:set>
                                      <p:cBhvr>
                                        <p:cTn id="50" dur="1" fill="hold">
                                          <p:stCondLst>
                                            <p:cond delay="0"/>
                                          </p:stCondLst>
                                        </p:cTn>
                                        <p:tgtEl>
                                          <p:spTgt spid="77"/>
                                        </p:tgtEl>
                                        <p:attrNameLst>
                                          <p:attrName>style.visibility</p:attrName>
                                        </p:attrNameLst>
                                      </p:cBhvr>
                                      <p:to>
                                        <p:strVal val="visible"/>
                                      </p:to>
                                    </p:set>
                                    <p:animEffect transition="in" filter="fade">
                                      <p:cBhvr>
                                        <p:cTn id="51" dur="500"/>
                                        <p:tgtEl>
                                          <p:spTgt spid="77"/>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00"/>
                                        </p:tgtEl>
                                        <p:attrNameLst>
                                          <p:attrName>style.visibility</p:attrName>
                                        </p:attrNameLst>
                                      </p:cBhvr>
                                      <p:to>
                                        <p:strVal val="visible"/>
                                      </p:to>
                                    </p:set>
                                    <p:animEffect transition="in" filter="fade">
                                      <p:cBhvr>
                                        <p:cTn id="54" dur="500"/>
                                        <p:tgtEl>
                                          <p:spTgt spid="100"/>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81"/>
                                        </p:tgtEl>
                                        <p:attrNameLst>
                                          <p:attrName>style.visibility</p:attrName>
                                        </p:attrNameLst>
                                      </p:cBhvr>
                                      <p:to>
                                        <p:strVal val="visible"/>
                                      </p:to>
                                    </p:set>
                                    <p:animEffect transition="in" filter="fade">
                                      <p:cBhvr>
                                        <p:cTn id="57" dur="500"/>
                                        <p:tgtEl>
                                          <p:spTgt spid="81"/>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147"/>
                                        </p:tgtEl>
                                        <p:attrNameLst>
                                          <p:attrName>style.visibility</p:attrName>
                                        </p:attrNameLst>
                                      </p:cBhvr>
                                      <p:to>
                                        <p:strVal val="visible"/>
                                      </p:to>
                                    </p:set>
                                    <p:animEffect transition="in" filter="fade">
                                      <p:cBhvr>
                                        <p:cTn id="60" dur="500"/>
                                        <p:tgtEl>
                                          <p:spTgt spid="147"/>
                                        </p:tgtEl>
                                      </p:cBhvr>
                                    </p:animEffect>
                                  </p:childTnLst>
                                </p:cTn>
                              </p:par>
                              <p:par>
                                <p:cTn id="61" presetID="10" presetClass="entr" presetSubtype="0" fill="hold" nodeType="withEffect">
                                  <p:stCondLst>
                                    <p:cond delay="0"/>
                                  </p:stCondLst>
                                  <p:childTnLst>
                                    <p:set>
                                      <p:cBhvr>
                                        <p:cTn id="62" dur="1" fill="hold">
                                          <p:stCondLst>
                                            <p:cond delay="0"/>
                                          </p:stCondLst>
                                        </p:cTn>
                                        <p:tgtEl>
                                          <p:spTgt spid="78"/>
                                        </p:tgtEl>
                                        <p:attrNameLst>
                                          <p:attrName>style.visibility</p:attrName>
                                        </p:attrNameLst>
                                      </p:cBhvr>
                                      <p:to>
                                        <p:strVal val="visible"/>
                                      </p:to>
                                    </p:set>
                                    <p:animEffect transition="in" filter="fade">
                                      <p:cBhvr>
                                        <p:cTn id="63" dur="500"/>
                                        <p:tgtEl>
                                          <p:spTgt spid="78"/>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65"/>
                                        </p:tgtEl>
                                        <p:attrNameLst>
                                          <p:attrName>style.visibility</p:attrName>
                                        </p:attrNameLst>
                                      </p:cBhvr>
                                      <p:to>
                                        <p:strVal val="visible"/>
                                      </p:to>
                                    </p:set>
                                    <p:animEffect transition="in" filter="fade">
                                      <p:cBhvr>
                                        <p:cTn id="66" dur="500"/>
                                        <p:tgtEl>
                                          <p:spTgt spid="65"/>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69"/>
                                        </p:tgtEl>
                                        <p:attrNameLst>
                                          <p:attrName>style.visibility</p:attrName>
                                        </p:attrNameLst>
                                      </p:cBhvr>
                                      <p:to>
                                        <p:strVal val="visible"/>
                                      </p:to>
                                    </p:set>
                                    <p:animEffect transition="in" filter="fade">
                                      <p:cBhvr>
                                        <p:cTn id="69" dur="500"/>
                                        <p:tgtEl>
                                          <p:spTgt spid="69"/>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79"/>
                                        </p:tgtEl>
                                        <p:attrNameLst>
                                          <p:attrName>style.visibility</p:attrName>
                                        </p:attrNameLst>
                                      </p:cBhvr>
                                      <p:to>
                                        <p:strVal val="visible"/>
                                      </p:to>
                                    </p:set>
                                    <p:animEffect transition="in" filter="fade">
                                      <p:cBhvr>
                                        <p:cTn id="72" dur="500"/>
                                        <p:tgtEl>
                                          <p:spTgt spid="79"/>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148"/>
                                        </p:tgtEl>
                                        <p:attrNameLst>
                                          <p:attrName>style.visibility</p:attrName>
                                        </p:attrNameLst>
                                      </p:cBhvr>
                                      <p:to>
                                        <p:strVal val="visible"/>
                                      </p:to>
                                    </p:set>
                                    <p:animEffect transition="in" filter="fade">
                                      <p:cBhvr>
                                        <p:cTn id="75" dur="500"/>
                                        <p:tgtEl>
                                          <p:spTgt spid="148"/>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72"/>
                                        </p:tgtEl>
                                        <p:attrNameLst>
                                          <p:attrName>style.visibility</p:attrName>
                                        </p:attrNameLst>
                                      </p:cBhvr>
                                      <p:to>
                                        <p:strVal val="visible"/>
                                      </p:to>
                                    </p:set>
                                    <p:animEffect transition="in" filter="fade">
                                      <p:cBhvr>
                                        <p:cTn id="78" dur="500"/>
                                        <p:tgtEl>
                                          <p:spTgt spid="72"/>
                                        </p:tgtEl>
                                      </p:cBhvr>
                                    </p:animEffect>
                                  </p:childTnLst>
                                </p:cTn>
                              </p:par>
                              <p:par>
                                <p:cTn id="79" presetID="10" presetClass="entr" presetSubtype="0" fill="hold" nodeType="withEffect">
                                  <p:stCondLst>
                                    <p:cond delay="0"/>
                                  </p:stCondLst>
                                  <p:childTnLst>
                                    <p:set>
                                      <p:cBhvr>
                                        <p:cTn id="80" dur="1" fill="hold">
                                          <p:stCondLst>
                                            <p:cond delay="0"/>
                                          </p:stCondLst>
                                        </p:cTn>
                                        <p:tgtEl>
                                          <p:spTgt spid="76"/>
                                        </p:tgtEl>
                                        <p:attrNameLst>
                                          <p:attrName>style.visibility</p:attrName>
                                        </p:attrNameLst>
                                      </p:cBhvr>
                                      <p:to>
                                        <p:strVal val="visible"/>
                                      </p:to>
                                    </p:set>
                                    <p:animEffect transition="in" filter="fade">
                                      <p:cBhvr>
                                        <p:cTn id="81" dur="500"/>
                                        <p:tgtEl>
                                          <p:spTgt spid="76"/>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141"/>
                                        </p:tgtEl>
                                        <p:attrNameLst>
                                          <p:attrName>style.visibility</p:attrName>
                                        </p:attrNameLst>
                                      </p:cBhvr>
                                      <p:to>
                                        <p:strVal val="visible"/>
                                      </p:to>
                                    </p:set>
                                    <p:animEffect transition="in" filter="fade">
                                      <p:cBhvr>
                                        <p:cTn id="84" dur="500"/>
                                        <p:tgtEl>
                                          <p:spTgt spid="141"/>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82"/>
                                        </p:tgtEl>
                                        <p:attrNameLst>
                                          <p:attrName>style.visibility</p:attrName>
                                        </p:attrNameLst>
                                      </p:cBhvr>
                                      <p:to>
                                        <p:strVal val="visible"/>
                                      </p:to>
                                    </p:set>
                                    <p:animEffect transition="in" filter="fade">
                                      <p:cBhvr>
                                        <p:cTn id="87" dur="500"/>
                                        <p:tgtEl>
                                          <p:spTgt spid="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74" grpId="0" animBg="1"/>
      <p:bldP spid="69" grpId="0"/>
      <p:bldP spid="65" grpId="0" animBg="1"/>
      <p:bldP spid="91" grpId="0"/>
      <p:bldP spid="63" grpId="0" animBg="1"/>
      <p:bldP spid="100" grpId="0"/>
      <p:bldP spid="62" grpId="0" animBg="1"/>
      <p:bldP spid="141" grpId="0"/>
      <p:bldP spid="72" grpId="0" animBg="1"/>
      <p:bldP spid="145" grpId="0" animBg="1"/>
      <p:bldP spid="146" grpId="0" animBg="1"/>
      <p:bldP spid="147" grpId="0" animBg="1"/>
      <p:bldP spid="148" grpId="0" animBg="1"/>
      <p:bldP spid="156" grpId="0"/>
      <p:bldP spid="122" grpId="0"/>
      <p:bldP spid="70" grpId="0"/>
      <p:bldP spid="79" grpId="0"/>
      <p:bldP spid="80" grpId="0"/>
      <p:bldP spid="81" grpId="0"/>
      <p:bldP spid="82" grpId="0"/>
      <p:bldP spid="83"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Oval 60"/>
          <p:cNvSpPr/>
          <p:nvPr/>
        </p:nvSpPr>
        <p:spPr bwMode="auto">
          <a:xfrm>
            <a:off x="5626419" y="2537998"/>
            <a:ext cx="1233553" cy="1233553"/>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a:xfrm>
            <a:off x="283291" y="163667"/>
            <a:ext cx="11885514" cy="946413"/>
          </a:xfrm>
        </p:spPr>
        <p:txBody>
          <a:bodyPr/>
          <a:lstStyle/>
          <a:p>
            <a:r>
              <a:rPr lang="en-US" sz="4800" dirty="0">
                <a:solidFill>
                  <a:schemeClr val="bg2">
                    <a:lumMod val="10000"/>
                  </a:schemeClr>
                </a:solidFill>
              </a:rPr>
              <a:t>Life cycle of a Power BI engagement with CSP</a:t>
            </a:r>
          </a:p>
        </p:txBody>
      </p:sp>
      <p:sp>
        <p:nvSpPr>
          <p:cNvPr id="73" name="Oval 72"/>
          <p:cNvSpPr/>
          <p:nvPr/>
        </p:nvSpPr>
        <p:spPr bwMode="auto">
          <a:xfrm>
            <a:off x="8119435" y="2537998"/>
            <a:ext cx="1233553" cy="1233553"/>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1" name="Oval 80"/>
          <p:cNvSpPr/>
          <p:nvPr/>
        </p:nvSpPr>
        <p:spPr bwMode="auto">
          <a:xfrm>
            <a:off x="3126957" y="2537998"/>
            <a:ext cx="1233553" cy="1233553"/>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2" name="Oval 141"/>
          <p:cNvSpPr/>
          <p:nvPr/>
        </p:nvSpPr>
        <p:spPr bwMode="auto">
          <a:xfrm>
            <a:off x="10497099" y="2537998"/>
            <a:ext cx="1233553" cy="1233553"/>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4" name="Right Arrow 153"/>
          <p:cNvSpPr/>
          <p:nvPr/>
        </p:nvSpPr>
        <p:spPr bwMode="auto">
          <a:xfrm>
            <a:off x="2153014" y="2951872"/>
            <a:ext cx="498240" cy="405805"/>
          </a:xfrm>
          <a:prstGeom prst="rightArrow">
            <a:avLst/>
          </a:prstGeom>
          <a:solidFill>
            <a:schemeClr val="bg2">
              <a:lumMod val="1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dirty="0">
              <a:solidFill>
                <a:schemeClr val="bg2">
                  <a:lumMod val="10000"/>
                </a:schemeClr>
              </a:solidFill>
            </a:endParaRPr>
          </a:p>
        </p:txBody>
      </p:sp>
      <p:sp>
        <p:nvSpPr>
          <p:cNvPr id="155" name="Right Arrow 154"/>
          <p:cNvSpPr/>
          <p:nvPr/>
        </p:nvSpPr>
        <p:spPr bwMode="auto">
          <a:xfrm>
            <a:off x="4731644" y="2951872"/>
            <a:ext cx="498240" cy="405805"/>
          </a:xfrm>
          <a:prstGeom prst="rightArrow">
            <a:avLst/>
          </a:prstGeom>
          <a:solidFill>
            <a:schemeClr val="bg2">
              <a:lumMod val="1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dirty="0">
              <a:solidFill>
                <a:schemeClr val="bg2">
                  <a:lumMod val="10000"/>
                </a:schemeClr>
              </a:solidFill>
            </a:endParaRPr>
          </a:p>
        </p:txBody>
      </p:sp>
      <p:sp>
        <p:nvSpPr>
          <p:cNvPr id="157" name="Right Arrow 156"/>
          <p:cNvSpPr/>
          <p:nvPr/>
        </p:nvSpPr>
        <p:spPr bwMode="auto">
          <a:xfrm>
            <a:off x="7270155" y="2951872"/>
            <a:ext cx="498240" cy="405805"/>
          </a:xfrm>
          <a:prstGeom prst="rightArrow">
            <a:avLst/>
          </a:prstGeom>
          <a:solidFill>
            <a:schemeClr val="bg2">
              <a:lumMod val="1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dirty="0">
              <a:solidFill>
                <a:schemeClr val="bg2">
                  <a:lumMod val="10000"/>
                </a:schemeClr>
              </a:solidFill>
            </a:endParaRPr>
          </a:p>
        </p:txBody>
      </p:sp>
      <p:sp>
        <p:nvSpPr>
          <p:cNvPr id="161" name="Right Arrow 160"/>
          <p:cNvSpPr/>
          <p:nvPr/>
        </p:nvSpPr>
        <p:spPr bwMode="auto">
          <a:xfrm>
            <a:off x="9682603" y="2951872"/>
            <a:ext cx="498240" cy="405805"/>
          </a:xfrm>
          <a:prstGeom prst="rightArrow">
            <a:avLst/>
          </a:prstGeom>
          <a:solidFill>
            <a:schemeClr val="bg2">
              <a:lumMod val="1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dirty="0">
              <a:solidFill>
                <a:schemeClr val="bg2">
                  <a:lumMod val="10000"/>
                </a:schemeClr>
              </a:solidFill>
            </a:endParaRPr>
          </a:p>
        </p:txBody>
      </p:sp>
      <p:sp>
        <p:nvSpPr>
          <p:cNvPr id="166" name="Oval 165"/>
          <p:cNvSpPr/>
          <p:nvPr/>
        </p:nvSpPr>
        <p:spPr bwMode="auto">
          <a:xfrm>
            <a:off x="590172" y="2537998"/>
            <a:ext cx="1233553" cy="1233553"/>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8" name="Rectangle 167"/>
          <p:cNvSpPr/>
          <p:nvPr/>
        </p:nvSpPr>
        <p:spPr bwMode="auto">
          <a:xfrm>
            <a:off x="0" y="6440061"/>
            <a:ext cx="12436475" cy="554464"/>
          </a:xfrm>
          <a:prstGeom prst="rect">
            <a:avLst/>
          </a:prstGeom>
          <a:solidFill>
            <a:schemeClr val="bg2">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9" name="Rectangle 48"/>
          <p:cNvSpPr/>
          <p:nvPr/>
        </p:nvSpPr>
        <p:spPr bwMode="auto">
          <a:xfrm>
            <a:off x="283292" y="1320487"/>
            <a:ext cx="11885513" cy="772829"/>
          </a:xfrm>
          <a:prstGeom prst="rect">
            <a:avLst/>
          </a:prstGeom>
          <a:solidFill>
            <a:srgbClr val="F2C81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
        <p:nvSpPr>
          <p:cNvPr id="50" name="TextBox 49"/>
          <p:cNvSpPr txBox="1"/>
          <p:nvPr/>
        </p:nvSpPr>
        <p:spPr>
          <a:xfrm>
            <a:off x="2585585" y="1414297"/>
            <a:ext cx="7270155" cy="647165"/>
          </a:xfrm>
          <a:prstGeom prst="rect">
            <a:avLst/>
          </a:prstGeom>
          <a:noFill/>
          <a:ln w="22225">
            <a:noFill/>
            <a:prstDash val="sysDash"/>
          </a:ln>
        </p:spPr>
        <p:txBody>
          <a:bodyPr wrap="square" lIns="186521" tIns="149217" rIns="186521" bIns="149217" rtlCol="0">
            <a:spAutoFit/>
          </a:bodyPr>
          <a:lstStyle/>
          <a:p>
            <a:pPr algn="ctr" defTabSz="932597">
              <a:lnSpc>
                <a:spcPct val="90000"/>
              </a:lnSpc>
              <a:spcAft>
                <a:spcPts val="612"/>
              </a:spcAft>
            </a:pPr>
            <a:r>
              <a:rPr lang="en-US" sz="2400" kern="0" dirty="0">
                <a:solidFill>
                  <a:schemeClr val="bg2">
                    <a:lumMod val="10000"/>
                  </a:schemeClr>
                </a:solidFill>
              </a:rPr>
              <a:t>Partners own the entire customer relationship</a:t>
            </a:r>
          </a:p>
        </p:txBody>
      </p:sp>
      <p:grpSp>
        <p:nvGrpSpPr>
          <p:cNvPr id="54" name="Group 53"/>
          <p:cNvGrpSpPr/>
          <p:nvPr/>
        </p:nvGrpSpPr>
        <p:grpSpPr>
          <a:xfrm>
            <a:off x="590172" y="2537998"/>
            <a:ext cx="1233553" cy="1233553"/>
            <a:chOff x="312816" y="2195563"/>
            <a:chExt cx="1233553" cy="1233553"/>
          </a:xfrm>
        </p:grpSpPr>
        <p:sp>
          <p:nvSpPr>
            <p:cNvPr id="55" name="Oval 54"/>
            <p:cNvSpPr/>
            <p:nvPr/>
          </p:nvSpPr>
          <p:spPr bwMode="auto">
            <a:xfrm>
              <a:off x="312816" y="2195563"/>
              <a:ext cx="1233553" cy="1233553"/>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6" name="Picture 55"/>
            <p:cNvPicPr>
              <a:picLocks noChangeAspect="1"/>
            </p:cNvPicPr>
            <p:nvPr/>
          </p:nvPicPr>
          <p:blipFill>
            <a:blip r:embed="rId3"/>
            <a:stretch>
              <a:fillRect/>
            </a:stretch>
          </p:blipFill>
          <p:spPr>
            <a:xfrm>
              <a:off x="699260" y="2542955"/>
              <a:ext cx="420356" cy="480108"/>
            </a:xfrm>
            <a:prstGeom prst="rect">
              <a:avLst/>
            </a:prstGeom>
          </p:spPr>
        </p:pic>
      </p:grpSp>
      <p:pic>
        <p:nvPicPr>
          <p:cNvPr id="58" name="Picture 57"/>
          <p:cNvPicPr>
            <a:picLocks noChangeAspect="1"/>
          </p:cNvPicPr>
          <p:nvPr/>
        </p:nvPicPr>
        <p:blipFill>
          <a:blip r:embed="rId4"/>
          <a:stretch>
            <a:fillRect/>
          </a:stretch>
        </p:blipFill>
        <p:spPr>
          <a:xfrm>
            <a:off x="3506945" y="2905699"/>
            <a:ext cx="473575" cy="473840"/>
          </a:xfrm>
          <a:prstGeom prst="rect">
            <a:avLst/>
          </a:prstGeom>
        </p:spPr>
      </p:pic>
      <p:pic>
        <p:nvPicPr>
          <p:cNvPr id="59" name="Picture 58"/>
          <p:cNvPicPr>
            <a:picLocks noChangeAspect="1"/>
          </p:cNvPicPr>
          <p:nvPr/>
        </p:nvPicPr>
        <p:blipFill>
          <a:blip r:embed="rId5"/>
          <a:stretch>
            <a:fillRect/>
          </a:stretch>
        </p:blipFill>
        <p:spPr>
          <a:xfrm>
            <a:off x="10833651" y="2827754"/>
            <a:ext cx="554393" cy="620313"/>
          </a:xfrm>
          <a:prstGeom prst="rect">
            <a:avLst/>
          </a:prstGeom>
        </p:spPr>
      </p:pic>
      <p:pic>
        <p:nvPicPr>
          <p:cNvPr id="60" name="Picture 59"/>
          <p:cNvPicPr>
            <a:picLocks noChangeAspect="1"/>
          </p:cNvPicPr>
          <p:nvPr/>
        </p:nvPicPr>
        <p:blipFill>
          <a:blip r:embed="rId6"/>
          <a:stretch>
            <a:fillRect/>
          </a:stretch>
        </p:blipFill>
        <p:spPr>
          <a:xfrm>
            <a:off x="6073466" y="2828863"/>
            <a:ext cx="339457" cy="595871"/>
          </a:xfrm>
          <a:prstGeom prst="rect">
            <a:avLst/>
          </a:prstGeom>
        </p:spPr>
      </p:pic>
      <p:pic>
        <p:nvPicPr>
          <p:cNvPr id="5" name="Picture 4"/>
          <p:cNvPicPr>
            <a:picLocks noChangeAspect="1"/>
          </p:cNvPicPr>
          <p:nvPr/>
        </p:nvPicPr>
        <p:blipFill>
          <a:blip r:embed="rId7"/>
          <a:stretch>
            <a:fillRect/>
          </a:stretch>
        </p:blipFill>
        <p:spPr>
          <a:xfrm>
            <a:off x="8450222" y="2832009"/>
            <a:ext cx="529511" cy="610749"/>
          </a:xfrm>
          <a:prstGeom prst="rect">
            <a:avLst/>
          </a:prstGeom>
        </p:spPr>
      </p:pic>
      <p:sp>
        <p:nvSpPr>
          <p:cNvPr id="34" name="TextBox 33"/>
          <p:cNvSpPr txBox="1"/>
          <p:nvPr/>
        </p:nvSpPr>
        <p:spPr>
          <a:xfrm>
            <a:off x="8177175" y="3949498"/>
            <a:ext cx="1118072" cy="577937"/>
          </a:xfrm>
          <a:prstGeom prst="rect">
            <a:avLst/>
          </a:prstGeom>
          <a:noFill/>
        </p:spPr>
        <p:txBody>
          <a:bodyPr wrap="none" lIns="182854" tIns="146283" rIns="182854" bIns="146283" rtlCol="0">
            <a:spAutoFit/>
          </a:bodyPr>
          <a:lstStyle/>
          <a:p>
            <a:pPr algn="ctr" defTabSz="932597">
              <a:lnSpc>
                <a:spcPct val="90000"/>
              </a:lnSpc>
              <a:spcAft>
                <a:spcPts val="600"/>
              </a:spcAft>
            </a:pPr>
            <a:r>
              <a:rPr lang="en-US" sz="2000" kern="0" dirty="0">
                <a:solidFill>
                  <a:schemeClr val="bg2">
                    <a:lumMod val="10000"/>
                  </a:schemeClr>
                </a:solidFill>
              </a:rPr>
              <a:t>Create</a:t>
            </a:r>
          </a:p>
        </p:txBody>
      </p:sp>
      <p:sp>
        <p:nvSpPr>
          <p:cNvPr id="35" name="TextBox 34"/>
          <p:cNvSpPr txBox="1"/>
          <p:nvPr/>
        </p:nvSpPr>
        <p:spPr>
          <a:xfrm>
            <a:off x="3062657" y="3949498"/>
            <a:ext cx="1309356" cy="577937"/>
          </a:xfrm>
          <a:prstGeom prst="rect">
            <a:avLst/>
          </a:prstGeom>
          <a:noFill/>
        </p:spPr>
        <p:txBody>
          <a:bodyPr wrap="none" lIns="182854" tIns="146283" rIns="182854" bIns="146283" rtlCol="0">
            <a:spAutoFit/>
          </a:bodyPr>
          <a:lstStyle/>
          <a:p>
            <a:pPr algn="ctr" defTabSz="932597">
              <a:lnSpc>
                <a:spcPct val="90000"/>
              </a:lnSpc>
              <a:spcAft>
                <a:spcPts val="600"/>
              </a:spcAft>
            </a:pPr>
            <a:r>
              <a:rPr lang="en-US" sz="2000" kern="0" dirty="0">
                <a:solidFill>
                  <a:schemeClr val="bg2">
                    <a:lumMod val="10000"/>
                  </a:schemeClr>
                </a:solidFill>
              </a:rPr>
              <a:t>Manage</a:t>
            </a:r>
          </a:p>
        </p:txBody>
      </p:sp>
      <p:sp>
        <p:nvSpPr>
          <p:cNvPr id="36" name="TextBox 35"/>
          <p:cNvSpPr txBox="1"/>
          <p:nvPr/>
        </p:nvSpPr>
        <p:spPr>
          <a:xfrm>
            <a:off x="5126519" y="3952255"/>
            <a:ext cx="2368225" cy="572422"/>
          </a:xfrm>
          <a:prstGeom prst="rect">
            <a:avLst/>
          </a:prstGeom>
          <a:noFill/>
        </p:spPr>
        <p:txBody>
          <a:bodyPr wrap="none" lIns="182854" tIns="146283" rIns="182854" bIns="146283" rtlCol="0">
            <a:spAutoFit/>
          </a:bodyPr>
          <a:lstStyle/>
          <a:p>
            <a:pPr algn="ctr" defTabSz="932597">
              <a:lnSpc>
                <a:spcPct val="90000"/>
              </a:lnSpc>
              <a:spcAft>
                <a:spcPts val="600"/>
              </a:spcAft>
            </a:pPr>
            <a:r>
              <a:rPr lang="en-US" sz="2000" kern="0" dirty="0">
                <a:solidFill>
                  <a:schemeClr val="bg2">
                    <a:lumMod val="10000"/>
                  </a:schemeClr>
                </a:solidFill>
              </a:rPr>
              <a:t>Integrate/Deploy</a:t>
            </a:r>
          </a:p>
        </p:txBody>
      </p:sp>
      <p:sp>
        <p:nvSpPr>
          <p:cNvPr id="37" name="TextBox 36"/>
          <p:cNvSpPr txBox="1"/>
          <p:nvPr/>
        </p:nvSpPr>
        <p:spPr>
          <a:xfrm>
            <a:off x="9906435" y="3952255"/>
            <a:ext cx="2443565" cy="572422"/>
          </a:xfrm>
          <a:prstGeom prst="rect">
            <a:avLst/>
          </a:prstGeom>
          <a:noFill/>
        </p:spPr>
        <p:txBody>
          <a:bodyPr wrap="none" lIns="182854" tIns="146283" rIns="182854" bIns="146283" rtlCol="0">
            <a:spAutoFit/>
          </a:bodyPr>
          <a:lstStyle/>
          <a:p>
            <a:pPr algn="ctr" defTabSz="932597">
              <a:lnSpc>
                <a:spcPct val="90000"/>
              </a:lnSpc>
              <a:spcAft>
                <a:spcPts val="600"/>
              </a:spcAft>
            </a:pPr>
            <a:r>
              <a:rPr lang="en-US" sz="2000" kern="0" dirty="0">
                <a:solidFill>
                  <a:schemeClr val="bg2">
                    <a:lumMod val="10000"/>
                  </a:schemeClr>
                </a:solidFill>
              </a:rPr>
              <a:t>Maintain/Support</a:t>
            </a:r>
          </a:p>
        </p:txBody>
      </p:sp>
      <p:sp>
        <p:nvSpPr>
          <p:cNvPr id="38" name="TextBox 37"/>
          <p:cNvSpPr txBox="1"/>
          <p:nvPr/>
        </p:nvSpPr>
        <p:spPr>
          <a:xfrm>
            <a:off x="785271" y="3949498"/>
            <a:ext cx="773104" cy="577937"/>
          </a:xfrm>
          <a:prstGeom prst="rect">
            <a:avLst/>
          </a:prstGeom>
          <a:noFill/>
        </p:spPr>
        <p:txBody>
          <a:bodyPr wrap="none" lIns="182854" tIns="146283" rIns="182854" bIns="146283" rtlCol="0">
            <a:spAutoFit/>
          </a:bodyPr>
          <a:lstStyle/>
          <a:p>
            <a:pPr algn="ctr" defTabSz="932597">
              <a:lnSpc>
                <a:spcPct val="90000"/>
              </a:lnSpc>
              <a:spcAft>
                <a:spcPts val="600"/>
              </a:spcAft>
            </a:pPr>
            <a:r>
              <a:rPr lang="en-US" sz="2000" kern="0" dirty="0">
                <a:solidFill>
                  <a:schemeClr val="bg2">
                    <a:lumMod val="10000"/>
                  </a:schemeClr>
                </a:solidFill>
              </a:rPr>
              <a:t>Sell</a:t>
            </a:r>
          </a:p>
        </p:txBody>
      </p:sp>
      <p:sp>
        <p:nvSpPr>
          <p:cNvPr id="39" name="Rectangle 38"/>
          <p:cNvSpPr/>
          <p:nvPr/>
        </p:nvSpPr>
        <p:spPr>
          <a:xfrm>
            <a:off x="7802263" y="4507289"/>
            <a:ext cx="2376037" cy="2793574"/>
          </a:xfrm>
          <a:prstGeom prst="rect">
            <a:avLst/>
          </a:prstGeom>
          <a:noFill/>
          <a:ln w="3175">
            <a:noFill/>
            <a:prstDash val="dash"/>
          </a:ln>
        </p:spPr>
        <p:style>
          <a:lnRef idx="2">
            <a:schemeClr val="accent1"/>
          </a:lnRef>
          <a:fillRef idx="1">
            <a:schemeClr val="lt1"/>
          </a:fillRef>
          <a:effectRef idx="0">
            <a:schemeClr val="accent1"/>
          </a:effectRef>
          <a:fontRef idx="minor">
            <a:schemeClr val="dk1"/>
          </a:fontRef>
        </p:style>
        <p:txBody>
          <a:bodyPr rtlCol="0" anchor="t"/>
          <a:lstStyle/>
          <a:p>
            <a:pPr defTabSz="950973"/>
            <a:r>
              <a:rPr lang="en-US" sz="1400" kern="0" dirty="0">
                <a:solidFill>
                  <a:schemeClr val="bg2">
                    <a:lumMod val="10000"/>
                  </a:schemeClr>
                </a:solidFill>
              </a:rPr>
              <a:t>Create and share rich custom visualizations </a:t>
            </a:r>
          </a:p>
          <a:p>
            <a:pPr defTabSz="950973">
              <a:lnSpc>
                <a:spcPts val="1200"/>
              </a:lnSpc>
            </a:pPr>
            <a:r>
              <a:rPr lang="en-US" sz="1400" kern="0" dirty="0">
                <a:solidFill>
                  <a:schemeClr val="bg2">
                    <a:lumMod val="10000"/>
                  </a:schemeClr>
                </a:solidFill>
              </a:rPr>
              <a:t>and dashboards</a:t>
            </a:r>
            <a:br>
              <a:rPr lang="en-US" sz="1400" kern="0" dirty="0">
                <a:solidFill>
                  <a:schemeClr val="bg2">
                    <a:lumMod val="10000"/>
                  </a:schemeClr>
                </a:solidFill>
              </a:rPr>
            </a:br>
            <a:endParaRPr lang="en-US" sz="1400" kern="0" dirty="0">
              <a:solidFill>
                <a:schemeClr val="bg2">
                  <a:lumMod val="10000"/>
                </a:schemeClr>
              </a:solidFill>
            </a:endParaRPr>
          </a:p>
          <a:p>
            <a:pPr defTabSz="950973">
              <a:lnSpc>
                <a:spcPts val="1200"/>
              </a:lnSpc>
            </a:pPr>
            <a:r>
              <a:rPr lang="en-US" sz="1400" kern="0" dirty="0">
                <a:solidFill>
                  <a:schemeClr val="bg2">
                    <a:lumMod val="10000"/>
                  </a:schemeClr>
                </a:solidFill>
              </a:rPr>
              <a:t>Create and share organizational content packs</a:t>
            </a:r>
          </a:p>
        </p:txBody>
      </p:sp>
      <p:sp>
        <p:nvSpPr>
          <p:cNvPr id="40" name="Rectangle 39"/>
          <p:cNvSpPr/>
          <p:nvPr/>
        </p:nvSpPr>
        <p:spPr>
          <a:xfrm>
            <a:off x="2651523" y="4502077"/>
            <a:ext cx="3305197" cy="2803998"/>
          </a:xfrm>
          <a:prstGeom prst="rect">
            <a:avLst/>
          </a:prstGeom>
          <a:noFill/>
          <a:ln w="3175">
            <a:noFill/>
            <a:prstDash val="dash"/>
          </a:ln>
        </p:spPr>
        <p:style>
          <a:lnRef idx="2">
            <a:schemeClr val="accent1"/>
          </a:lnRef>
          <a:fillRef idx="1">
            <a:schemeClr val="lt1"/>
          </a:fillRef>
          <a:effectRef idx="0">
            <a:schemeClr val="accent1"/>
          </a:effectRef>
          <a:fontRef idx="minor">
            <a:schemeClr val="dk1"/>
          </a:fontRef>
        </p:style>
        <p:txBody>
          <a:bodyPr rtlCol="0" anchor="t"/>
          <a:lstStyle/>
          <a:p>
            <a:pPr defTabSz="950973">
              <a:lnSpc>
                <a:spcPts val="1200"/>
              </a:lnSpc>
            </a:pPr>
            <a:r>
              <a:rPr lang="en-US" sz="1400" kern="0" dirty="0">
                <a:solidFill>
                  <a:schemeClr val="bg2">
                    <a:lumMod val="10000"/>
                  </a:schemeClr>
                </a:solidFill>
              </a:rPr>
              <a:t>Provide access to partner </a:t>
            </a:r>
            <a:br>
              <a:rPr lang="en-US" sz="1400" kern="0" dirty="0">
                <a:solidFill>
                  <a:schemeClr val="bg2">
                    <a:lumMod val="10000"/>
                  </a:schemeClr>
                </a:solidFill>
              </a:rPr>
            </a:br>
            <a:endParaRPr lang="en-US" sz="1400" kern="0" dirty="0">
              <a:solidFill>
                <a:schemeClr val="bg2">
                  <a:lumMod val="10000"/>
                </a:schemeClr>
              </a:solidFill>
            </a:endParaRPr>
          </a:p>
          <a:p>
            <a:pPr defTabSz="950973">
              <a:lnSpc>
                <a:spcPts val="1200"/>
              </a:lnSpc>
            </a:pPr>
            <a:r>
              <a:rPr lang="en-US" sz="1400" kern="0" dirty="0">
                <a:solidFill>
                  <a:schemeClr val="bg2">
                    <a:lumMod val="10000"/>
                  </a:schemeClr>
                </a:solidFill>
              </a:rPr>
              <a:t>Add users to subscription</a:t>
            </a:r>
            <a:br>
              <a:rPr lang="en-US" sz="1400" kern="0" dirty="0">
                <a:solidFill>
                  <a:schemeClr val="bg2">
                    <a:lumMod val="10000"/>
                  </a:schemeClr>
                </a:solidFill>
              </a:rPr>
            </a:br>
            <a:r>
              <a:rPr lang="en-US" sz="1400" kern="0" dirty="0">
                <a:solidFill>
                  <a:schemeClr val="bg2">
                    <a:lumMod val="10000"/>
                  </a:schemeClr>
                </a:solidFill>
              </a:rPr>
              <a:t> </a:t>
            </a:r>
          </a:p>
          <a:p>
            <a:pPr defTabSz="950973">
              <a:lnSpc>
                <a:spcPts val="1200"/>
              </a:lnSpc>
            </a:pPr>
            <a:r>
              <a:rPr lang="en-US" sz="1400" kern="0" dirty="0">
                <a:solidFill>
                  <a:schemeClr val="bg2">
                    <a:lumMod val="10000"/>
                  </a:schemeClr>
                </a:solidFill>
              </a:rPr>
              <a:t>Assign subscription licenses </a:t>
            </a:r>
          </a:p>
          <a:p>
            <a:pPr defTabSz="950973">
              <a:lnSpc>
                <a:spcPts val="1200"/>
              </a:lnSpc>
            </a:pPr>
            <a:r>
              <a:rPr lang="en-US" sz="1400" kern="0" dirty="0">
                <a:solidFill>
                  <a:schemeClr val="bg2">
                    <a:lumMod val="10000"/>
                  </a:schemeClr>
                </a:solidFill>
              </a:rPr>
              <a:t>to users</a:t>
            </a:r>
          </a:p>
        </p:txBody>
      </p:sp>
      <p:sp>
        <p:nvSpPr>
          <p:cNvPr id="41" name="Rectangle 40"/>
          <p:cNvSpPr/>
          <p:nvPr/>
        </p:nvSpPr>
        <p:spPr>
          <a:xfrm>
            <a:off x="5258876" y="4512720"/>
            <a:ext cx="2169540" cy="2782712"/>
          </a:xfrm>
          <a:prstGeom prst="rect">
            <a:avLst/>
          </a:prstGeom>
          <a:noFill/>
          <a:ln w="3175">
            <a:noFill/>
            <a:prstDash val="dash"/>
          </a:ln>
        </p:spPr>
        <p:style>
          <a:lnRef idx="2">
            <a:schemeClr val="accent1"/>
          </a:lnRef>
          <a:fillRef idx="1">
            <a:schemeClr val="lt1"/>
          </a:fillRef>
          <a:effectRef idx="0">
            <a:schemeClr val="accent1"/>
          </a:effectRef>
          <a:fontRef idx="minor">
            <a:schemeClr val="dk1"/>
          </a:fontRef>
        </p:style>
        <p:txBody>
          <a:bodyPr rtlCol="0" anchor="t"/>
          <a:lstStyle/>
          <a:p>
            <a:pPr defTabSz="950973"/>
            <a:r>
              <a:rPr lang="en-US" sz="1400" kern="0" dirty="0">
                <a:solidFill>
                  <a:schemeClr val="bg2">
                    <a:lumMod val="10000"/>
                  </a:schemeClr>
                </a:solidFill>
              </a:rPr>
              <a:t>Connect to on premise data sources and various SaaS services</a:t>
            </a:r>
          </a:p>
        </p:txBody>
      </p:sp>
      <p:sp>
        <p:nvSpPr>
          <p:cNvPr id="42" name="Rectangle 41"/>
          <p:cNvSpPr/>
          <p:nvPr/>
        </p:nvSpPr>
        <p:spPr>
          <a:xfrm>
            <a:off x="10157294" y="4524468"/>
            <a:ext cx="2379900" cy="2759217"/>
          </a:xfrm>
          <a:prstGeom prst="rect">
            <a:avLst/>
          </a:prstGeom>
          <a:noFill/>
          <a:ln w="3175">
            <a:noFill/>
            <a:prstDash val="dash"/>
          </a:ln>
        </p:spPr>
        <p:style>
          <a:lnRef idx="2">
            <a:schemeClr val="accent1"/>
          </a:lnRef>
          <a:fillRef idx="1">
            <a:schemeClr val="lt1"/>
          </a:fillRef>
          <a:effectRef idx="0">
            <a:schemeClr val="accent1"/>
          </a:effectRef>
          <a:fontRef idx="minor">
            <a:schemeClr val="dk1"/>
          </a:fontRef>
        </p:style>
        <p:txBody>
          <a:bodyPr rtlCol="0" anchor="t"/>
          <a:lstStyle/>
          <a:p>
            <a:pPr defTabSz="950973"/>
            <a:r>
              <a:rPr lang="en-US" sz="1400" kern="0" dirty="0">
                <a:solidFill>
                  <a:schemeClr val="bg2">
                    <a:lumMod val="10000"/>
                  </a:schemeClr>
                </a:solidFill>
              </a:rPr>
              <a:t>Maintain and support power BI dashboards</a:t>
            </a:r>
          </a:p>
        </p:txBody>
      </p:sp>
      <p:sp>
        <p:nvSpPr>
          <p:cNvPr id="43" name="Rectangle 42"/>
          <p:cNvSpPr/>
          <p:nvPr/>
        </p:nvSpPr>
        <p:spPr>
          <a:xfrm>
            <a:off x="192779" y="4512720"/>
            <a:ext cx="2254058" cy="2782712"/>
          </a:xfrm>
          <a:prstGeom prst="rect">
            <a:avLst/>
          </a:prstGeom>
          <a:noFill/>
          <a:ln w="3175">
            <a:noFill/>
            <a:prstDash val="dash"/>
          </a:ln>
        </p:spPr>
        <p:style>
          <a:lnRef idx="2">
            <a:schemeClr val="accent1"/>
          </a:lnRef>
          <a:fillRef idx="1">
            <a:schemeClr val="lt1"/>
          </a:fillRef>
          <a:effectRef idx="0">
            <a:schemeClr val="accent1"/>
          </a:effectRef>
          <a:fontRef idx="minor">
            <a:schemeClr val="dk1"/>
          </a:fontRef>
        </p:style>
        <p:txBody>
          <a:bodyPr rtlCol="0" anchor="t"/>
          <a:lstStyle/>
          <a:p>
            <a:pPr defTabSz="950973">
              <a:lnSpc>
                <a:spcPts val="1200"/>
              </a:lnSpc>
            </a:pPr>
            <a:r>
              <a:rPr lang="en-US" sz="1400" kern="0" dirty="0">
                <a:solidFill>
                  <a:schemeClr val="bg2">
                    <a:lumMod val="10000"/>
                  </a:schemeClr>
                </a:solidFill>
              </a:rPr>
              <a:t>Power BI with Office 365</a:t>
            </a:r>
            <a:br>
              <a:rPr lang="en-US" sz="1400" kern="0" dirty="0">
                <a:solidFill>
                  <a:schemeClr val="bg2">
                    <a:lumMod val="10000"/>
                  </a:schemeClr>
                </a:solidFill>
              </a:rPr>
            </a:br>
            <a:endParaRPr lang="en-US" sz="1400" kern="0" dirty="0">
              <a:solidFill>
                <a:schemeClr val="bg2">
                  <a:lumMod val="10000"/>
                </a:schemeClr>
              </a:solidFill>
            </a:endParaRPr>
          </a:p>
          <a:p>
            <a:pPr defTabSz="950973">
              <a:lnSpc>
                <a:spcPts val="1200"/>
              </a:lnSpc>
            </a:pPr>
            <a:r>
              <a:rPr lang="en-US" sz="1400" kern="0" dirty="0">
                <a:solidFill>
                  <a:schemeClr val="bg2">
                    <a:lumMod val="10000"/>
                  </a:schemeClr>
                </a:solidFill>
              </a:rPr>
              <a:t>Power BI standalone SKU</a:t>
            </a:r>
          </a:p>
        </p:txBody>
      </p:sp>
    </p:spTree>
    <p:extLst>
      <p:ext uri="{BB962C8B-B14F-4D97-AF65-F5344CB8AC3E}">
        <p14:creationId xmlns:p14="http://schemas.microsoft.com/office/powerpoint/2010/main" val="7123431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wipe(left)">
                                      <p:cBhvr>
                                        <p:cTn id="7" dur="500"/>
                                        <p:tgtEl>
                                          <p:spTgt spid="5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5"/>
                                        </p:tgtEl>
                                        <p:attrNameLst>
                                          <p:attrName>style.visibility</p:attrName>
                                        </p:attrNameLst>
                                      </p:cBhvr>
                                      <p:to>
                                        <p:strVal val="visible"/>
                                      </p:to>
                                    </p:set>
                                    <p:animEffect transition="in" filter="fade">
                                      <p:cBhvr>
                                        <p:cTn id="13" dur="500"/>
                                        <p:tgtEl>
                                          <p:spTgt spid="3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3"/>
                                        </p:tgtEl>
                                        <p:attrNameLst>
                                          <p:attrName>style.visibility</p:attrName>
                                        </p:attrNameLst>
                                      </p:cBhvr>
                                      <p:to>
                                        <p:strVal val="visible"/>
                                      </p:to>
                                    </p:set>
                                    <p:animEffect transition="in" filter="fade">
                                      <p:cBhvr>
                                        <p:cTn id="19" dur="500"/>
                                        <p:tgtEl>
                                          <p:spTgt spid="43"/>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34"/>
                                        </p:tgtEl>
                                        <p:attrNameLst>
                                          <p:attrName>style.visibility</p:attrName>
                                        </p:attrNameLst>
                                      </p:cBhvr>
                                      <p:to>
                                        <p:strVal val="visible"/>
                                      </p:to>
                                    </p:set>
                                    <p:animEffect transition="in" filter="fade">
                                      <p:cBhvr>
                                        <p:cTn id="28" dur="500"/>
                                        <p:tgtEl>
                                          <p:spTgt spid="34"/>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9"/>
                                        </p:tgtEl>
                                        <p:attrNameLst>
                                          <p:attrName>style.visibility</p:attrName>
                                        </p:attrNameLst>
                                      </p:cBhvr>
                                      <p:to>
                                        <p:strVal val="visible"/>
                                      </p:to>
                                    </p:set>
                                    <p:animEffect transition="in" filter="fade">
                                      <p:cBhvr>
                                        <p:cTn id="31" dur="500"/>
                                        <p:tgtEl>
                                          <p:spTgt spid="39"/>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37"/>
                                        </p:tgtEl>
                                        <p:attrNameLst>
                                          <p:attrName>style.visibility</p:attrName>
                                        </p:attrNameLst>
                                      </p:cBhvr>
                                      <p:to>
                                        <p:strVal val="visible"/>
                                      </p:to>
                                    </p:set>
                                    <p:animEffect transition="in" filter="fade">
                                      <p:cBhvr>
                                        <p:cTn id="34" dur="500"/>
                                        <p:tgtEl>
                                          <p:spTgt spid="37"/>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42"/>
                                        </p:tgtEl>
                                        <p:attrNameLst>
                                          <p:attrName>style.visibility</p:attrName>
                                        </p:attrNameLst>
                                      </p:cBhvr>
                                      <p:to>
                                        <p:strVal val="visible"/>
                                      </p:to>
                                    </p:set>
                                    <p:animEffect transition="in" filter="fade">
                                      <p:cBhvr>
                                        <p:cTn id="37"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p:bldP spid="34" grpId="0"/>
      <p:bldP spid="35" grpId="0"/>
      <p:bldP spid="36" grpId="0"/>
      <p:bldP spid="37" grpId="0"/>
      <p:bldP spid="38" grpId="0"/>
      <p:bldP spid="39" grpId="0"/>
      <p:bldP spid="40" grpId="0"/>
      <p:bldP spid="41" grpId="0"/>
      <p:bldP spid="42" grpId="0"/>
      <p:bldP spid="43"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p:cNvSpPr/>
          <p:nvPr/>
        </p:nvSpPr>
        <p:spPr bwMode="auto">
          <a:xfrm>
            <a:off x="5498735" y="3161055"/>
            <a:ext cx="1359568" cy="1359568"/>
          </a:xfrm>
          <a:prstGeom prst="ellipse">
            <a:avLst/>
          </a:prstGeom>
          <a:solidFill>
            <a:srgbClr val="F2C81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pic>
        <p:nvPicPr>
          <p:cNvPr id="35" name="Picture 34"/>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5649499" y="3373129"/>
            <a:ext cx="1058040" cy="893682"/>
          </a:xfrm>
          <a:prstGeom prst="rect">
            <a:avLst/>
          </a:prstGeom>
        </p:spPr>
      </p:pic>
      <p:sp>
        <p:nvSpPr>
          <p:cNvPr id="7" name="TextBox 6"/>
          <p:cNvSpPr txBox="1"/>
          <p:nvPr/>
        </p:nvSpPr>
        <p:spPr>
          <a:xfrm>
            <a:off x="220427" y="29612"/>
            <a:ext cx="12122124" cy="830997"/>
          </a:xfrm>
          <a:prstGeom prst="rect">
            <a:avLst/>
          </a:prstGeom>
          <a:noFill/>
        </p:spPr>
        <p:txBody>
          <a:bodyPr wrap="square" rtlCol="0">
            <a:spAutoFit/>
          </a:bodyPr>
          <a:lstStyle/>
          <a:p>
            <a:pPr defTabSz="932418">
              <a:spcBef>
                <a:spcPts val="1224"/>
              </a:spcBef>
            </a:pPr>
            <a:r>
              <a:rPr lang="en-US" sz="4800" kern="0" dirty="0">
                <a:solidFill>
                  <a:schemeClr val="tx2">
                    <a:lumMod val="10000"/>
                  </a:schemeClr>
                </a:solidFill>
                <a:latin typeface="Segoe UI Light"/>
              </a:rPr>
              <a:t>Enhance your Power BI offerings</a:t>
            </a:r>
            <a:endParaRPr lang="en-US" sz="4800" kern="0" spc="-102" dirty="0">
              <a:ln w="3175">
                <a:noFill/>
              </a:ln>
              <a:solidFill>
                <a:schemeClr val="tx2">
                  <a:lumMod val="10000"/>
                </a:schemeClr>
              </a:solidFill>
              <a:latin typeface="+mj-lt"/>
              <a:cs typeface="Segoe UI" pitchFamily="34" charset="0"/>
            </a:endParaRPr>
          </a:p>
        </p:txBody>
      </p:sp>
      <p:sp>
        <p:nvSpPr>
          <p:cNvPr id="27" name="Title 3"/>
          <p:cNvSpPr txBox="1">
            <a:spLocks/>
          </p:cNvSpPr>
          <p:nvPr/>
        </p:nvSpPr>
        <p:spPr>
          <a:xfrm>
            <a:off x="186560" y="694085"/>
            <a:ext cx="11885514" cy="946279"/>
          </a:xfrm>
          <a:prstGeom prst="rect">
            <a:avLst/>
          </a:prstGeom>
        </p:spPr>
        <p:txBody>
          <a:bodyPr vert="horz" wrap="square" lIns="146283" tIns="91427" rIns="146283" bIns="91427" rtlCol="0" anchor="t">
            <a:noAutofit/>
          </a:bodyPr>
          <a:lstStyle>
            <a:lvl1pPr algn="l" defTabSz="932563" rtl="0" eaLnBrk="1" latinLnBrk="0" hangingPunct="1">
              <a:lnSpc>
                <a:spcPct val="90000"/>
              </a:lnSpc>
              <a:spcBef>
                <a:spcPct val="0"/>
              </a:spcBef>
              <a:buNone/>
              <a:defRPr lang="en-US" sz="5198" b="0" kern="1200" cap="none" spc="-102" baseline="0">
                <a:ln w="3175">
                  <a:noFill/>
                </a:ln>
                <a:solidFill>
                  <a:schemeClr val="tx2"/>
                </a:solidFill>
                <a:effectLst/>
                <a:latin typeface="+mj-lt"/>
                <a:ea typeface="+mn-ea"/>
                <a:cs typeface="Segoe UI" pitchFamily="34" charset="0"/>
              </a:defRPr>
            </a:lvl1pPr>
          </a:lstStyle>
          <a:p>
            <a:pPr defTabSz="932384">
              <a:defRPr/>
            </a:pPr>
            <a:r>
              <a:rPr lang="en-US" sz="2600" kern="0" dirty="0">
                <a:solidFill>
                  <a:schemeClr val="tx2">
                    <a:lumMod val="10000"/>
                  </a:schemeClr>
                </a:solidFill>
                <a:cs typeface="+mn-cs"/>
              </a:rPr>
              <a:t>Get the most out of Power BI capabilities with integrations and value-added solutions</a:t>
            </a:r>
          </a:p>
        </p:txBody>
      </p:sp>
      <p:sp>
        <p:nvSpPr>
          <p:cNvPr id="46" name="TextBox 45"/>
          <p:cNvSpPr txBox="1"/>
          <p:nvPr/>
        </p:nvSpPr>
        <p:spPr>
          <a:xfrm>
            <a:off x="8050811" y="2454327"/>
            <a:ext cx="3787030" cy="3634841"/>
          </a:xfrm>
          <a:prstGeom prst="rect">
            <a:avLst/>
          </a:prstGeom>
          <a:noFill/>
        </p:spPr>
        <p:txBody>
          <a:bodyPr wrap="square" lIns="182880" tIns="146304" rIns="182880" bIns="146304" rtlCol="0">
            <a:spAutoFit/>
          </a:bodyPr>
          <a:lstStyle/>
          <a:p>
            <a:pPr marL="342900" indent="-342900">
              <a:spcAft>
                <a:spcPts val="600"/>
              </a:spcAft>
              <a:buFont typeface="Arial" panose="020B0604020202020204" pitchFamily="34" charset="0"/>
              <a:buChar char="•"/>
            </a:pPr>
            <a:r>
              <a:rPr lang="en-US" sz="1600" dirty="0">
                <a:solidFill>
                  <a:schemeClr val="accent6">
                    <a:lumMod val="95000"/>
                    <a:lumOff val="5000"/>
                  </a:schemeClr>
                </a:solidFill>
              </a:rPr>
              <a:t>Create custom dashboard reports</a:t>
            </a:r>
          </a:p>
          <a:p>
            <a:pPr marL="342900" indent="-342900">
              <a:spcAft>
                <a:spcPts val="600"/>
              </a:spcAft>
              <a:buFont typeface="Arial" panose="020B0604020202020204" pitchFamily="34" charset="0"/>
              <a:buChar char="•"/>
            </a:pPr>
            <a:r>
              <a:rPr lang="en-US" sz="1600" dirty="0">
                <a:solidFill>
                  <a:schemeClr val="accent6">
                    <a:lumMod val="95000"/>
                    <a:lumOff val="5000"/>
                  </a:schemeClr>
                </a:solidFill>
              </a:rPr>
              <a:t>Create custom templates and data models for target verticals</a:t>
            </a:r>
          </a:p>
          <a:p>
            <a:pPr marL="342900" indent="-342900">
              <a:spcAft>
                <a:spcPts val="600"/>
              </a:spcAft>
              <a:buFont typeface="Arial" panose="020B0604020202020204" pitchFamily="34" charset="0"/>
              <a:buChar char="•"/>
            </a:pPr>
            <a:r>
              <a:rPr lang="en-US" sz="1600" dirty="0">
                <a:solidFill>
                  <a:schemeClr val="accent6">
                    <a:lumMod val="95000"/>
                    <a:lumOff val="5000"/>
                  </a:schemeClr>
                </a:solidFill>
              </a:rPr>
              <a:t>Augment consulting services to include data visualization</a:t>
            </a:r>
          </a:p>
          <a:p>
            <a:pPr marL="342900" indent="-342900">
              <a:spcAft>
                <a:spcPts val="600"/>
              </a:spcAft>
              <a:buFont typeface="Arial" panose="020B0604020202020204" pitchFamily="34" charset="0"/>
              <a:buChar char="•"/>
            </a:pPr>
            <a:r>
              <a:rPr lang="en-US" sz="1600" dirty="0">
                <a:solidFill>
                  <a:schemeClr val="accent6">
                    <a:lumMod val="95000"/>
                    <a:lumOff val="5000"/>
                  </a:schemeClr>
                </a:solidFill>
              </a:rPr>
              <a:t>Used advanced BI to offer analytics support services</a:t>
            </a:r>
          </a:p>
          <a:p>
            <a:pPr marL="342900" indent="-342900">
              <a:spcAft>
                <a:spcPts val="600"/>
              </a:spcAft>
              <a:buFont typeface="Arial" panose="020B0604020202020204" pitchFamily="34" charset="0"/>
              <a:buChar char="•"/>
            </a:pPr>
            <a:r>
              <a:rPr lang="en-US" sz="1600" dirty="0">
                <a:solidFill>
                  <a:schemeClr val="accent6">
                    <a:lumMod val="95000"/>
                    <a:lumOff val="5000"/>
                  </a:schemeClr>
                </a:solidFill>
              </a:rPr>
              <a:t>Extend existing data and analytics solutions by offering data visualization</a:t>
            </a:r>
          </a:p>
          <a:p>
            <a:pPr marL="342900" indent="-342900">
              <a:spcAft>
                <a:spcPts val="600"/>
              </a:spcAft>
              <a:buFont typeface="Arial" panose="020B0604020202020204" pitchFamily="34" charset="0"/>
              <a:buChar char="•"/>
            </a:pPr>
            <a:r>
              <a:rPr lang="en-US" sz="1600" dirty="0">
                <a:solidFill>
                  <a:schemeClr val="accent6">
                    <a:lumMod val="95000"/>
                    <a:lumOff val="5000"/>
                  </a:schemeClr>
                </a:solidFill>
              </a:rPr>
              <a:t>Offer Power BI training and education</a:t>
            </a:r>
          </a:p>
        </p:txBody>
      </p:sp>
      <p:sp>
        <p:nvSpPr>
          <p:cNvPr id="48" name="TextBox 47"/>
          <p:cNvSpPr txBox="1"/>
          <p:nvPr/>
        </p:nvSpPr>
        <p:spPr>
          <a:xfrm>
            <a:off x="805432" y="1695048"/>
            <a:ext cx="5505116" cy="707886"/>
          </a:xfrm>
          <a:prstGeom prst="rect">
            <a:avLst/>
          </a:prstGeom>
          <a:noFill/>
        </p:spPr>
        <p:txBody>
          <a:bodyPr wrap="square" rtlCol="0">
            <a:spAutoFit/>
          </a:bodyPr>
          <a:lstStyle/>
          <a:p>
            <a:pPr defTabSz="932418">
              <a:spcBef>
                <a:spcPts val="1224"/>
              </a:spcBef>
            </a:pPr>
            <a:r>
              <a:rPr lang="en-US" sz="2000" kern="0" dirty="0">
                <a:solidFill>
                  <a:schemeClr val="tx2">
                    <a:lumMod val="10000"/>
                  </a:schemeClr>
                </a:solidFill>
                <a:latin typeface="Segoe UI Semibold" panose="020B0702040204020203" pitchFamily="34" charset="0"/>
                <a:cs typeface="Segoe UI Semibold" panose="020B0702040204020203" pitchFamily="34" charset="0"/>
              </a:rPr>
              <a:t>Integrate Power BI </a:t>
            </a:r>
            <a:br>
              <a:rPr lang="en-US" sz="2000" kern="0" dirty="0">
                <a:solidFill>
                  <a:schemeClr val="tx2">
                    <a:lumMod val="10000"/>
                  </a:schemeClr>
                </a:solidFill>
                <a:latin typeface="Segoe UI Semibold" panose="020B0702040204020203" pitchFamily="34" charset="0"/>
                <a:cs typeface="Segoe UI Semibold" panose="020B0702040204020203" pitchFamily="34" charset="0"/>
              </a:rPr>
            </a:br>
            <a:r>
              <a:rPr lang="en-US" sz="2000" kern="0" dirty="0">
                <a:solidFill>
                  <a:schemeClr val="tx2">
                    <a:lumMod val="10000"/>
                  </a:schemeClr>
                </a:solidFill>
                <a:latin typeface="Segoe UI Semibold" panose="020B0702040204020203" pitchFamily="34" charset="0"/>
                <a:cs typeface="Segoe UI Semibold" panose="020B0702040204020203" pitchFamily="34" charset="0"/>
              </a:rPr>
              <a:t>with other cloud services</a:t>
            </a:r>
            <a:endParaRPr lang="en-US" sz="2000" kern="0" spc="-102" dirty="0">
              <a:ln w="3175">
                <a:noFill/>
              </a:ln>
              <a:solidFill>
                <a:schemeClr val="tx2">
                  <a:lumMod val="10000"/>
                </a:schemeClr>
              </a:solidFill>
              <a:latin typeface="Segoe UI Semibold" panose="020B0702040204020203" pitchFamily="34" charset="0"/>
              <a:cs typeface="Segoe UI Semibold" panose="020B0702040204020203" pitchFamily="34" charset="0"/>
            </a:endParaRPr>
          </a:p>
        </p:txBody>
      </p:sp>
      <p:sp>
        <p:nvSpPr>
          <p:cNvPr id="49" name="TextBox 48"/>
          <p:cNvSpPr txBox="1"/>
          <p:nvPr/>
        </p:nvSpPr>
        <p:spPr>
          <a:xfrm>
            <a:off x="8162972" y="1695050"/>
            <a:ext cx="3996055" cy="707886"/>
          </a:xfrm>
          <a:prstGeom prst="rect">
            <a:avLst/>
          </a:prstGeom>
          <a:noFill/>
        </p:spPr>
        <p:txBody>
          <a:bodyPr wrap="square" rtlCol="0">
            <a:spAutoFit/>
          </a:bodyPr>
          <a:lstStyle/>
          <a:p>
            <a:pPr defTabSz="932418">
              <a:spcBef>
                <a:spcPts val="1224"/>
              </a:spcBef>
            </a:pPr>
            <a:r>
              <a:rPr lang="en-US" sz="2000" kern="0" dirty="0">
                <a:solidFill>
                  <a:schemeClr val="tx2">
                    <a:lumMod val="10000"/>
                  </a:schemeClr>
                </a:solidFill>
                <a:latin typeface="Segoe UI Semibold" panose="020B0702040204020203" pitchFamily="34" charset="0"/>
                <a:cs typeface="Segoe UI Semibold" panose="020B0702040204020203" pitchFamily="34" charset="0"/>
              </a:rPr>
              <a:t>Add managed </a:t>
            </a:r>
            <a:br>
              <a:rPr lang="en-US" sz="2000" kern="0" dirty="0">
                <a:solidFill>
                  <a:schemeClr val="tx2">
                    <a:lumMod val="10000"/>
                  </a:schemeClr>
                </a:solidFill>
                <a:latin typeface="Segoe UI Semibold" panose="020B0702040204020203" pitchFamily="34" charset="0"/>
                <a:cs typeface="Segoe UI Semibold" panose="020B0702040204020203" pitchFamily="34" charset="0"/>
              </a:rPr>
            </a:br>
            <a:r>
              <a:rPr lang="en-US" sz="2000" kern="0" dirty="0">
                <a:solidFill>
                  <a:schemeClr val="tx2">
                    <a:lumMod val="10000"/>
                  </a:schemeClr>
                </a:solidFill>
                <a:latin typeface="Segoe UI Semibold" panose="020B0702040204020203" pitchFamily="34" charset="0"/>
                <a:cs typeface="Segoe UI Semibold" panose="020B0702040204020203" pitchFamily="34" charset="0"/>
              </a:rPr>
              <a:t>services solutions</a:t>
            </a:r>
            <a:endParaRPr lang="en-US" sz="2000" kern="0" spc="-102" dirty="0">
              <a:ln w="3175">
                <a:noFill/>
              </a:ln>
              <a:solidFill>
                <a:schemeClr val="tx2">
                  <a:lumMod val="10000"/>
                </a:schemeClr>
              </a:solidFill>
              <a:latin typeface="Segoe UI Semibold" panose="020B0702040204020203" pitchFamily="34" charset="0"/>
              <a:cs typeface="Segoe UI Semibold" panose="020B0702040204020203" pitchFamily="34" charset="0"/>
            </a:endParaRPr>
          </a:p>
        </p:txBody>
      </p:sp>
      <p:grpSp>
        <p:nvGrpSpPr>
          <p:cNvPr id="19" name="Group 18"/>
          <p:cNvGrpSpPr/>
          <p:nvPr/>
        </p:nvGrpSpPr>
        <p:grpSpPr>
          <a:xfrm>
            <a:off x="799115" y="2606985"/>
            <a:ext cx="5360710" cy="3524159"/>
            <a:chOff x="799115" y="2606985"/>
            <a:chExt cx="5360710" cy="3524159"/>
          </a:xfrm>
        </p:grpSpPr>
        <p:sp>
          <p:nvSpPr>
            <p:cNvPr id="8" name="TextBox 7"/>
            <p:cNvSpPr txBox="1"/>
            <p:nvPr/>
          </p:nvSpPr>
          <p:spPr>
            <a:xfrm>
              <a:off x="2150876" y="5527902"/>
              <a:ext cx="1856734" cy="603242"/>
            </a:xfrm>
            <a:prstGeom prst="rect">
              <a:avLst/>
            </a:prstGeom>
            <a:noFill/>
          </p:spPr>
          <p:txBody>
            <a:bodyPr wrap="square" lIns="182880" tIns="146304" rIns="182880" bIns="146304" rtlCol="0">
              <a:spAutoFit/>
            </a:bodyPr>
            <a:lstStyle/>
            <a:p>
              <a:pPr algn="ctr"/>
              <a:r>
                <a:rPr lang="en-US" sz="2000" dirty="0">
                  <a:solidFill>
                    <a:schemeClr val="accent6">
                      <a:lumMod val="95000"/>
                      <a:lumOff val="5000"/>
                    </a:schemeClr>
                  </a:solidFill>
                </a:rPr>
                <a:t>+more</a:t>
              </a:r>
            </a:p>
          </p:txBody>
        </p:sp>
        <p:pic>
          <p:nvPicPr>
            <p:cNvPr id="73" name="Picture 7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17653" y="3281602"/>
              <a:ext cx="1312410" cy="301808"/>
            </a:xfrm>
            <a:prstGeom prst="rect">
              <a:avLst/>
            </a:prstGeom>
          </p:spPr>
        </p:pic>
        <p:pic>
          <p:nvPicPr>
            <p:cNvPr id="74" name="Picture 7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51521" y="4947524"/>
              <a:ext cx="752416" cy="196568"/>
            </a:xfrm>
            <a:prstGeom prst="rect">
              <a:avLst/>
            </a:prstGeom>
          </p:spPr>
        </p:pic>
        <p:pic>
          <p:nvPicPr>
            <p:cNvPr id="75" name="Picture 74"/>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806057" y="3735557"/>
              <a:ext cx="1388009" cy="250737"/>
            </a:xfrm>
            <a:prstGeom prst="rect">
              <a:avLst/>
            </a:prstGeom>
          </p:spPr>
        </p:pic>
        <p:pic>
          <p:nvPicPr>
            <p:cNvPr id="76" name="Picture 75"/>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786684" y="2684846"/>
              <a:ext cx="1270977" cy="346630"/>
            </a:xfrm>
            <a:prstGeom prst="rect">
              <a:avLst/>
            </a:prstGeom>
          </p:spPr>
        </p:pic>
        <p:pic>
          <p:nvPicPr>
            <p:cNvPr id="77" name="Picture 76"/>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864411" y="2606985"/>
              <a:ext cx="881921" cy="385308"/>
            </a:xfrm>
            <a:prstGeom prst="rect">
              <a:avLst/>
            </a:prstGeom>
          </p:spPr>
        </p:pic>
        <p:pic>
          <p:nvPicPr>
            <p:cNvPr id="78" name="Picture 77"/>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96533" y="5459617"/>
              <a:ext cx="736822" cy="515537"/>
            </a:xfrm>
            <a:prstGeom prst="rect">
              <a:avLst/>
            </a:prstGeom>
          </p:spPr>
        </p:pic>
        <p:pic>
          <p:nvPicPr>
            <p:cNvPr id="79" name="Picture 78"/>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778815" y="3024646"/>
              <a:ext cx="1125825" cy="675494"/>
            </a:xfrm>
            <a:prstGeom prst="rect">
              <a:avLst/>
            </a:prstGeom>
          </p:spPr>
        </p:pic>
        <p:pic>
          <p:nvPicPr>
            <p:cNvPr id="84" name="Picture 83"/>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2754424" y="4751115"/>
              <a:ext cx="718550" cy="332768"/>
            </a:xfrm>
            <a:prstGeom prst="rect">
              <a:avLst/>
            </a:prstGeom>
          </p:spPr>
        </p:pic>
        <p:pic>
          <p:nvPicPr>
            <p:cNvPr id="86" name="Picture 85"/>
            <p:cNvPicPr>
              <a:picLocks noChangeAspect="1"/>
            </p:cNvPicPr>
            <p:nvPr/>
          </p:nvPicPr>
          <p:blipFill>
            <a:blip r:embed="rId12"/>
            <a:stretch>
              <a:fillRect/>
            </a:stretch>
          </p:blipFill>
          <p:spPr>
            <a:xfrm>
              <a:off x="2806057" y="5220947"/>
              <a:ext cx="517521" cy="328185"/>
            </a:xfrm>
            <a:prstGeom prst="rect">
              <a:avLst/>
            </a:prstGeom>
          </p:spPr>
        </p:pic>
        <p:sp>
          <p:nvSpPr>
            <p:cNvPr id="87" name="Rectangle 86"/>
            <p:cNvSpPr/>
            <p:nvPr/>
          </p:nvSpPr>
          <p:spPr>
            <a:xfrm>
              <a:off x="3323578" y="5290993"/>
              <a:ext cx="2836247" cy="312073"/>
            </a:xfrm>
            <a:prstGeom prst="rect">
              <a:avLst/>
            </a:prstGeom>
          </p:spPr>
          <p:txBody>
            <a:bodyPr wrap="square">
              <a:spAutoFit/>
            </a:bodyPr>
            <a:lstStyle/>
            <a:p>
              <a:pPr marL="0" marR="0" lvl="0" indent="0" defTabSz="932418"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gradFill>
                    <a:gsLst>
                      <a:gs pos="0">
                        <a:srgbClr val="505050"/>
                      </a:gs>
                      <a:gs pos="100000">
                        <a:srgbClr val="505050"/>
                      </a:gs>
                    </a:gsLst>
                    <a:lin ang="5400000" scaled="1"/>
                  </a:gradFill>
                  <a:effectLst/>
                  <a:uLnTx/>
                  <a:uFillTx/>
                </a:rPr>
                <a:t>Azure Audit</a:t>
              </a:r>
              <a:r>
                <a:rPr kumimoji="0" lang="en-US" sz="1428" b="0" i="0" u="none" strike="noStrike" kern="0" cap="none" spc="0" normalizeH="0" noProof="0" dirty="0">
                  <a:ln>
                    <a:noFill/>
                  </a:ln>
                  <a:gradFill>
                    <a:gsLst>
                      <a:gs pos="0">
                        <a:srgbClr val="505050"/>
                      </a:gs>
                      <a:gs pos="100000">
                        <a:srgbClr val="505050"/>
                      </a:gs>
                    </a:gsLst>
                    <a:lin ang="5400000" scaled="1"/>
                  </a:gradFill>
                  <a:effectLst/>
                  <a:uLnTx/>
                  <a:uFillTx/>
                </a:rPr>
                <a:t> </a:t>
              </a:r>
              <a:r>
                <a:rPr kumimoji="0" lang="en-US" sz="1428" b="0" i="0" u="none" strike="noStrike" kern="0" cap="none" spc="0" normalizeH="0" baseline="0" noProof="0" dirty="0">
                  <a:ln>
                    <a:noFill/>
                  </a:ln>
                  <a:gradFill>
                    <a:gsLst>
                      <a:gs pos="0">
                        <a:srgbClr val="505050"/>
                      </a:gs>
                      <a:gs pos="100000">
                        <a:srgbClr val="505050"/>
                      </a:gs>
                    </a:gsLst>
                    <a:lin ang="5400000" scaled="1"/>
                  </a:gradFill>
                  <a:effectLst/>
                  <a:uLnTx/>
                  <a:uFillTx/>
                </a:rPr>
                <a:t>Logs</a:t>
              </a:r>
            </a:p>
          </p:txBody>
        </p:sp>
        <p:pic>
          <p:nvPicPr>
            <p:cNvPr id="3" name="Picture 2"/>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2820552" y="4262242"/>
              <a:ext cx="1018275" cy="239318"/>
            </a:xfrm>
            <a:prstGeom prst="rect">
              <a:avLst/>
            </a:prstGeom>
          </p:spPr>
        </p:pic>
        <p:pic>
          <p:nvPicPr>
            <p:cNvPr id="4" name="Picture 3"/>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917653" y="4300179"/>
              <a:ext cx="1413614" cy="442271"/>
            </a:xfrm>
            <a:prstGeom prst="rect">
              <a:avLst/>
            </a:prstGeom>
          </p:spPr>
        </p:pic>
        <p:pic>
          <p:nvPicPr>
            <p:cNvPr id="6" name="Picture 5"/>
            <p:cNvPicPr>
              <a:picLocks noChangeAspect="1"/>
            </p:cNvPicPr>
            <p:nvPr/>
          </p:nvPicPr>
          <p:blipFill>
            <a:blip r:embed="rId15" cstate="screen">
              <a:extLst>
                <a:ext uri="{28A0092B-C50C-407E-A947-70E740481C1C}">
                  <a14:useLocalDpi xmlns:a14="http://schemas.microsoft.com/office/drawing/2010/main" val="0"/>
                </a:ext>
              </a:extLst>
            </a:blip>
            <a:stretch>
              <a:fillRect/>
            </a:stretch>
          </p:blipFill>
          <p:spPr>
            <a:xfrm>
              <a:off x="799115" y="3818191"/>
              <a:ext cx="1124657" cy="343282"/>
            </a:xfrm>
            <a:prstGeom prst="rect">
              <a:avLst/>
            </a:prstGeom>
          </p:spPr>
        </p:pic>
      </p:grpSp>
      <p:sp>
        <p:nvSpPr>
          <p:cNvPr id="24" name="Rectangle 23"/>
          <p:cNvSpPr/>
          <p:nvPr/>
        </p:nvSpPr>
        <p:spPr bwMode="auto">
          <a:xfrm>
            <a:off x="-1" y="6542105"/>
            <a:ext cx="12436475" cy="466877"/>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w="0"/>
              <a:solidFill>
                <a:srgbClr val="000000"/>
              </a:solidFill>
              <a:effectLst>
                <a:outerShdw blurRad="38100" dist="19050" dir="2700000" algn="tl" rotWithShape="0">
                  <a:srgbClr val="000000">
                    <a:alpha val="40000"/>
                  </a:srgbClr>
                </a:outerShdw>
              </a:effectLst>
              <a:uLnTx/>
              <a:uFillTx/>
              <a:latin typeface="Segoe UI Light"/>
              <a:ea typeface="Segoe UI" pitchFamily="34" charset="0"/>
              <a:cs typeface="Segoe UI" pitchFamily="34" charset="0"/>
            </a:endParaRPr>
          </a:p>
        </p:txBody>
      </p:sp>
      <p:cxnSp>
        <p:nvCxnSpPr>
          <p:cNvPr id="12" name="Straight Connector 11"/>
          <p:cNvCxnSpPr/>
          <p:nvPr/>
        </p:nvCxnSpPr>
        <p:spPr>
          <a:xfrm>
            <a:off x="896533" y="2402936"/>
            <a:ext cx="3285067" cy="0"/>
          </a:xfrm>
          <a:prstGeom prst="line">
            <a:avLst/>
          </a:prstGeom>
          <a:ln w="19050">
            <a:solidFill>
              <a:srgbClr val="F2C81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4181600" y="2402936"/>
            <a:ext cx="1213642" cy="902165"/>
          </a:xfrm>
          <a:prstGeom prst="straightConnector1">
            <a:avLst/>
          </a:prstGeom>
          <a:ln w="19050">
            <a:solidFill>
              <a:srgbClr val="F2C81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8087334" y="2404440"/>
            <a:ext cx="3547027" cy="0"/>
          </a:xfrm>
          <a:prstGeom prst="line">
            <a:avLst/>
          </a:prstGeom>
          <a:ln w="19050">
            <a:solidFill>
              <a:srgbClr val="F2C81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H="1">
            <a:off x="6875264" y="2402934"/>
            <a:ext cx="1213642" cy="902165"/>
          </a:xfrm>
          <a:prstGeom prst="straightConnector1">
            <a:avLst/>
          </a:prstGeom>
          <a:ln w="19050">
            <a:solidFill>
              <a:srgbClr val="F2C81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6169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48"/>
                                        </p:tgtEl>
                                        <p:attrNameLst>
                                          <p:attrName>style.visibility</p:attrName>
                                        </p:attrNameLst>
                                      </p:cBhvr>
                                      <p:to>
                                        <p:strVal val="visible"/>
                                      </p:to>
                                    </p:set>
                                    <p:animEffect transition="in" filter="fade">
                                      <p:cBhvr>
                                        <p:cTn id="14" dur="500"/>
                                        <p:tgtEl>
                                          <p:spTgt spid="48"/>
                                        </p:tgtEl>
                                      </p:cBhvr>
                                    </p:animEffect>
                                  </p:childTnLst>
                                </p:cTn>
                              </p:par>
                            </p:childTnLst>
                          </p:cTn>
                        </p:par>
                        <p:par>
                          <p:cTn id="15" fill="hold">
                            <p:stCondLst>
                              <p:cond delay="1000"/>
                            </p:stCondLst>
                            <p:childTnLst>
                              <p:par>
                                <p:cTn id="16" presetID="22" presetClass="entr" presetSubtype="8" fill="hold" nodeType="after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wipe(left)">
                                      <p:cBhvr>
                                        <p:cTn id="18" dur="500"/>
                                        <p:tgtEl>
                                          <p:spTgt spid="12"/>
                                        </p:tgtEl>
                                      </p:cBhvr>
                                    </p:animEffect>
                                  </p:childTnLst>
                                </p:cTn>
                              </p:par>
                            </p:childTnLst>
                          </p:cTn>
                        </p:par>
                        <p:par>
                          <p:cTn id="19" fill="hold">
                            <p:stCondLst>
                              <p:cond delay="1500"/>
                            </p:stCondLst>
                            <p:childTnLst>
                              <p:par>
                                <p:cTn id="20" presetID="22" presetClass="entr" presetSubtype="8" fill="hold" nodeType="after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wipe(left)">
                                      <p:cBhvr>
                                        <p:cTn id="22" dur="500"/>
                                        <p:tgtEl>
                                          <p:spTgt spid="16"/>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19"/>
                                        </p:tgtEl>
                                        <p:attrNameLst>
                                          <p:attrName>style.visibility</p:attrName>
                                        </p:attrNameLst>
                                      </p:cBhvr>
                                      <p:to>
                                        <p:strVal val="visible"/>
                                      </p:to>
                                    </p:set>
                                    <p:animEffect transition="in" filter="fade">
                                      <p:cBhvr>
                                        <p:cTn id="26" dur="500"/>
                                        <p:tgtEl>
                                          <p:spTgt spid="19"/>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49"/>
                                        </p:tgtEl>
                                        <p:attrNameLst>
                                          <p:attrName>style.visibility</p:attrName>
                                        </p:attrNameLst>
                                      </p:cBhvr>
                                      <p:to>
                                        <p:strVal val="visible"/>
                                      </p:to>
                                    </p:set>
                                    <p:animEffect transition="in" filter="fade">
                                      <p:cBhvr>
                                        <p:cTn id="31" dur="500"/>
                                        <p:tgtEl>
                                          <p:spTgt spid="49"/>
                                        </p:tgtEl>
                                      </p:cBhvr>
                                    </p:animEffect>
                                  </p:childTnLst>
                                </p:cTn>
                              </p:par>
                            </p:childTnLst>
                          </p:cTn>
                        </p:par>
                        <p:par>
                          <p:cTn id="32" fill="hold">
                            <p:stCondLst>
                              <p:cond delay="500"/>
                            </p:stCondLst>
                            <p:childTnLst>
                              <p:par>
                                <p:cTn id="33" presetID="22" presetClass="entr" presetSubtype="2" fill="hold" nodeType="afterEffect">
                                  <p:stCondLst>
                                    <p:cond delay="0"/>
                                  </p:stCondLst>
                                  <p:childTnLst>
                                    <p:set>
                                      <p:cBhvr>
                                        <p:cTn id="34" dur="1" fill="hold">
                                          <p:stCondLst>
                                            <p:cond delay="0"/>
                                          </p:stCondLst>
                                        </p:cTn>
                                        <p:tgtEl>
                                          <p:spTgt spid="34"/>
                                        </p:tgtEl>
                                        <p:attrNameLst>
                                          <p:attrName>style.visibility</p:attrName>
                                        </p:attrNameLst>
                                      </p:cBhvr>
                                      <p:to>
                                        <p:strVal val="visible"/>
                                      </p:to>
                                    </p:set>
                                    <p:animEffect transition="in" filter="wipe(right)">
                                      <p:cBhvr>
                                        <p:cTn id="35" dur="500"/>
                                        <p:tgtEl>
                                          <p:spTgt spid="34"/>
                                        </p:tgtEl>
                                      </p:cBhvr>
                                    </p:animEffect>
                                  </p:childTnLst>
                                </p:cTn>
                              </p:par>
                            </p:childTnLst>
                          </p:cTn>
                        </p:par>
                        <p:par>
                          <p:cTn id="36" fill="hold">
                            <p:stCondLst>
                              <p:cond delay="1000"/>
                            </p:stCondLst>
                            <p:childTnLst>
                              <p:par>
                                <p:cTn id="37" presetID="22" presetClass="entr" presetSubtype="2" fill="hold" nodeType="afterEffect">
                                  <p:stCondLst>
                                    <p:cond delay="0"/>
                                  </p:stCondLst>
                                  <p:childTnLst>
                                    <p:set>
                                      <p:cBhvr>
                                        <p:cTn id="38" dur="1" fill="hold">
                                          <p:stCondLst>
                                            <p:cond delay="0"/>
                                          </p:stCondLst>
                                        </p:cTn>
                                        <p:tgtEl>
                                          <p:spTgt spid="36"/>
                                        </p:tgtEl>
                                        <p:attrNameLst>
                                          <p:attrName>style.visibility</p:attrName>
                                        </p:attrNameLst>
                                      </p:cBhvr>
                                      <p:to>
                                        <p:strVal val="visible"/>
                                      </p:to>
                                    </p:set>
                                    <p:animEffect transition="in" filter="wipe(right)">
                                      <p:cBhvr>
                                        <p:cTn id="39" dur="500"/>
                                        <p:tgtEl>
                                          <p:spTgt spid="36"/>
                                        </p:tgtEl>
                                      </p:cBhvr>
                                    </p:animEffect>
                                  </p:childTnLst>
                                </p:cTn>
                              </p:par>
                            </p:childTnLst>
                          </p:cTn>
                        </p:par>
                        <p:par>
                          <p:cTn id="40" fill="hold">
                            <p:stCondLst>
                              <p:cond delay="1500"/>
                            </p:stCondLst>
                            <p:childTnLst>
                              <p:par>
                                <p:cTn id="41" presetID="10" presetClass="entr" presetSubtype="0" fill="hold" grpId="0" nodeType="afterEffect">
                                  <p:stCondLst>
                                    <p:cond delay="0"/>
                                  </p:stCondLst>
                                  <p:childTnLst>
                                    <p:set>
                                      <p:cBhvr>
                                        <p:cTn id="42" dur="1" fill="hold">
                                          <p:stCondLst>
                                            <p:cond delay="0"/>
                                          </p:stCondLst>
                                        </p:cTn>
                                        <p:tgtEl>
                                          <p:spTgt spid="46"/>
                                        </p:tgtEl>
                                        <p:attrNameLst>
                                          <p:attrName>style.visibility</p:attrName>
                                        </p:attrNameLst>
                                      </p:cBhvr>
                                      <p:to>
                                        <p:strVal val="visible"/>
                                      </p:to>
                                    </p:set>
                                    <p:animEffect transition="in" filter="fade">
                                      <p:cBhvr>
                                        <p:cTn id="43"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6" grpId="0"/>
      <p:bldP spid="48" grpId="0"/>
      <p:bldP spid="49" grpId="0"/>
    </p:bld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F2C81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638" y="2335509"/>
            <a:ext cx="11887200" cy="2323508"/>
          </a:xfrm>
        </p:spPr>
        <p:txBody>
          <a:bodyPr/>
          <a:lstStyle/>
          <a:p>
            <a:pPr>
              <a:lnSpc>
                <a:spcPct val="100000"/>
              </a:lnSpc>
            </a:pPr>
            <a:r>
              <a:rPr lang="en-US" sz="6000" dirty="0">
                <a:solidFill>
                  <a:schemeClr val="tx2">
                    <a:lumMod val="10000"/>
                  </a:schemeClr>
                </a:solidFill>
              </a:rPr>
              <a:t>Power BI in action</a:t>
            </a:r>
            <a:endParaRPr lang="en-US" sz="3200" dirty="0">
              <a:solidFill>
                <a:srgbClr val="505050"/>
              </a:solidFill>
              <a:latin typeface="+mn-lt"/>
            </a:endParaRPr>
          </a:p>
        </p:txBody>
      </p:sp>
      <p:sp>
        <p:nvSpPr>
          <p:cNvPr id="2" name="Rectangle 1"/>
          <p:cNvSpPr/>
          <p:nvPr/>
        </p:nvSpPr>
        <p:spPr>
          <a:xfrm>
            <a:off x="359308" y="3356517"/>
            <a:ext cx="8458122" cy="95410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tx2">
                    <a:lumMod val="10000"/>
                  </a:schemeClr>
                </a:solidFill>
                <a:effectLst/>
                <a:uLnTx/>
                <a:uFillTx/>
                <a:latin typeface="+mj-lt"/>
              </a:rPr>
              <a:t>Enabling partners to do more</a:t>
            </a:r>
            <a:r>
              <a:rPr kumimoji="0" lang="en-US" sz="2800" b="0" i="0" u="none" strike="noStrike" kern="0" cap="none" spc="0" normalizeH="0" noProof="0" dirty="0">
                <a:ln>
                  <a:noFill/>
                </a:ln>
                <a:solidFill>
                  <a:schemeClr val="tx2">
                    <a:lumMod val="10000"/>
                  </a:schemeClr>
                </a:solidFill>
                <a:effectLst/>
                <a:uLnTx/>
                <a:uFillTx/>
                <a:latin typeface="+mj-lt"/>
              </a:rPr>
              <a:t> and allowing customers to make better decisions</a:t>
            </a:r>
            <a:endParaRPr kumimoji="0" lang="en-US" sz="2800" b="0" i="0" u="none" strike="noStrike" kern="0" cap="none" spc="0" normalizeH="0" baseline="0" noProof="0" dirty="0">
              <a:ln>
                <a:noFill/>
              </a:ln>
              <a:solidFill>
                <a:schemeClr val="tx2">
                  <a:lumMod val="10000"/>
                </a:schemeClr>
              </a:solidFill>
              <a:effectLst/>
              <a:uLnTx/>
              <a:uFillTx/>
              <a:latin typeface="+mj-lt"/>
            </a:endParaRPr>
          </a:p>
        </p:txBody>
      </p:sp>
    </p:spTree>
    <p:extLst>
      <p:ext uri="{BB962C8B-B14F-4D97-AF65-F5344CB8AC3E}">
        <p14:creationId xmlns:p14="http://schemas.microsoft.com/office/powerpoint/2010/main" val="347453821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77"/>
          <p:cNvSpPr/>
          <p:nvPr/>
        </p:nvSpPr>
        <p:spPr>
          <a:xfrm>
            <a:off x="475228" y="1253554"/>
            <a:ext cx="5738536" cy="1292662"/>
          </a:xfrm>
          <a:prstGeom prst="rect">
            <a:avLst/>
          </a:prstGeom>
        </p:spPr>
        <p:txBody>
          <a:bodyPr wrap="square" lIns="146304" tIns="91440" rIns="146304" bIns="91440">
            <a:spAutoFit/>
          </a:bodyPr>
          <a:lstStyle/>
          <a:p>
            <a:pPr indent="-71438" defTabSz="932120">
              <a:spcBef>
                <a:spcPts val="600"/>
              </a:spcBef>
              <a:spcAft>
                <a:spcPts val="600"/>
              </a:spcAft>
            </a:pPr>
            <a:r>
              <a:rPr lang="en-US" sz="2400" dirty="0">
                <a:solidFill>
                  <a:schemeClr val="bg2">
                    <a:lumMod val="10000"/>
                  </a:schemeClr>
                </a:solidFill>
              </a:rPr>
              <a:t>Power BI partner helps manufacturing company reduce inefficiencies and eliminate waste</a:t>
            </a:r>
          </a:p>
        </p:txBody>
      </p:sp>
      <p:sp>
        <p:nvSpPr>
          <p:cNvPr id="79" name="Rectangle 78"/>
          <p:cNvSpPr/>
          <p:nvPr/>
        </p:nvSpPr>
        <p:spPr>
          <a:xfrm>
            <a:off x="7077167" y="3286690"/>
            <a:ext cx="3159406" cy="681340"/>
          </a:xfrm>
          <a:prstGeom prst="rect">
            <a:avLst/>
          </a:prstGeom>
        </p:spPr>
        <p:txBody>
          <a:bodyPr wrap="square" lIns="146304" tIns="91440" rIns="146304" bIns="91440">
            <a:spAutoFit/>
          </a:bodyPr>
          <a:lstStyle/>
          <a:p>
            <a:pPr defTabSz="914016"/>
            <a:r>
              <a:rPr lang="en-US" sz="1076" dirty="0">
                <a:gradFill>
                  <a:gsLst>
                    <a:gs pos="83000">
                      <a:srgbClr val="505050"/>
                    </a:gs>
                    <a:gs pos="100000">
                      <a:srgbClr val="505050"/>
                    </a:gs>
                  </a:gsLst>
                  <a:lin ang="5400000" scaled="1"/>
                </a:gradFill>
              </a:rPr>
              <a:t>Eric Litras</a:t>
            </a:r>
          </a:p>
          <a:p>
            <a:pPr defTabSz="914016"/>
            <a:r>
              <a:rPr lang="en-US" sz="1076" dirty="0">
                <a:gradFill>
                  <a:gsLst>
                    <a:gs pos="83000">
                      <a:srgbClr val="505050"/>
                    </a:gs>
                    <a:gs pos="100000">
                      <a:srgbClr val="505050"/>
                    </a:gs>
                  </a:gsLst>
                  <a:lin ang="5400000" scaled="1"/>
                </a:gradFill>
              </a:rPr>
              <a:t>Director of Sales &amp; Marketing</a:t>
            </a:r>
          </a:p>
          <a:p>
            <a:pPr defTabSz="914016"/>
            <a:r>
              <a:rPr lang="en-US" sz="1076" b="1" dirty="0" err="1">
                <a:gradFill>
                  <a:gsLst>
                    <a:gs pos="83000">
                      <a:srgbClr val="505050"/>
                    </a:gs>
                    <a:gs pos="100000">
                      <a:srgbClr val="505050"/>
                    </a:gs>
                  </a:gsLst>
                  <a:lin ang="5400000" scaled="1"/>
                </a:gradFill>
              </a:rPr>
              <a:t>Vizion</a:t>
            </a:r>
            <a:r>
              <a:rPr lang="en-US" sz="1076" b="1" dirty="0">
                <a:gradFill>
                  <a:gsLst>
                    <a:gs pos="83000">
                      <a:srgbClr val="505050"/>
                    </a:gs>
                    <a:gs pos="100000">
                      <a:srgbClr val="505050"/>
                    </a:gs>
                  </a:gsLst>
                  <a:lin ang="5400000" scaled="1"/>
                </a:gradFill>
              </a:rPr>
              <a:t> Solutions</a:t>
            </a:r>
          </a:p>
        </p:txBody>
      </p:sp>
      <p:cxnSp>
        <p:nvCxnSpPr>
          <p:cNvPr id="134" name="Straight Connector 133"/>
          <p:cNvCxnSpPr/>
          <p:nvPr/>
        </p:nvCxnSpPr>
        <p:spPr>
          <a:xfrm>
            <a:off x="627629" y="2546216"/>
            <a:ext cx="4970531" cy="0"/>
          </a:xfrm>
          <a:prstGeom prst="line">
            <a:avLst/>
          </a:prstGeom>
          <a:ln w="12700">
            <a:solidFill>
              <a:srgbClr val="F2C81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bwMode="auto">
          <a:xfrm>
            <a:off x="0" y="4722760"/>
            <a:ext cx="12436475" cy="2271765"/>
          </a:xfrm>
          <a:prstGeom prst="rect">
            <a:avLst/>
          </a:prstGeom>
          <a:solidFill>
            <a:srgbClr val="35353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p:nvSpPr>
        <p:spPr>
          <a:xfrm>
            <a:off x="475229" y="2655253"/>
            <a:ext cx="3592143" cy="461665"/>
          </a:xfrm>
          <a:prstGeom prst="rect">
            <a:avLst/>
          </a:prstGeom>
        </p:spPr>
        <p:txBody>
          <a:bodyPr wrap="square" lIns="146304" tIns="91440" rIns="146304" bIns="91440">
            <a:spAutoFit/>
          </a:bodyPr>
          <a:lstStyle/>
          <a:p>
            <a:pPr marL="71438" indent="-71438" defTabSz="932120">
              <a:spcBef>
                <a:spcPts val="600"/>
              </a:spcBef>
              <a:spcAft>
                <a:spcPts val="600"/>
              </a:spcAft>
            </a:pPr>
            <a:r>
              <a:rPr lang="en-US" sz="1800" dirty="0">
                <a:solidFill>
                  <a:schemeClr val="bg2">
                    <a:lumMod val="10000"/>
                  </a:schemeClr>
                </a:solidFill>
              </a:rPr>
              <a:t>Background &amp; Solution</a:t>
            </a:r>
          </a:p>
        </p:txBody>
      </p:sp>
      <p:sp>
        <p:nvSpPr>
          <p:cNvPr id="20" name="Rectangle 19"/>
          <p:cNvSpPr/>
          <p:nvPr/>
        </p:nvSpPr>
        <p:spPr>
          <a:xfrm>
            <a:off x="475229" y="3019832"/>
            <a:ext cx="5559339" cy="1369606"/>
          </a:xfrm>
          <a:prstGeom prst="rect">
            <a:avLst/>
          </a:prstGeom>
        </p:spPr>
        <p:txBody>
          <a:bodyPr wrap="square" lIns="146304" tIns="91440" rIns="146304" bIns="91440">
            <a:spAutoFit/>
          </a:bodyPr>
          <a:lstStyle/>
          <a:p>
            <a:pPr indent="-71438" defTabSz="932120">
              <a:spcBef>
                <a:spcPts val="600"/>
              </a:spcBef>
              <a:spcAft>
                <a:spcPts val="600"/>
              </a:spcAft>
            </a:pPr>
            <a:r>
              <a:rPr lang="en-US" sz="1100" dirty="0">
                <a:solidFill>
                  <a:schemeClr val="bg2">
                    <a:lumMod val="10000"/>
                  </a:schemeClr>
                </a:solidFill>
              </a:rPr>
              <a:t>Microsoft partner, </a:t>
            </a:r>
            <a:r>
              <a:rPr lang="en-US" sz="1100" dirty="0" err="1">
                <a:solidFill>
                  <a:schemeClr val="bg2">
                    <a:lumMod val="10000"/>
                  </a:schemeClr>
                </a:solidFill>
              </a:rPr>
              <a:t>Vizion</a:t>
            </a:r>
            <a:r>
              <a:rPr lang="en-US" sz="1100" dirty="0">
                <a:solidFill>
                  <a:schemeClr val="bg2">
                    <a:lumMod val="10000"/>
                  </a:schemeClr>
                </a:solidFill>
              </a:rPr>
              <a:t> Solutions, not only helps its customers visualize Business Intelligence (BI) data in an interactive way, but also impacts the customer’s business process, strategy, and bottom line thanks to the intuitive data analytics and visualization capabilities of Power BI. In addition to being experts in IT professional services, </a:t>
            </a:r>
            <a:r>
              <a:rPr lang="en-US" sz="1100" dirty="0" err="1">
                <a:solidFill>
                  <a:schemeClr val="bg2">
                    <a:lumMod val="10000"/>
                  </a:schemeClr>
                </a:solidFill>
              </a:rPr>
              <a:t>Vizion</a:t>
            </a:r>
            <a:r>
              <a:rPr lang="en-US" sz="1100" dirty="0">
                <a:solidFill>
                  <a:schemeClr val="bg2">
                    <a:lumMod val="10000"/>
                  </a:schemeClr>
                </a:solidFill>
              </a:rPr>
              <a:t> Solutions has enhanced relationships with their customers and achieved a business advisor role due to their contributions to their clients’ business strategies through </a:t>
            </a:r>
            <a:r>
              <a:rPr lang="en-US" sz="1100" dirty="0" err="1">
                <a:solidFill>
                  <a:schemeClr val="bg2">
                    <a:lumMod val="10000"/>
                  </a:schemeClr>
                </a:solidFill>
              </a:rPr>
              <a:t>Vizion</a:t>
            </a:r>
            <a:r>
              <a:rPr lang="en-US" sz="1100" dirty="0">
                <a:solidFill>
                  <a:schemeClr val="bg2">
                    <a:lumMod val="10000"/>
                  </a:schemeClr>
                </a:solidFill>
              </a:rPr>
              <a:t> 360 Impact Analytics, their Power BI solution. </a:t>
            </a:r>
          </a:p>
        </p:txBody>
      </p:sp>
      <p:sp>
        <p:nvSpPr>
          <p:cNvPr id="21" name="Rectangle 20"/>
          <p:cNvSpPr/>
          <p:nvPr/>
        </p:nvSpPr>
        <p:spPr>
          <a:xfrm>
            <a:off x="6996265" y="4994995"/>
            <a:ext cx="4212034" cy="461665"/>
          </a:xfrm>
          <a:prstGeom prst="rect">
            <a:avLst/>
          </a:prstGeom>
        </p:spPr>
        <p:txBody>
          <a:bodyPr wrap="square" lIns="146304" tIns="91440" rIns="146304" bIns="91440">
            <a:spAutoFit/>
          </a:bodyPr>
          <a:lstStyle/>
          <a:p>
            <a:pPr marL="71438" indent="-71438" defTabSz="932120">
              <a:spcBef>
                <a:spcPts val="600"/>
              </a:spcBef>
              <a:spcAft>
                <a:spcPts val="600"/>
              </a:spcAft>
            </a:pPr>
            <a:r>
              <a:rPr lang="en-US" sz="1800" dirty="0">
                <a:solidFill>
                  <a:srgbClr val="F2C811"/>
                </a:solidFill>
              </a:rPr>
              <a:t>Partner Benefits</a:t>
            </a:r>
          </a:p>
        </p:txBody>
      </p:sp>
      <p:sp>
        <p:nvSpPr>
          <p:cNvPr id="22" name="Rectangle 21"/>
          <p:cNvSpPr/>
          <p:nvPr/>
        </p:nvSpPr>
        <p:spPr>
          <a:xfrm>
            <a:off x="6996264" y="5331560"/>
            <a:ext cx="4970532" cy="1138773"/>
          </a:xfrm>
          <a:prstGeom prst="rect">
            <a:avLst/>
          </a:prstGeom>
        </p:spPr>
        <p:txBody>
          <a:bodyPr wrap="square" lIns="146304" tIns="91440" rIns="146304" bIns="91440">
            <a:spAutoFit/>
          </a:bodyPr>
          <a:lstStyle/>
          <a:p>
            <a:pPr marL="285750" indent="-285750" defTabSz="932120">
              <a:spcBef>
                <a:spcPts val="600"/>
              </a:spcBef>
              <a:spcAft>
                <a:spcPts val="600"/>
              </a:spcAft>
              <a:buFont typeface="Arial" panose="020B0604020202020204" pitchFamily="34" charset="0"/>
              <a:buChar char="•"/>
            </a:pPr>
            <a:r>
              <a:rPr lang="en-US" sz="1400" dirty="0">
                <a:solidFill>
                  <a:schemeClr val="bg1"/>
                </a:solidFill>
              </a:rPr>
              <a:t>Created a new value-added managed services solution</a:t>
            </a:r>
          </a:p>
          <a:p>
            <a:pPr marL="285750" indent="-285750" defTabSz="932120">
              <a:spcBef>
                <a:spcPts val="600"/>
              </a:spcBef>
              <a:spcAft>
                <a:spcPts val="600"/>
              </a:spcAft>
              <a:buFont typeface="Arial" panose="020B0604020202020204" pitchFamily="34" charset="0"/>
              <a:buChar char="•"/>
            </a:pPr>
            <a:r>
              <a:rPr lang="en-US" sz="1400" dirty="0">
                <a:solidFill>
                  <a:schemeClr val="bg1"/>
                </a:solidFill>
              </a:rPr>
              <a:t>Became a business advisor to their customer</a:t>
            </a:r>
          </a:p>
          <a:p>
            <a:pPr marL="285750" indent="-285750" defTabSz="932120">
              <a:spcBef>
                <a:spcPts val="600"/>
              </a:spcBef>
              <a:spcAft>
                <a:spcPts val="600"/>
              </a:spcAft>
              <a:buFont typeface="Arial" panose="020B0604020202020204" pitchFamily="34" charset="0"/>
              <a:buChar char="•"/>
            </a:pPr>
            <a:r>
              <a:rPr lang="en-US" sz="1400" dirty="0">
                <a:solidFill>
                  <a:schemeClr val="bg1"/>
                </a:solidFill>
              </a:rPr>
              <a:t>Enhanced customer experience with data visualization</a:t>
            </a:r>
          </a:p>
        </p:txBody>
      </p:sp>
      <p:sp>
        <p:nvSpPr>
          <p:cNvPr id="14" name="Rectangle 13"/>
          <p:cNvSpPr/>
          <p:nvPr/>
        </p:nvSpPr>
        <p:spPr>
          <a:xfrm>
            <a:off x="6996264" y="2485872"/>
            <a:ext cx="4168086" cy="830997"/>
          </a:xfrm>
          <a:prstGeom prst="rect">
            <a:avLst/>
          </a:prstGeom>
        </p:spPr>
        <p:txBody>
          <a:bodyPr wrap="square" lIns="146304" tIns="91440" rIns="146304" bIns="91440">
            <a:spAutoFit/>
          </a:bodyPr>
          <a:lstStyle/>
          <a:p>
            <a:pPr marL="71438" indent="-71438" defTabSz="932120">
              <a:spcBef>
                <a:spcPts val="600"/>
              </a:spcBef>
              <a:spcAft>
                <a:spcPts val="600"/>
              </a:spcAft>
            </a:pPr>
            <a:r>
              <a:rPr lang="en-US" sz="1400" dirty="0">
                <a:solidFill>
                  <a:schemeClr val="bg2">
                    <a:lumMod val="10000"/>
                  </a:schemeClr>
                </a:solidFill>
              </a:rPr>
              <a:t>“</a:t>
            </a:r>
            <a:r>
              <a:rPr lang="en-US" sz="1400" dirty="0" err="1">
                <a:solidFill>
                  <a:schemeClr val="bg2">
                    <a:lumMod val="10000"/>
                  </a:schemeClr>
                </a:solidFill>
              </a:rPr>
              <a:t>Vizion</a:t>
            </a:r>
            <a:r>
              <a:rPr lang="en-US" sz="1400" dirty="0">
                <a:solidFill>
                  <a:schemeClr val="bg2">
                    <a:lumMod val="10000"/>
                  </a:schemeClr>
                </a:solidFill>
              </a:rPr>
              <a:t> 360 and Power BI allow us to harness the power of our data and monitor the pulse of our business.”</a:t>
            </a:r>
          </a:p>
        </p:txBody>
      </p:sp>
      <p:pic>
        <p:nvPicPr>
          <p:cNvPr id="34818" name="Picture 2" descr="http://vizionsolutions.com/virteom/styles/web/images/logo_transparent.png"/>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7540687" y="1314213"/>
            <a:ext cx="2695886" cy="9755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p:nvSpPr>
        <p:spPr>
          <a:xfrm>
            <a:off x="627629" y="4950494"/>
            <a:ext cx="4212034" cy="461665"/>
          </a:xfrm>
          <a:prstGeom prst="rect">
            <a:avLst/>
          </a:prstGeom>
        </p:spPr>
        <p:txBody>
          <a:bodyPr wrap="square" lIns="146304" tIns="91440" rIns="146304" bIns="91440">
            <a:spAutoFit/>
          </a:bodyPr>
          <a:lstStyle/>
          <a:p>
            <a:pPr marL="71438" indent="-71438" defTabSz="932120">
              <a:spcBef>
                <a:spcPts val="600"/>
              </a:spcBef>
              <a:spcAft>
                <a:spcPts val="600"/>
              </a:spcAft>
            </a:pPr>
            <a:r>
              <a:rPr lang="en-US" sz="1800" dirty="0">
                <a:solidFill>
                  <a:srgbClr val="F2C811"/>
                </a:solidFill>
              </a:rPr>
              <a:t>Customer Benefits</a:t>
            </a:r>
          </a:p>
        </p:txBody>
      </p:sp>
      <p:sp>
        <p:nvSpPr>
          <p:cNvPr id="23" name="Rectangle 22"/>
          <p:cNvSpPr/>
          <p:nvPr/>
        </p:nvSpPr>
        <p:spPr>
          <a:xfrm>
            <a:off x="627628" y="5287059"/>
            <a:ext cx="4970532" cy="1508105"/>
          </a:xfrm>
          <a:prstGeom prst="rect">
            <a:avLst/>
          </a:prstGeom>
        </p:spPr>
        <p:txBody>
          <a:bodyPr wrap="square" lIns="146304" tIns="91440" rIns="146304" bIns="91440">
            <a:spAutoFit/>
          </a:bodyPr>
          <a:lstStyle/>
          <a:p>
            <a:pPr marL="285750" indent="-285750" defTabSz="932120">
              <a:spcBef>
                <a:spcPts val="600"/>
              </a:spcBef>
              <a:spcAft>
                <a:spcPts val="600"/>
              </a:spcAft>
              <a:buFont typeface="Arial" panose="020B0604020202020204" pitchFamily="34" charset="0"/>
              <a:buChar char="•"/>
            </a:pPr>
            <a:r>
              <a:rPr lang="en-US" sz="1400" dirty="0">
                <a:solidFill>
                  <a:schemeClr val="bg1"/>
                </a:solidFill>
              </a:rPr>
              <a:t>Improved visibility into company metrics</a:t>
            </a:r>
          </a:p>
          <a:p>
            <a:pPr marL="285750" indent="-285750" defTabSz="932120">
              <a:spcBef>
                <a:spcPts val="600"/>
              </a:spcBef>
              <a:spcAft>
                <a:spcPts val="600"/>
              </a:spcAft>
              <a:buFont typeface="Arial" panose="020B0604020202020204" pitchFamily="34" charset="0"/>
              <a:buChar char="•"/>
            </a:pPr>
            <a:r>
              <a:rPr lang="en-US" sz="1400" dirty="0">
                <a:solidFill>
                  <a:schemeClr val="bg1"/>
                </a:solidFill>
              </a:rPr>
              <a:t>Enhanced ability to make educated business decisions</a:t>
            </a:r>
          </a:p>
          <a:p>
            <a:pPr marL="285750" indent="-285750" defTabSz="932120">
              <a:spcBef>
                <a:spcPts val="600"/>
              </a:spcBef>
              <a:spcAft>
                <a:spcPts val="600"/>
              </a:spcAft>
              <a:buFont typeface="Arial" panose="020B0604020202020204" pitchFamily="34" charset="0"/>
              <a:buChar char="•"/>
            </a:pPr>
            <a:r>
              <a:rPr lang="en-US" sz="1400" dirty="0">
                <a:solidFill>
                  <a:schemeClr val="bg1"/>
                </a:solidFill>
              </a:rPr>
              <a:t>Increased efficiency of manufacturing process</a:t>
            </a:r>
          </a:p>
          <a:p>
            <a:pPr marL="285750" indent="-285750" defTabSz="932120">
              <a:spcBef>
                <a:spcPts val="600"/>
              </a:spcBef>
              <a:spcAft>
                <a:spcPts val="600"/>
              </a:spcAft>
              <a:buFont typeface="Arial" panose="020B0604020202020204" pitchFamily="34" charset="0"/>
              <a:buChar char="•"/>
            </a:pPr>
            <a:endParaRPr lang="en-US" sz="1400" dirty="0">
              <a:solidFill>
                <a:schemeClr val="bg1"/>
              </a:solidFill>
            </a:endParaRPr>
          </a:p>
        </p:txBody>
      </p:sp>
      <p:sp>
        <p:nvSpPr>
          <p:cNvPr id="15" name="TextBox 14"/>
          <p:cNvSpPr txBox="1"/>
          <p:nvPr/>
        </p:nvSpPr>
        <p:spPr>
          <a:xfrm>
            <a:off x="475228" y="29612"/>
            <a:ext cx="12122124" cy="941580"/>
          </a:xfrm>
          <a:prstGeom prst="rect">
            <a:avLst/>
          </a:prstGeom>
          <a:noFill/>
        </p:spPr>
        <p:txBody>
          <a:bodyPr wrap="square" rtlCol="0">
            <a:spAutoFit/>
          </a:bodyPr>
          <a:lstStyle/>
          <a:p>
            <a:pPr defTabSz="932418">
              <a:spcBef>
                <a:spcPts val="1224"/>
              </a:spcBef>
            </a:pPr>
            <a:r>
              <a:rPr lang="en-US" sz="5399" kern="0" dirty="0">
                <a:solidFill>
                  <a:schemeClr val="tx2">
                    <a:lumMod val="10000"/>
                  </a:schemeClr>
                </a:solidFill>
                <a:latin typeface="Segoe UI Light"/>
              </a:rPr>
              <a:t>CSP partners find success with Power BI</a:t>
            </a:r>
            <a:endParaRPr lang="en-US" sz="3599" kern="0" spc="-102" dirty="0">
              <a:ln w="3175">
                <a:noFill/>
              </a:ln>
              <a:solidFill>
                <a:schemeClr val="tx2">
                  <a:lumMod val="10000"/>
                </a:schemeClr>
              </a:solidFill>
              <a:latin typeface="+mj-lt"/>
              <a:cs typeface="Segoe UI" pitchFamily="34" charset="0"/>
            </a:endParaRPr>
          </a:p>
        </p:txBody>
      </p:sp>
    </p:spTree>
    <p:extLst>
      <p:ext uri="{BB962C8B-B14F-4D97-AF65-F5344CB8AC3E}">
        <p14:creationId xmlns:p14="http://schemas.microsoft.com/office/powerpoint/2010/main" val="292686013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77"/>
          <p:cNvSpPr/>
          <p:nvPr/>
        </p:nvSpPr>
        <p:spPr>
          <a:xfrm>
            <a:off x="475228" y="1253554"/>
            <a:ext cx="5738536" cy="1292662"/>
          </a:xfrm>
          <a:prstGeom prst="rect">
            <a:avLst/>
          </a:prstGeom>
        </p:spPr>
        <p:txBody>
          <a:bodyPr wrap="square" lIns="146304" tIns="91440" rIns="146304" bIns="91440">
            <a:spAutoFit/>
          </a:bodyPr>
          <a:lstStyle/>
          <a:p>
            <a:pPr indent="-71438" defTabSz="932120">
              <a:spcBef>
                <a:spcPts val="600"/>
              </a:spcBef>
              <a:spcAft>
                <a:spcPts val="600"/>
              </a:spcAft>
            </a:pPr>
            <a:r>
              <a:rPr lang="en-US" sz="2400" dirty="0">
                <a:solidFill>
                  <a:schemeClr val="bg2">
                    <a:lumMod val="10000"/>
                  </a:schemeClr>
                </a:solidFill>
              </a:rPr>
              <a:t>Partner increases productivity and revenue for staffing industry with Power BI solution</a:t>
            </a:r>
          </a:p>
        </p:txBody>
      </p:sp>
      <p:sp>
        <p:nvSpPr>
          <p:cNvPr id="79" name="Rectangle 78"/>
          <p:cNvSpPr/>
          <p:nvPr/>
        </p:nvSpPr>
        <p:spPr>
          <a:xfrm>
            <a:off x="7077167" y="3286690"/>
            <a:ext cx="3159406" cy="681340"/>
          </a:xfrm>
          <a:prstGeom prst="rect">
            <a:avLst/>
          </a:prstGeom>
        </p:spPr>
        <p:txBody>
          <a:bodyPr wrap="square" lIns="146304" tIns="91440" rIns="146304" bIns="91440">
            <a:spAutoFit/>
          </a:bodyPr>
          <a:lstStyle/>
          <a:p>
            <a:pPr defTabSz="914016"/>
            <a:r>
              <a:rPr lang="en-US" sz="1076" dirty="0" err="1">
                <a:gradFill>
                  <a:gsLst>
                    <a:gs pos="83000">
                      <a:srgbClr val="505050"/>
                    </a:gs>
                    <a:gs pos="100000">
                      <a:srgbClr val="505050"/>
                    </a:gs>
                  </a:gsLst>
                  <a:lin ang="5400000" scaled="1"/>
                </a:gradFill>
              </a:rPr>
              <a:t>Stig</a:t>
            </a:r>
            <a:r>
              <a:rPr lang="en-US" sz="1076" dirty="0">
                <a:gradFill>
                  <a:gsLst>
                    <a:gs pos="83000">
                      <a:srgbClr val="505050"/>
                    </a:gs>
                    <a:gs pos="100000">
                      <a:srgbClr val="505050"/>
                    </a:gs>
                  </a:gsLst>
                  <a:lin ang="5400000" scaled="1"/>
                </a:gradFill>
              </a:rPr>
              <a:t> </a:t>
            </a:r>
            <a:r>
              <a:rPr lang="en-US" sz="1076" dirty="0" err="1">
                <a:gradFill>
                  <a:gsLst>
                    <a:gs pos="83000">
                      <a:srgbClr val="505050"/>
                    </a:gs>
                    <a:gs pos="100000">
                      <a:srgbClr val="505050"/>
                    </a:gs>
                  </a:gsLst>
                  <a:lin ang="5400000" scaled="1"/>
                </a:gradFill>
              </a:rPr>
              <a:t>Karlsen</a:t>
            </a:r>
            <a:endParaRPr lang="en-US" sz="1076" dirty="0">
              <a:gradFill>
                <a:gsLst>
                  <a:gs pos="83000">
                    <a:srgbClr val="505050"/>
                  </a:gs>
                  <a:gs pos="100000">
                    <a:srgbClr val="505050"/>
                  </a:gs>
                </a:gsLst>
                <a:lin ang="5400000" scaled="1"/>
              </a:gradFill>
            </a:endParaRPr>
          </a:p>
          <a:p>
            <a:pPr defTabSz="914016"/>
            <a:r>
              <a:rPr lang="en-US" sz="1076" dirty="0">
                <a:gradFill>
                  <a:gsLst>
                    <a:gs pos="83000">
                      <a:srgbClr val="505050"/>
                    </a:gs>
                    <a:gs pos="100000">
                      <a:srgbClr val="505050"/>
                    </a:gs>
                  </a:gsLst>
                  <a:lin ang="5400000" scaled="1"/>
                </a:gradFill>
              </a:rPr>
              <a:t>Solution Architect</a:t>
            </a:r>
          </a:p>
          <a:p>
            <a:pPr defTabSz="914016"/>
            <a:r>
              <a:rPr lang="en-US" sz="1076" b="1" dirty="0">
                <a:gradFill>
                  <a:gsLst>
                    <a:gs pos="83000">
                      <a:srgbClr val="505050"/>
                    </a:gs>
                    <a:gs pos="100000">
                      <a:srgbClr val="505050"/>
                    </a:gs>
                  </a:gsLst>
                  <a:lin ang="5400000" scaled="1"/>
                </a:gradFill>
              </a:rPr>
              <a:t>CRM Norge</a:t>
            </a:r>
          </a:p>
        </p:txBody>
      </p:sp>
      <p:cxnSp>
        <p:nvCxnSpPr>
          <p:cNvPr id="134" name="Straight Connector 133"/>
          <p:cNvCxnSpPr/>
          <p:nvPr/>
        </p:nvCxnSpPr>
        <p:spPr>
          <a:xfrm>
            <a:off x="627629" y="2546216"/>
            <a:ext cx="4970531" cy="0"/>
          </a:xfrm>
          <a:prstGeom prst="line">
            <a:avLst/>
          </a:prstGeom>
          <a:ln w="12700">
            <a:solidFill>
              <a:srgbClr val="F2C81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bwMode="auto">
          <a:xfrm>
            <a:off x="0" y="4722760"/>
            <a:ext cx="12436475" cy="2271765"/>
          </a:xfrm>
          <a:prstGeom prst="rect">
            <a:avLst/>
          </a:prstGeom>
          <a:solidFill>
            <a:srgbClr val="35353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p:nvSpPr>
        <p:spPr>
          <a:xfrm>
            <a:off x="475229" y="2655253"/>
            <a:ext cx="3592143" cy="461665"/>
          </a:xfrm>
          <a:prstGeom prst="rect">
            <a:avLst/>
          </a:prstGeom>
        </p:spPr>
        <p:txBody>
          <a:bodyPr wrap="square" lIns="146304" tIns="91440" rIns="146304" bIns="91440">
            <a:spAutoFit/>
          </a:bodyPr>
          <a:lstStyle/>
          <a:p>
            <a:pPr marL="71438" indent="-71438" defTabSz="932120">
              <a:spcBef>
                <a:spcPts val="600"/>
              </a:spcBef>
              <a:spcAft>
                <a:spcPts val="600"/>
              </a:spcAft>
            </a:pPr>
            <a:r>
              <a:rPr lang="en-US" sz="1800" dirty="0">
                <a:solidFill>
                  <a:schemeClr val="bg2">
                    <a:lumMod val="10000"/>
                  </a:schemeClr>
                </a:solidFill>
              </a:rPr>
              <a:t>Background &amp; Solution</a:t>
            </a:r>
          </a:p>
        </p:txBody>
      </p:sp>
      <p:sp>
        <p:nvSpPr>
          <p:cNvPr id="20" name="Rectangle 19"/>
          <p:cNvSpPr/>
          <p:nvPr/>
        </p:nvSpPr>
        <p:spPr>
          <a:xfrm>
            <a:off x="475229" y="3019832"/>
            <a:ext cx="5559339" cy="1200329"/>
          </a:xfrm>
          <a:prstGeom prst="rect">
            <a:avLst/>
          </a:prstGeom>
        </p:spPr>
        <p:txBody>
          <a:bodyPr wrap="square" lIns="146304" tIns="91440" rIns="146304" bIns="91440">
            <a:spAutoFit/>
          </a:bodyPr>
          <a:lstStyle/>
          <a:p>
            <a:pPr indent="-71438" defTabSz="932120">
              <a:spcBef>
                <a:spcPts val="600"/>
              </a:spcBef>
              <a:spcAft>
                <a:spcPts val="600"/>
              </a:spcAft>
            </a:pPr>
            <a:r>
              <a:rPr lang="en-US" sz="1100" dirty="0">
                <a:solidFill>
                  <a:schemeClr val="bg2">
                    <a:lumMod val="10000"/>
                  </a:schemeClr>
                </a:solidFill>
              </a:rPr>
              <a:t>CRM Norge is dedicated to providing detailed reporting and analysis software to their customers. Historically, customers with large datasets have had difficulty organizing and analyzing their data, and had just a few people designated to perform these tasks. With Power BI, CRM Norge is now able to offer a solution that enables customers to analyze mission critical data on their own, improving efficiency and profitability. </a:t>
            </a:r>
          </a:p>
        </p:txBody>
      </p:sp>
      <p:sp>
        <p:nvSpPr>
          <p:cNvPr id="21" name="Rectangle 20"/>
          <p:cNvSpPr/>
          <p:nvPr/>
        </p:nvSpPr>
        <p:spPr>
          <a:xfrm>
            <a:off x="6996265" y="4994995"/>
            <a:ext cx="4212034" cy="461665"/>
          </a:xfrm>
          <a:prstGeom prst="rect">
            <a:avLst/>
          </a:prstGeom>
        </p:spPr>
        <p:txBody>
          <a:bodyPr wrap="square" lIns="146304" tIns="91440" rIns="146304" bIns="91440">
            <a:spAutoFit/>
          </a:bodyPr>
          <a:lstStyle/>
          <a:p>
            <a:pPr marL="71438" indent="-71438" defTabSz="932120">
              <a:spcBef>
                <a:spcPts val="600"/>
              </a:spcBef>
              <a:spcAft>
                <a:spcPts val="600"/>
              </a:spcAft>
            </a:pPr>
            <a:r>
              <a:rPr lang="en-US" sz="1800" dirty="0">
                <a:solidFill>
                  <a:srgbClr val="F2C811"/>
                </a:solidFill>
              </a:rPr>
              <a:t>Partner Benefits</a:t>
            </a:r>
          </a:p>
        </p:txBody>
      </p:sp>
      <p:sp>
        <p:nvSpPr>
          <p:cNvPr id="22" name="Rectangle 21"/>
          <p:cNvSpPr/>
          <p:nvPr/>
        </p:nvSpPr>
        <p:spPr>
          <a:xfrm>
            <a:off x="6996264" y="5331560"/>
            <a:ext cx="4970532" cy="1138773"/>
          </a:xfrm>
          <a:prstGeom prst="rect">
            <a:avLst/>
          </a:prstGeom>
        </p:spPr>
        <p:txBody>
          <a:bodyPr wrap="square" lIns="146304" tIns="91440" rIns="146304" bIns="91440">
            <a:spAutoFit/>
          </a:bodyPr>
          <a:lstStyle/>
          <a:p>
            <a:pPr marL="285750" indent="-285750" defTabSz="932120">
              <a:spcBef>
                <a:spcPts val="600"/>
              </a:spcBef>
              <a:spcAft>
                <a:spcPts val="600"/>
              </a:spcAft>
              <a:buFont typeface="Arial" panose="020B0604020202020204" pitchFamily="34" charset="0"/>
              <a:buChar char="•"/>
            </a:pPr>
            <a:r>
              <a:rPr lang="en-US" sz="1400" dirty="0">
                <a:solidFill>
                  <a:schemeClr val="bg1"/>
                </a:solidFill>
              </a:rPr>
              <a:t>End-to-end control of sales pipeline</a:t>
            </a:r>
          </a:p>
          <a:p>
            <a:pPr marL="285750" indent="-285750" defTabSz="932120">
              <a:spcBef>
                <a:spcPts val="600"/>
              </a:spcBef>
              <a:spcAft>
                <a:spcPts val="600"/>
              </a:spcAft>
              <a:buFont typeface="Arial" panose="020B0604020202020204" pitchFamily="34" charset="0"/>
              <a:buChar char="•"/>
            </a:pPr>
            <a:r>
              <a:rPr lang="en-US" sz="1400" dirty="0">
                <a:solidFill>
                  <a:schemeClr val="bg1"/>
                </a:solidFill>
              </a:rPr>
              <a:t>On-demand scalability of Power BI licenses</a:t>
            </a:r>
          </a:p>
          <a:p>
            <a:pPr marL="285750" indent="-285750" defTabSz="932120">
              <a:spcBef>
                <a:spcPts val="600"/>
              </a:spcBef>
              <a:spcAft>
                <a:spcPts val="600"/>
              </a:spcAft>
              <a:buFont typeface="Arial" panose="020B0604020202020204" pitchFamily="34" charset="0"/>
              <a:buChar char="•"/>
            </a:pPr>
            <a:endParaRPr lang="en-US" sz="1400" dirty="0">
              <a:solidFill>
                <a:schemeClr val="bg1"/>
              </a:solidFill>
            </a:endParaRPr>
          </a:p>
        </p:txBody>
      </p:sp>
      <p:sp>
        <p:nvSpPr>
          <p:cNvPr id="14" name="Rectangle 13"/>
          <p:cNvSpPr/>
          <p:nvPr/>
        </p:nvSpPr>
        <p:spPr>
          <a:xfrm>
            <a:off x="6996264" y="2485872"/>
            <a:ext cx="4168086" cy="830997"/>
          </a:xfrm>
          <a:prstGeom prst="rect">
            <a:avLst/>
          </a:prstGeom>
        </p:spPr>
        <p:txBody>
          <a:bodyPr wrap="square" lIns="146304" tIns="91440" rIns="146304" bIns="91440">
            <a:spAutoFit/>
          </a:bodyPr>
          <a:lstStyle/>
          <a:p>
            <a:pPr marL="71438" indent="-71438" defTabSz="932120">
              <a:spcBef>
                <a:spcPts val="600"/>
              </a:spcBef>
              <a:spcAft>
                <a:spcPts val="600"/>
              </a:spcAft>
            </a:pPr>
            <a:r>
              <a:rPr lang="en-US" sz="1400" dirty="0">
                <a:solidFill>
                  <a:schemeClr val="bg2">
                    <a:lumMod val="10000"/>
                  </a:schemeClr>
                </a:solidFill>
              </a:rPr>
              <a:t>“With Power BI, we have had a more complete product to demonstrate, shortening the sales cycle and providing added value to customers.”</a:t>
            </a:r>
          </a:p>
        </p:txBody>
      </p:sp>
      <p:sp>
        <p:nvSpPr>
          <p:cNvPr id="17" name="Rectangle 16"/>
          <p:cNvSpPr/>
          <p:nvPr/>
        </p:nvSpPr>
        <p:spPr>
          <a:xfrm>
            <a:off x="627629" y="4950494"/>
            <a:ext cx="4212034" cy="461665"/>
          </a:xfrm>
          <a:prstGeom prst="rect">
            <a:avLst/>
          </a:prstGeom>
        </p:spPr>
        <p:txBody>
          <a:bodyPr wrap="square" lIns="146304" tIns="91440" rIns="146304" bIns="91440">
            <a:spAutoFit/>
          </a:bodyPr>
          <a:lstStyle/>
          <a:p>
            <a:pPr marL="71438" indent="-71438" defTabSz="932120">
              <a:spcBef>
                <a:spcPts val="600"/>
              </a:spcBef>
              <a:spcAft>
                <a:spcPts val="600"/>
              </a:spcAft>
            </a:pPr>
            <a:r>
              <a:rPr lang="en-US" sz="1800" dirty="0">
                <a:solidFill>
                  <a:srgbClr val="F2C811"/>
                </a:solidFill>
              </a:rPr>
              <a:t>Customer Benefits</a:t>
            </a:r>
          </a:p>
        </p:txBody>
      </p:sp>
      <p:sp>
        <p:nvSpPr>
          <p:cNvPr id="23" name="Rectangle 22"/>
          <p:cNvSpPr/>
          <p:nvPr/>
        </p:nvSpPr>
        <p:spPr>
          <a:xfrm>
            <a:off x="627628" y="5287059"/>
            <a:ext cx="4970532" cy="1138773"/>
          </a:xfrm>
          <a:prstGeom prst="rect">
            <a:avLst/>
          </a:prstGeom>
        </p:spPr>
        <p:txBody>
          <a:bodyPr wrap="square" lIns="146304" tIns="91440" rIns="146304" bIns="91440">
            <a:spAutoFit/>
          </a:bodyPr>
          <a:lstStyle/>
          <a:p>
            <a:pPr marL="285750" indent="-285750" defTabSz="932120">
              <a:spcBef>
                <a:spcPts val="600"/>
              </a:spcBef>
              <a:spcAft>
                <a:spcPts val="600"/>
              </a:spcAft>
              <a:buFont typeface="Arial" panose="020B0604020202020204" pitchFamily="34" charset="0"/>
              <a:buChar char="•"/>
            </a:pPr>
            <a:r>
              <a:rPr lang="en-US" sz="1400" dirty="0">
                <a:solidFill>
                  <a:schemeClr val="bg1"/>
                </a:solidFill>
              </a:rPr>
              <a:t>Optimize business and increase efficiency</a:t>
            </a:r>
          </a:p>
          <a:p>
            <a:pPr marL="285750" indent="-285750" defTabSz="932120">
              <a:spcBef>
                <a:spcPts val="600"/>
              </a:spcBef>
              <a:spcAft>
                <a:spcPts val="600"/>
              </a:spcAft>
              <a:buFont typeface="Arial" panose="020B0604020202020204" pitchFamily="34" charset="0"/>
              <a:buChar char="•"/>
            </a:pPr>
            <a:r>
              <a:rPr lang="en-US" sz="1400" dirty="0">
                <a:solidFill>
                  <a:schemeClr val="bg1"/>
                </a:solidFill>
              </a:rPr>
              <a:t>Streamline manual analytics processes</a:t>
            </a:r>
          </a:p>
          <a:p>
            <a:pPr marL="285750" indent="-285750" defTabSz="932120">
              <a:spcBef>
                <a:spcPts val="600"/>
              </a:spcBef>
              <a:spcAft>
                <a:spcPts val="600"/>
              </a:spcAft>
              <a:buFont typeface="Arial" panose="020B0604020202020204" pitchFamily="34" charset="0"/>
              <a:buChar char="•"/>
            </a:pPr>
            <a:endParaRPr lang="en-US" sz="1400" dirty="0">
              <a:solidFill>
                <a:schemeClr val="bg1"/>
              </a:solidFill>
            </a:endParaRPr>
          </a:p>
        </p:txBody>
      </p:sp>
      <p:sp>
        <p:nvSpPr>
          <p:cNvPr id="15" name="TextBox 14"/>
          <p:cNvSpPr txBox="1"/>
          <p:nvPr/>
        </p:nvSpPr>
        <p:spPr>
          <a:xfrm>
            <a:off x="475228" y="29612"/>
            <a:ext cx="12122124" cy="941580"/>
          </a:xfrm>
          <a:prstGeom prst="rect">
            <a:avLst/>
          </a:prstGeom>
          <a:noFill/>
        </p:spPr>
        <p:txBody>
          <a:bodyPr wrap="square" rtlCol="0">
            <a:spAutoFit/>
          </a:bodyPr>
          <a:lstStyle/>
          <a:p>
            <a:pPr defTabSz="932418">
              <a:spcBef>
                <a:spcPts val="1224"/>
              </a:spcBef>
            </a:pPr>
            <a:r>
              <a:rPr lang="en-US" sz="5399" kern="0" dirty="0">
                <a:solidFill>
                  <a:schemeClr val="tx2">
                    <a:lumMod val="10000"/>
                  </a:schemeClr>
                </a:solidFill>
                <a:latin typeface="Segoe UI Light"/>
              </a:rPr>
              <a:t>CSP partners enable customer success</a:t>
            </a:r>
            <a:endParaRPr lang="en-US" sz="3599" kern="0" spc="-102" dirty="0">
              <a:ln w="3175">
                <a:noFill/>
              </a:ln>
              <a:solidFill>
                <a:schemeClr val="tx2">
                  <a:lumMod val="10000"/>
                </a:schemeClr>
              </a:solidFill>
              <a:latin typeface="+mj-lt"/>
              <a:cs typeface="Segoe UI" pitchFamily="34" charset="0"/>
            </a:endParaRPr>
          </a:p>
        </p:txBody>
      </p:sp>
      <p:pic>
        <p:nvPicPr>
          <p:cNvPr id="24" name="Picture 23"/>
          <p:cNvPicPr/>
          <p:nvPr/>
        </p:nvPicPr>
        <p:blipFill>
          <a:blip r:embed="rId3"/>
          <a:stretch>
            <a:fillRect/>
          </a:stretch>
        </p:blipFill>
        <p:spPr>
          <a:xfrm>
            <a:off x="7673255" y="1426567"/>
            <a:ext cx="1967230" cy="788035"/>
          </a:xfrm>
          <a:prstGeom prst="rect">
            <a:avLst/>
          </a:prstGeom>
        </p:spPr>
      </p:pic>
    </p:spTree>
    <p:extLst>
      <p:ext uri="{BB962C8B-B14F-4D97-AF65-F5344CB8AC3E}">
        <p14:creationId xmlns:p14="http://schemas.microsoft.com/office/powerpoint/2010/main" val="310814155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4"/>
          <a:srcRect l="3213" t="3213"/>
          <a:stretch/>
        </p:blipFill>
        <p:spPr>
          <a:xfrm>
            <a:off x="0" y="0"/>
            <a:ext cx="12436476" cy="6995518"/>
          </a:xfrm>
          <a:prstGeom prst="rect">
            <a:avLst/>
          </a:prstGeom>
        </p:spPr>
      </p:pic>
      <p:sp>
        <p:nvSpPr>
          <p:cNvPr id="7" name="Title 1"/>
          <p:cNvSpPr txBox="1">
            <a:spLocks/>
          </p:cNvSpPr>
          <p:nvPr/>
        </p:nvSpPr>
        <p:spPr>
          <a:xfrm>
            <a:off x="7979212" y="2725566"/>
            <a:ext cx="4227103" cy="1100821"/>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solidFill>
                  <a:schemeClr val="tx2"/>
                </a:solidFill>
                <a:effectLst/>
                <a:latin typeface="+mj-lt"/>
                <a:ea typeface="+mn-ea"/>
                <a:cs typeface="Segoe UI" pitchFamily="34" charset="0"/>
              </a:defRPr>
            </a:lvl1pPr>
          </a:lstStyle>
          <a:p>
            <a:endParaRPr lang="en-US" sz="2800" dirty="0">
              <a:solidFill>
                <a:schemeClr val="bg1"/>
              </a:solidFill>
            </a:endParaRPr>
          </a:p>
        </p:txBody>
      </p:sp>
      <p:sp>
        <p:nvSpPr>
          <p:cNvPr id="18" name="Rectangle 17"/>
          <p:cNvSpPr/>
          <p:nvPr/>
        </p:nvSpPr>
        <p:spPr bwMode="auto">
          <a:xfrm>
            <a:off x="6882062" y="296864"/>
            <a:ext cx="5324253" cy="5262108"/>
          </a:xfrm>
          <a:prstGeom prst="rect">
            <a:avLst/>
          </a:prstGeom>
          <a:solidFill>
            <a:srgbClr val="353535">
              <a:alpha val="9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9" name="Subtitle 2"/>
          <p:cNvSpPr txBox="1">
            <a:spLocks/>
          </p:cNvSpPr>
          <p:nvPr/>
        </p:nvSpPr>
        <p:spPr>
          <a:xfrm>
            <a:off x="6897895" y="4283633"/>
            <a:ext cx="2899938" cy="734793"/>
          </a:xfrm>
          <a:prstGeom prst="rect">
            <a:avLst/>
          </a:prstGeom>
        </p:spPr>
        <p:txBody>
          <a:bodyPr lIns="268927" tIns="143428" rIns="179285" bIns="143428" anchor="t" anchorCtr="0"/>
          <a:lstStyle>
            <a:lvl1pPr marL="0" indent="0" algn="l" defTabSz="914400" rtl="0" eaLnBrk="1" latinLnBrk="0" hangingPunct="1">
              <a:lnSpc>
                <a:spcPct val="90000"/>
              </a:lnSpc>
              <a:spcBef>
                <a:spcPct val="20000"/>
              </a:spcBef>
              <a:buFont typeface="Arial" pitchFamily="34" charset="0"/>
              <a:buNone/>
              <a:defRPr sz="2200" kern="1200">
                <a:gradFill>
                  <a:gsLst>
                    <a:gs pos="0">
                      <a:srgbClr val="FFFFFF"/>
                    </a:gs>
                    <a:gs pos="100000">
                      <a:srgbClr val="FFFFFF"/>
                    </a:gs>
                  </a:gsLst>
                  <a:lin ang="5400000" scaled="0"/>
                </a:gra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fontAlgn="base">
              <a:lnSpc>
                <a:spcPct val="100000"/>
              </a:lnSpc>
              <a:spcBef>
                <a:spcPts val="0"/>
              </a:spcBef>
              <a:spcAft>
                <a:spcPct val="0"/>
              </a:spcAft>
            </a:pPr>
            <a:r>
              <a:rPr lang="en-US" sz="1372" b="1" dirty="0"/>
              <a:t>MICHAEL FRISBY</a:t>
            </a:r>
          </a:p>
          <a:p>
            <a:pPr fontAlgn="base">
              <a:lnSpc>
                <a:spcPct val="100000"/>
              </a:lnSpc>
              <a:spcBef>
                <a:spcPts val="0"/>
              </a:spcBef>
              <a:spcAft>
                <a:spcPct val="0"/>
              </a:spcAft>
            </a:pPr>
            <a:r>
              <a:rPr lang="en-US" sz="1372" dirty="0"/>
              <a:t>MANAGING DIRECTOR</a:t>
            </a:r>
          </a:p>
          <a:p>
            <a:pPr fontAlgn="base">
              <a:lnSpc>
                <a:spcPct val="100000"/>
              </a:lnSpc>
              <a:spcBef>
                <a:spcPts val="0"/>
              </a:spcBef>
              <a:spcAft>
                <a:spcPct val="0"/>
              </a:spcAft>
            </a:pPr>
            <a:r>
              <a:rPr lang="en-US" sz="1372" dirty="0"/>
              <a:t>COBWEB SOLUTIONS</a:t>
            </a:r>
          </a:p>
        </p:txBody>
      </p:sp>
      <p:sp>
        <p:nvSpPr>
          <p:cNvPr id="20" name="Rectangle 19"/>
          <p:cNvSpPr/>
          <p:nvPr/>
        </p:nvSpPr>
        <p:spPr>
          <a:xfrm>
            <a:off x="6897895" y="602788"/>
            <a:ext cx="4974791" cy="3431543"/>
          </a:xfrm>
          <a:prstGeom prst="rect">
            <a:avLst/>
          </a:prstGeom>
        </p:spPr>
        <p:txBody>
          <a:bodyPr wrap="square" lIns="179285" tIns="143428" rIns="179285" bIns="143428">
            <a:spAutoFit/>
          </a:bodyPr>
          <a:lstStyle/>
          <a:p>
            <a:pPr marL="115161" indent="-115161" defTabSz="914367" fontAlgn="base">
              <a:lnSpc>
                <a:spcPts val="3460"/>
              </a:lnSpc>
              <a:spcBef>
                <a:spcPts val="2400"/>
              </a:spcBef>
              <a:spcAft>
                <a:spcPct val="0"/>
              </a:spcAft>
            </a:pPr>
            <a:r>
              <a:rPr lang="en-US" sz="2600" dirty="0">
                <a:gradFill>
                  <a:gsLst>
                    <a:gs pos="67257">
                      <a:srgbClr val="FFFFFF"/>
                    </a:gs>
                    <a:gs pos="37000">
                      <a:srgbClr val="FFFFFF"/>
                    </a:gs>
                  </a:gsLst>
                  <a:lin ang="5400000" scaled="0"/>
                </a:gradFill>
                <a:latin typeface="Segoe UI Light"/>
                <a:ea typeface="ＭＳ Ｐゴシック" charset="0"/>
              </a:rPr>
              <a:t>“The key with managed services is… building a long-term relationship with your customer, really understanding their business – to help them get the maximum value out of the cloud services they’re using. .”</a:t>
            </a:r>
          </a:p>
        </p:txBody>
      </p:sp>
      <p:sp>
        <p:nvSpPr>
          <p:cNvPr id="24" name="Rectangle 23"/>
          <p:cNvSpPr/>
          <p:nvPr/>
        </p:nvSpPr>
        <p:spPr bwMode="auto">
          <a:xfrm rot="10800000" flipV="1">
            <a:off x="-1" y="0"/>
            <a:ext cx="5882988" cy="6994526"/>
          </a:xfrm>
          <a:prstGeom prst="rect">
            <a:avLst/>
          </a:prstGeom>
          <a:gradFill flip="none" rotWithShape="1">
            <a:gsLst>
              <a:gs pos="0">
                <a:srgbClr val="000000">
                  <a:alpha val="58000"/>
                </a:srgbClr>
              </a:gs>
              <a:gs pos="76000">
                <a:srgbClr val="000000">
                  <a:alpha val="0"/>
                </a:srgbClr>
              </a:gs>
            </a:gsLst>
            <a:path path="circle">
              <a:fillToRect l="100000" t="100000"/>
            </a:path>
            <a:tileRect r="-100000" b="-100000"/>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
        <p:nvSpPr>
          <p:cNvPr id="21" name="Rectangle 9"/>
          <p:cNvSpPr/>
          <p:nvPr>
            <p:custDataLst>
              <p:tags r:id="rId1"/>
            </p:custDataLst>
          </p:nvPr>
        </p:nvSpPr>
        <p:spPr bwMode="auto">
          <a:xfrm>
            <a:off x="411710" y="5738326"/>
            <a:ext cx="3028176" cy="896425"/>
          </a:xfrm>
          <a:prstGeom prst="rect">
            <a:avLst/>
          </a:prstGeom>
          <a:noFill/>
          <a:ln w="10795" cap="flat" cmpd="sng" algn="ctr">
            <a:noFill/>
            <a:prstDash val="solid"/>
            <a:headEnd type="none" w="med" len="med"/>
            <a:tailEnd type="none" w="med" len="med"/>
          </a:ln>
          <a:effectLst/>
        </p:spPr>
        <p:txBody>
          <a:bodyPr vert="horz" wrap="square" lIns="179285" tIns="134464" rIns="89642" bIns="89628" numCol="1" rtlCol="0" anchor="t" anchorCtr="0" compatLnSpc="1">
            <a:prstTxWarp prst="textNoShape">
              <a:avLst/>
            </a:prstTxWarp>
          </a:bodyPr>
          <a:lstStyle/>
          <a:p>
            <a:pPr defTabSz="914347">
              <a:lnSpc>
                <a:spcPct val="90000"/>
              </a:lnSpc>
              <a:defRPr/>
            </a:pPr>
            <a:r>
              <a:rPr lang="en-US" sz="2353" kern="0" spc="-29" dirty="0">
                <a:solidFill>
                  <a:schemeClr val="bg1"/>
                </a:solidFill>
                <a:latin typeface="Segoe UI Light"/>
                <a:ea typeface="ＭＳ Ｐゴシック" charset="0"/>
              </a:rPr>
              <a:t>Driving Power BI solutions through CSP</a:t>
            </a:r>
          </a:p>
        </p:txBody>
      </p:sp>
      <p:pic>
        <p:nvPicPr>
          <p:cNvPr id="22" name="Picture 21">
            <a:hlinkClick r:id="rId5"/>
          </p:cNvPr>
          <p:cNvPicPr>
            <a:picLocks noChangeAspect="1"/>
          </p:cNvPicPr>
          <p:nvPr/>
        </p:nvPicPr>
        <p:blipFill rotWithShape="1">
          <a:blip r:embed="rId6"/>
          <a:srcRect l="32532" b="675"/>
          <a:stretch/>
        </p:blipFill>
        <p:spPr>
          <a:xfrm>
            <a:off x="1148396" y="4996677"/>
            <a:ext cx="1229849" cy="393600"/>
          </a:xfrm>
          <a:prstGeom prst="rect">
            <a:avLst/>
          </a:prstGeom>
        </p:spPr>
      </p:pic>
      <p:sp>
        <p:nvSpPr>
          <p:cNvPr id="23" name="Freeform 101"/>
          <p:cNvSpPr>
            <a:spLocks/>
          </p:cNvSpPr>
          <p:nvPr/>
        </p:nvSpPr>
        <p:spPr bwMode="black">
          <a:xfrm rot="10800000">
            <a:off x="635487" y="4984992"/>
            <a:ext cx="307406" cy="461104"/>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80463676"/>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77"/>
          <p:cNvSpPr/>
          <p:nvPr/>
        </p:nvSpPr>
        <p:spPr>
          <a:xfrm>
            <a:off x="274320" y="3646134"/>
            <a:ext cx="3592143" cy="1477328"/>
          </a:xfrm>
          <a:prstGeom prst="rect">
            <a:avLst/>
          </a:prstGeom>
        </p:spPr>
        <p:txBody>
          <a:bodyPr wrap="square" lIns="146304" tIns="91440" rIns="146304" bIns="91440">
            <a:spAutoFit/>
          </a:bodyPr>
          <a:lstStyle/>
          <a:p>
            <a:pPr marL="71438" indent="-71438" defTabSz="932120">
              <a:spcBef>
                <a:spcPts val="600"/>
              </a:spcBef>
              <a:spcAft>
                <a:spcPts val="600"/>
              </a:spcAft>
            </a:pPr>
            <a:r>
              <a:rPr lang="en-US" sz="1400" dirty="0">
                <a:solidFill>
                  <a:schemeClr val="bg2">
                    <a:lumMod val="10000"/>
                  </a:schemeClr>
                </a:solidFill>
              </a:rPr>
              <a:t>“By using Microsoft </a:t>
            </a:r>
            <a:r>
              <a:rPr lang="en-US" sz="1400" b="1" dirty="0">
                <a:solidFill>
                  <a:schemeClr val="bg2">
                    <a:lumMod val="10000"/>
                  </a:schemeClr>
                </a:solidFill>
              </a:rPr>
              <a:t>Azure</a:t>
            </a:r>
            <a:r>
              <a:rPr lang="en-US" sz="1400" dirty="0">
                <a:solidFill>
                  <a:schemeClr val="bg2">
                    <a:lumMod val="10000"/>
                  </a:schemeClr>
                </a:solidFill>
              </a:rPr>
              <a:t> </a:t>
            </a:r>
            <a:r>
              <a:rPr lang="en-US" sz="1400" b="1" dirty="0">
                <a:solidFill>
                  <a:schemeClr val="bg2">
                    <a:lumMod val="10000"/>
                  </a:schemeClr>
                </a:solidFill>
              </a:rPr>
              <a:t>HDInsight</a:t>
            </a:r>
            <a:r>
              <a:rPr lang="en-US" sz="1400" dirty="0">
                <a:solidFill>
                  <a:schemeClr val="bg2">
                    <a:lumMod val="10000"/>
                  </a:schemeClr>
                </a:solidFill>
              </a:rPr>
              <a:t>, </a:t>
            </a:r>
            <a:r>
              <a:rPr lang="en-US" sz="1400" b="1" dirty="0">
                <a:solidFill>
                  <a:schemeClr val="bg2">
                    <a:lumMod val="10000"/>
                  </a:schemeClr>
                </a:solidFill>
              </a:rPr>
              <a:t>SQL Server</a:t>
            </a:r>
            <a:r>
              <a:rPr lang="en-US" sz="1400" dirty="0">
                <a:solidFill>
                  <a:schemeClr val="bg2">
                    <a:lumMod val="10000"/>
                  </a:schemeClr>
                </a:solidFill>
              </a:rPr>
              <a:t>, and </a:t>
            </a:r>
            <a:r>
              <a:rPr lang="en-US" sz="1400" b="1" dirty="0">
                <a:solidFill>
                  <a:schemeClr val="bg2">
                    <a:lumMod val="10000"/>
                  </a:schemeClr>
                </a:solidFill>
              </a:rPr>
              <a:t>Power BI </a:t>
            </a:r>
            <a:r>
              <a:rPr lang="en-US" sz="1400" dirty="0">
                <a:solidFill>
                  <a:schemeClr val="bg2">
                    <a:lumMod val="10000"/>
                  </a:schemeClr>
                </a:solidFill>
              </a:rPr>
              <a:t>we can collect, analyze, and generate near-real-time BI with Big Data collected from social media feeds, GPS signals, and </a:t>
            </a:r>
            <a:br>
              <a:rPr lang="en-US" sz="1400" dirty="0">
                <a:solidFill>
                  <a:schemeClr val="bg2">
                    <a:lumMod val="10000"/>
                  </a:schemeClr>
                </a:solidFill>
              </a:rPr>
            </a:br>
            <a:r>
              <a:rPr lang="en-US" sz="1400" dirty="0">
                <a:solidFill>
                  <a:schemeClr val="bg2">
                    <a:lumMod val="10000"/>
                  </a:schemeClr>
                </a:solidFill>
              </a:rPr>
              <a:t>data from government systems.”</a:t>
            </a:r>
          </a:p>
        </p:txBody>
      </p:sp>
      <p:sp>
        <p:nvSpPr>
          <p:cNvPr id="79" name="Rectangle 78"/>
          <p:cNvSpPr/>
          <p:nvPr/>
        </p:nvSpPr>
        <p:spPr>
          <a:xfrm>
            <a:off x="340289" y="5243225"/>
            <a:ext cx="3159406" cy="681340"/>
          </a:xfrm>
          <a:prstGeom prst="rect">
            <a:avLst/>
          </a:prstGeom>
        </p:spPr>
        <p:txBody>
          <a:bodyPr wrap="square" lIns="146304" tIns="91440" rIns="146304" bIns="91440">
            <a:spAutoFit/>
          </a:bodyPr>
          <a:lstStyle/>
          <a:p>
            <a:pPr defTabSz="914016"/>
            <a:r>
              <a:rPr lang="en-US" sz="1076" dirty="0" err="1">
                <a:gradFill>
                  <a:gsLst>
                    <a:gs pos="83000">
                      <a:srgbClr val="505050"/>
                    </a:gs>
                    <a:gs pos="100000">
                      <a:srgbClr val="505050"/>
                    </a:gs>
                  </a:gsLst>
                  <a:lin ang="5400000" scaled="1"/>
                </a:gradFill>
              </a:rPr>
              <a:t>Lluis</a:t>
            </a:r>
            <a:r>
              <a:rPr lang="en-US" sz="1076" dirty="0">
                <a:gradFill>
                  <a:gsLst>
                    <a:gs pos="83000">
                      <a:srgbClr val="505050"/>
                    </a:gs>
                    <a:gs pos="100000">
                      <a:srgbClr val="505050"/>
                    </a:gs>
                  </a:gsLst>
                  <a:lin ang="5400000" scaled="1"/>
                </a:gradFill>
              </a:rPr>
              <a:t> </a:t>
            </a:r>
            <a:r>
              <a:rPr lang="en-US" sz="1076" dirty="0" err="1">
                <a:gradFill>
                  <a:gsLst>
                    <a:gs pos="83000">
                      <a:srgbClr val="505050"/>
                    </a:gs>
                    <a:gs pos="100000">
                      <a:srgbClr val="505050"/>
                    </a:gs>
                  </a:gsLst>
                  <a:lin ang="5400000" scaled="1"/>
                </a:gradFill>
              </a:rPr>
              <a:t>Sanz</a:t>
            </a:r>
            <a:r>
              <a:rPr lang="en-US" sz="1076" dirty="0">
                <a:gradFill>
                  <a:gsLst>
                    <a:gs pos="83000">
                      <a:srgbClr val="505050"/>
                    </a:gs>
                    <a:gs pos="100000">
                      <a:srgbClr val="505050"/>
                    </a:gs>
                  </a:gsLst>
                  <a:lin ang="5400000" scaled="1"/>
                </a:gradFill>
              </a:rPr>
              <a:t> Marco</a:t>
            </a:r>
          </a:p>
          <a:p>
            <a:pPr defTabSz="914016"/>
            <a:r>
              <a:rPr lang="en-US" sz="1076" dirty="0">
                <a:gradFill>
                  <a:gsLst>
                    <a:gs pos="83000">
                      <a:srgbClr val="505050"/>
                    </a:gs>
                    <a:gs pos="100000">
                      <a:srgbClr val="505050"/>
                    </a:gs>
                  </a:gsLst>
                  <a:lin ang="5400000" scaled="1"/>
                </a:gradFill>
              </a:rPr>
              <a:t>Director of Information</a:t>
            </a:r>
          </a:p>
          <a:p>
            <a:pPr defTabSz="914016"/>
            <a:r>
              <a:rPr lang="en-US" sz="1076" b="1" dirty="0">
                <a:gradFill>
                  <a:gsLst>
                    <a:gs pos="83000">
                      <a:srgbClr val="505050"/>
                    </a:gs>
                    <a:gs pos="100000">
                      <a:srgbClr val="505050"/>
                    </a:gs>
                  </a:gsLst>
                  <a:lin ang="5400000" scaled="1"/>
                </a:gradFill>
              </a:rPr>
              <a:t>Municipal, Institute of Information</a:t>
            </a:r>
          </a:p>
        </p:txBody>
      </p:sp>
      <p:sp>
        <p:nvSpPr>
          <p:cNvPr id="87" name="Rectangle 86"/>
          <p:cNvSpPr/>
          <p:nvPr/>
        </p:nvSpPr>
        <p:spPr>
          <a:xfrm>
            <a:off x="4379613" y="3646134"/>
            <a:ext cx="3588635" cy="1261884"/>
          </a:xfrm>
          <a:prstGeom prst="rect">
            <a:avLst/>
          </a:prstGeom>
        </p:spPr>
        <p:txBody>
          <a:bodyPr wrap="square" lIns="146304" tIns="91440" rIns="146304" bIns="91440">
            <a:spAutoFit/>
          </a:bodyPr>
          <a:lstStyle/>
          <a:p>
            <a:pPr marL="69850" indent="-69850" defTabSz="914367"/>
            <a:r>
              <a:rPr lang="en-US" sz="1400" dirty="0">
                <a:solidFill>
                  <a:schemeClr val="bg2">
                    <a:lumMod val="10000"/>
                  </a:schemeClr>
                </a:solidFill>
              </a:rPr>
              <a:t>“Microsoft</a:t>
            </a:r>
            <a:r>
              <a:rPr lang="en-US" sz="1400" b="1" dirty="0">
                <a:solidFill>
                  <a:schemeClr val="bg2">
                    <a:lumMod val="10000"/>
                  </a:schemeClr>
                </a:solidFill>
              </a:rPr>
              <a:t> HDInsight</a:t>
            </a:r>
            <a:r>
              <a:rPr lang="en-US" sz="1400" dirty="0">
                <a:solidFill>
                  <a:schemeClr val="bg2">
                    <a:lumMod val="10000"/>
                  </a:schemeClr>
                </a:solidFill>
              </a:rPr>
              <a:t>, </a:t>
            </a:r>
            <a:r>
              <a:rPr lang="en-US" sz="1400" b="1" dirty="0">
                <a:solidFill>
                  <a:schemeClr val="bg2">
                    <a:lumMod val="10000"/>
                  </a:schemeClr>
                </a:solidFill>
              </a:rPr>
              <a:t>Azure ML</a:t>
            </a:r>
            <a:r>
              <a:rPr lang="en-US" sz="1400" dirty="0">
                <a:solidFill>
                  <a:schemeClr val="bg2">
                    <a:lumMod val="10000"/>
                  </a:schemeClr>
                </a:solidFill>
              </a:rPr>
              <a:t>, and </a:t>
            </a:r>
            <a:r>
              <a:rPr lang="en-US" sz="1400" b="1" dirty="0">
                <a:solidFill>
                  <a:schemeClr val="bg2">
                    <a:lumMod val="10000"/>
                  </a:schemeClr>
                </a:solidFill>
              </a:rPr>
              <a:t>Power BI </a:t>
            </a:r>
            <a:r>
              <a:rPr lang="en-US" sz="1400" dirty="0">
                <a:solidFill>
                  <a:schemeClr val="bg2">
                    <a:lumMod val="10000"/>
                  </a:schemeClr>
                </a:solidFill>
              </a:rPr>
              <a:t>help </a:t>
            </a:r>
            <a:r>
              <a:rPr lang="en-US" sz="1400" dirty="0" err="1">
                <a:solidFill>
                  <a:schemeClr val="bg2">
                    <a:lumMod val="10000"/>
                  </a:schemeClr>
                </a:solidFill>
              </a:rPr>
              <a:t>Ziosk</a:t>
            </a:r>
            <a:r>
              <a:rPr lang="en-US" sz="1400" dirty="0">
                <a:solidFill>
                  <a:schemeClr val="bg2">
                    <a:lumMod val="10000"/>
                  </a:schemeClr>
                </a:solidFill>
              </a:rPr>
              <a:t> gain dining </a:t>
            </a:r>
            <a:br>
              <a:rPr lang="en-US" sz="1400" dirty="0">
                <a:solidFill>
                  <a:schemeClr val="bg2">
                    <a:lumMod val="10000"/>
                  </a:schemeClr>
                </a:solidFill>
              </a:rPr>
            </a:br>
            <a:r>
              <a:rPr lang="en-US" sz="1400" dirty="0">
                <a:solidFill>
                  <a:schemeClr val="bg2">
                    <a:lumMod val="10000"/>
                  </a:schemeClr>
                </a:solidFill>
              </a:rPr>
              <a:t>insights from more than 77,000 tabletop </a:t>
            </a:r>
            <a:br>
              <a:rPr lang="en-US" sz="1400" dirty="0">
                <a:solidFill>
                  <a:schemeClr val="bg2">
                    <a:lumMod val="10000"/>
                  </a:schemeClr>
                </a:solidFill>
              </a:rPr>
            </a:br>
            <a:r>
              <a:rPr lang="en-US" sz="1400" dirty="0">
                <a:solidFill>
                  <a:schemeClr val="bg2">
                    <a:lumMod val="10000"/>
                  </a:schemeClr>
                </a:solidFill>
              </a:rPr>
              <a:t>tablets deployed at Chili's and </a:t>
            </a:r>
            <a:br>
              <a:rPr lang="en-US" sz="1400" dirty="0">
                <a:solidFill>
                  <a:schemeClr val="bg2">
                    <a:lumMod val="10000"/>
                  </a:schemeClr>
                </a:solidFill>
              </a:rPr>
            </a:br>
            <a:r>
              <a:rPr lang="en-US" sz="1400" dirty="0">
                <a:solidFill>
                  <a:schemeClr val="bg2">
                    <a:lumMod val="10000"/>
                  </a:schemeClr>
                </a:solidFill>
              </a:rPr>
              <a:t>other restaurants.”</a:t>
            </a:r>
          </a:p>
        </p:txBody>
      </p:sp>
      <p:sp>
        <p:nvSpPr>
          <p:cNvPr id="88" name="Rectangle 87"/>
          <p:cNvSpPr/>
          <p:nvPr/>
        </p:nvSpPr>
        <p:spPr>
          <a:xfrm>
            <a:off x="4445398" y="5243225"/>
            <a:ext cx="3159406" cy="682303"/>
          </a:xfrm>
          <a:prstGeom prst="rect">
            <a:avLst/>
          </a:prstGeom>
        </p:spPr>
        <p:txBody>
          <a:bodyPr wrap="square" lIns="146304" tIns="91440" rIns="146304" bIns="91440">
            <a:spAutoFit/>
          </a:bodyPr>
          <a:lstStyle/>
          <a:p>
            <a:pPr defTabSz="914016"/>
            <a:r>
              <a:rPr lang="en-US" sz="1078" dirty="0">
                <a:gradFill>
                  <a:gsLst>
                    <a:gs pos="83000">
                      <a:srgbClr val="505050"/>
                    </a:gs>
                    <a:gs pos="100000">
                      <a:srgbClr val="505050"/>
                    </a:gs>
                  </a:gsLst>
                  <a:lin ang="5400000" scaled="1"/>
                </a:gradFill>
              </a:rPr>
              <a:t>Thad Chapman</a:t>
            </a:r>
          </a:p>
          <a:p>
            <a:pPr defTabSz="914016"/>
            <a:r>
              <a:rPr lang="en-US" sz="1078" dirty="0">
                <a:gradFill>
                  <a:gsLst>
                    <a:gs pos="83000">
                      <a:srgbClr val="505050"/>
                    </a:gs>
                    <a:gs pos="100000">
                      <a:srgbClr val="505050"/>
                    </a:gs>
                  </a:gsLst>
                  <a:lin ang="5400000" scaled="1"/>
                </a:gradFill>
              </a:rPr>
              <a:t>Co-Founder </a:t>
            </a:r>
          </a:p>
          <a:p>
            <a:pPr defTabSz="914016"/>
            <a:r>
              <a:rPr lang="en-US" sz="1078" b="1" dirty="0">
                <a:gradFill>
                  <a:gsLst>
                    <a:gs pos="83000">
                      <a:srgbClr val="505050"/>
                    </a:gs>
                    <a:gs pos="100000">
                      <a:srgbClr val="505050"/>
                    </a:gs>
                  </a:gsLst>
                  <a:lin ang="5400000" scaled="1"/>
                </a:gradFill>
              </a:rPr>
              <a:t>Artis Consulting</a:t>
            </a:r>
            <a:endParaRPr lang="en-US" sz="1076" b="1" dirty="0">
              <a:gradFill>
                <a:gsLst>
                  <a:gs pos="83000">
                    <a:srgbClr val="505050"/>
                  </a:gs>
                  <a:gs pos="100000">
                    <a:srgbClr val="505050"/>
                  </a:gs>
                </a:gsLst>
                <a:lin ang="5400000" scaled="1"/>
              </a:gradFill>
            </a:endParaRPr>
          </a:p>
        </p:txBody>
      </p:sp>
      <p:cxnSp>
        <p:nvCxnSpPr>
          <p:cNvPr id="134" name="Straight Connector 133"/>
          <p:cNvCxnSpPr/>
          <p:nvPr/>
        </p:nvCxnSpPr>
        <p:spPr>
          <a:xfrm>
            <a:off x="475229" y="2402531"/>
            <a:ext cx="3290907" cy="0"/>
          </a:xfrm>
          <a:prstGeom prst="line">
            <a:avLst/>
          </a:prstGeom>
          <a:ln w="12700">
            <a:solidFill>
              <a:schemeClr val="bg2">
                <a:lumMod val="10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35" name="Picture 134" descr="http://www.microsoft.com/casestudies/resources/Logos/4000016185.png">
            <a:hlinkClick r:id="rId3"/>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312385" y="2696197"/>
            <a:ext cx="1413134" cy="669925"/>
          </a:xfrm>
          <a:prstGeom prst="rect">
            <a:avLst/>
          </a:prstGeom>
          <a:noFill/>
          <a:extLst>
            <a:ext uri="{909E8E84-426E-40DD-AFC4-6F175D3DCCD1}">
              <a14:hiddenFill xmlns:a14="http://schemas.microsoft.com/office/drawing/2010/main">
                <a:solidFill>
                  <a:srgbClr val="FFFFFF"/>
                </a:solidFill>
              </a14:hiddenFill>
            </a:ext>
          </a:extLst>
        </p:spPr>
      </p:pic>
      <p:pic>
        <p:nvPicPr>
          <p:cNvPr id="136" name="Picture 135" descr="http://bestbarcelona.org/WEC/images/logos/logo-ajuntamentBCN.jp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186751" y="1514641"/>
            <a:ext cx="1650647" cy="444556"/>
          </a:xfrm>
          <a:prstGeom prst="rect">
            <a:avLst/>
          </a:prstGeom>
          <a:noFill/>
          <a:extLst>
            <a:ext uri="{909E8E84-426E-40DD-AFC4-6F175D3DCCD1}">
              <a14:hiddenFill xmlns:a14="http://schemas.microsoft.com/office/drawing/2010/main">
                <a:solidFill>
                  <a:srgbClr val="FFFFFF"/>
                </a:solidFill>
              </a14:hiddenFill>
            </a:ext>
          </a:extLst>
        </p:spPr>
      </p:pic>
      <p:grpSp>
        <p:nvGrpSpPr>
          <p:cNvPr id="137" name="Group 136"/>
          <p:cNvGrpSpPr/>
          <p:nvPr/>
        </p:nvGrpSpPr>
        <p:grpSpPr>
          <a:xfrm>
            <a:off x="1806317" y="2235038"/>
            <a:ext cx="425271" cy="376078"/>
            <a:chOff x="11044038" y="745210"/>
            <a:chExt cx="425451" cy="376237"/>
          </a:xfrm>
        </p:grpSpPr>
        <p:sp>
          <p:nvSpPr>
            <p:cNvPr id="138" name="Oval 137"/>
            <p:cNvSpPr/>
            <p:nvPr/>
          </p:nvSpPr>
          <p:spPr bwMode="auto">
            <a:xfrm>
              <a:off x="11071983" y="748548"/>
              <a:ext cx="369560" cy="36956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02" tIns="146241" rIns="182802" bIns="14624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1935"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9" name="Freeform 138"/>
            <p:cNvSpPr>
              <a:spLocks noEditPoints="1"/>
            </p:cNvSpPr>
            <p:nvPr/>
          </p:nvSpPr>
          <p:spPr bwMode="black">
            <a:xfrm>
              <a:off x="11044038" y="745210"/>
              <a:ext cx="425451" cy="376237"/>
            </a:xfrm>
            <a:custGeom>
              <a:avLst/>
              <a:gdLst>
                <a:gd name="T0" fmla="*/ 87 w 162"/>
                <a:gd name="T1" fmla="*/ 109 h 143"/>
                <a:gd name="T2" fmla="*/ 74 w 162"/>
                <a:gd name="T3" fmla="*/ 109 h 143"/>
                <a:gd name="T4" fmla="*/ 74 w 162"/>
                <a:gd name="T5" fmla="*/ 79 h 143"/>
                <a:gd name="T6" fmla="*/ 45 w 162"/>
                <a:gd name="T7" fmla="*/ 79 h 143"/>
                <a:gd name="T8" fmla="*/ 45 w 162"/>
                <a:gd name="T9" fmla="*/ 66 h 143"/>
                <a:gd name="T10" fmla="*/ 74 w 162"/>
                <a:gd name="T11" fmla="*/ 66 h 143"/>
                <a:gd name="T12" fmla="*/ 74 w 162"/>
                <a:gd name="T13" fmla="*/ 36 h 143"/>
                <a:gd name="T14" fmla="*/ 87 w 162"/>
                <a:gd name="T15" fmla="*/ 36 h 143"/>
                <a:gd name="T16" fmla="*/ 87 w 162"/>
                <a:gd name="T17" fmla="*/ 66 h 143"/>
                <a:gd name="T18" fmla="*/ 117 w 162"/>
                <a:gd name="T19" fmla="*/ 66 h 143"/>
                <a:gd name="T20" fmla="*/ 117 w 162"/>
                <a:gd name="T21" fmla="*/ 79 h 143"/>
                <a:gd name="T22" fmla="*/ 87 w 162"/>
                <a:gd name="T23" fmla="*/ 79 h 143"/>
                <a:gd name="T24" fmla="*/ 87 w 162"/>
                <a:gd name="T25" fmla="*/ 109 h 143"/>
                <a:gd name="T26" fmla="*/ 124 w 162"/>
                <a:gd name="T27" fmla="*/ 129 h 143"/>
                <a:gd name="T28" fmla="*/ 81 w 162"/>
                <a:gd name="T29" fmla="*/ 143 h 143"/>
                <a:gd name="T30" fmla="*/ 24 w 162"/>
                <a:gd name="T31" fmla="*/ 115 h 143"/>
                <a:gd name="T32" fmla="*/ 37 w 162"/>
                <a:gd name="T33" fmla="*/ 14 h 143"/>
                <a:gd name="T34" fmla="*/ 81 w 162"/>
                <a:gd name="T35" fmla="*/ 0 h 143"/>
                <a:gd name="T36" fmla="*/ 138 w 162"/>
                <a:gd name="T37" fmla="*/ 28 h 143"/>
                <a:gd name="T38" fmla="*/ 124 w 162"/>
                <a:gd name="T39" fmla="*/ 129 h 143"/>
                <a:gd name="T40" fmla="*/ 130 w 162"/>
                <a:gd name="T41" fmla="*/ 34 h 143"/>
                <a:gd name="T42" fmla="*/ 81 w 162"/>
                <a:gd name="T43" fmla="*/ 9 h 143"/>
                <a:gd name="T44" fmla="*/ 43 w 162"/>
                <a:gd name="T45" fmla="*/ 22 h 143"/>
                <a:gd name="T46" fmla="*/ 31 w 162"/>
                <a:gd name="T47" fmla="*/ 109 h 143"/>
                <a:gd name="T48" fmla="*/ 81 w 162"/>
                <a:gd name="T49" fmla="*/ 134 h 143"/>
                <a:gd name="T50" fmla="*/ 119 w 162"/>
                <a:gd name="T51" fmla="*/ 121 h 143"/>
                <a:gd name="T52" fmla="*/ 130 w 162"/>
                <a:gd name="T53"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2" h="143">
                  <a:moveTo>
                    <a:pt x="87" y="109"/>
                  </a:moveTo>
                  <a:cubicBezTo>
                    <a:pt x="74" y="109"/>
                    <a:pt x="74" y="109"/>
                    <a:pt x="74" y="109"/>
                  </a:cubicBezTo>
                  <a:cubicBezTo>
                    <a:pt x="74" y="79"/>
                    <a:pt x="74" y="79"/>
                    <a:pt x="74" y="79"/>
                  </a:cubicBezTo>
                  <a:cubicBezTo>
                    <a:pt x="45" y="79"/>
                    <a:pt x="45" y="79"/>
                    <a:pt x="45" y="79"/>
                  </a:cubicBezTo>
                  <a:cubicBezTo>
                    <a:pt x="45" y="66"/>
                    <a:pt x="45" y="66"/>
                    <a:pt x="45" y="66"/>
                  </a:cubicBezTo>
                  <a:cubicBezTo>
                    <a:pt x="74" y="66"/>
                    <a:pt x="74" y="66"/>
                    <a:pt x="74" y="66"/>
                  </a:cubicBezTo>
                  <a:cubicBezTo>
                    <a:pt x="74" y="36"/>
                    <a:pt x="74" y="36"/>
                    <a:pt x="74" y="36"/>
                  </a:cubicBezTo>
                  <a:cubicBezTo>
                    <a:pt x="87" y="36"/>
                    <a:pt x="87" y="36"/>
                    <a:pt x="87" y="36"/>
                  </a:cubicBezTo>
                  <a:cubicBezTo>
                    <a:pt x="87" y="66"/>
                    <a:pt x="87" y="66"/>
                    <a:pt x="87" y="66"/>
                  </a:cubicBezTo>
                  <a:cubicBezTo>
                    <a:pt x="117" y="66"/>
                    <a:pt x="117" y="66"/>
                    <a:pt x="117" y="66"/>
                  </a:cubicBezTo>
                  <a:cubicBezTo>
                    <a:pt x="117" y="79"/>
                    <a:pt x="117" y="79"/>
                    <a:pt x="117" y="79"/>
                  </a:cubicBezTo>
                  <a:cubicBezTo>
                    <a:pt x="87" y="79"/>
                    <a:pt x="87" y="79"/>
                    <a:pt x="87" y="79"/>
                  </a:cubicBezTo>
                  <a:lnTo>
                    <a:pt x="87" y="109"/>
                  </a:lnTo>
                  <a:close/>
                  <a:moveTo>
                    <a:pt x="124" y="129"/>
                  </a:moveTo>
                  <a:cubicBezTo>
                    <a:pt x="111" y="139"/>
                    <a:pt x="96" y="143"/>
                    <a:pt x="81" y="143"/>
                  </a:cubicBezTo>
                  <a:cubicBezTo>
                    <a:pt x="59" y="143"/>
                    <a:pt x="38" y="134"/>
                    <a:pt x="24" y="115"/>
                  </a:cubicBezTo>
                  <a:cubicBezTo>
                    <a:pt x="0" y="84"/>
                    <a:pt x="6" y="38"/>
                    <a:pt x="37" y="14"/>
                  </a:cubicBezTo>
                  <a:cubicBezTo>
                    <a:pt x="50" y="4"/>
                    <a:pt x="66" y="0"/>
                    <a:pt x="81" y="0"/>
                  </a:cubicBezTo>
                  <a:cubicBezTo>
                    <a:pt x="102" y="0"/>
                    <a:pt x="124" y="9"/>
                    <a:pt x="138" y="28"/>
                  </a:cubicBezTo>
                  <a:cubicBezTo>
                    <a:pt x="162" y="60"/>
                    <a:pt x="156" y="105"/>
                    <a:pt x="124" y="129"/>
                  </a:cubicBezTo>
                  <a:close/>
                  <a:moveTo>
                    <a:pt x="130" y="34"/>
                  </a:moveTo>
                  <a:cubicBezTo>
                    <a:pt x="119" y="18"/>
                    <a:pt x="100" y="9"/>
                    <a:pt x="81" y="9"/>
                  </a:cubicBezTo>
                  <a:cubicBezTo>
                    <a:pt x="67" y="9"/>
                    <a:pt x="54" y="14"/>
                    <a:pt x="43" y="22"/>
                  </a:cubicBezTo>
                  <a:cubicBezTo>
                    <a:pt x="16" y="43"/>
                    <a:pt x="10" y="82"/>
                    <a:pt x="31" y="109"/>
                  </a:cubicBezTo>
                  <a:cubicBezTo>
                    <a:pt x="43" y="125"/>
                    <a:pt x="61" y="134"/>
                    <a:pt x="81" y="134"/>
                  </a:cubicBezTo>
                  <a:cubicBezTo>
                    <a:pt x="95" y="134"/>
                    <a:pt x="108" y="130"/>
                    <a:pt x="119" y="121"/>
                  </a:cubicBezTo>
                  <a:cubicBezTo>
                    <a:pt x="146" y="100"/>
                    <a:pt x="151" y="61"/>
                    <a:pt x="130" y="34"/>
                  </a:cubicBezTo>
                  <a:close/>
                </a:path>
              </a:pathLst>
            </a:custGeom>
            <a:solidFill>
              <a:srgbClr val="F2C811"/>
            </a:solidFill>
            <a:ln>
              <a:noFill/>
            </a:ln>
            <a:extLst/>
          </p:spPr>
          <p:txBody>
            <a:bodyPr vert="horz" wrap="square" lIns="91401" tIns="45700" rIns="91401" bIns="4570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205"/>
              <a:endParaRPr lang="en-US" dirty="0">
                <a:solidFill>
                  <a:srgbClr val="505050"/>
                </a:solidFill>
              </a:endParaRPr>
            </a:p>
          </p:txBody>
        </p:sp>
      </p:grpSp>
      <p:cxnSp>
        <p:nvCxnSpPr>
          <p:cNvPr id="143" name="Straight Connector 142"/>
          <p:cNvCxnSpPr/>
          <p:nvPr/>
        </p:nvCxnSpPr>
        <p:spPr>
          <a:xfrm>
            <a:off x="4607271" y="2379329"/>
            <a:ext cx="3290907" cy="0"/>
          </a:xfrm>
          <a:prstGeom prst="line">
            <a:avLst/>
          </a:prstGeom>
          <a:ln w="12700">
            <a:solidFill>
              <a:schemeClr val="bg2">
                <a:lumMod val="1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44" name="Group 143"/>
          <p:cNvGrpSpPr/>
          <p:nvPr/>
        </p:nvGrpSpPr>
        <p:grpSpPr>
          <a:xfrm>
            <a:off x="5938360" y="2211836"/>
            <a:ext cx="425271" cy="376078"/>
            <a:chOff x="11044038" y="745210"/>
            <a:chExt cx="425451" cy="376237"/>
          </a:xfrm>
        </p:grpSpPr>
        <p:sp>
          <p:nvSpPr>
            <p:cNvPr id="145" name="Oval 144"/>
            <p:cNvSpPr/>
            <p:nvPr/>
          </p:nvSpPr>
          <p:spPr bwMode="auto">
            <a:xfrm>
              <a:off x="11071983" y="748548"/>
              <a:ext cx="369560" cy="36956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02" tIns="146241" rIns="182802" bIns="14624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1935"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6" name="Freeform 145"/>
            <p:cNvSpPr>
              <a:spLocks noEditPoints="1"/>
            </p:cNvSpPr>
            <p:nvPr/>
          </p:nvSpPr>
          <p:spPr bwMode="black">
            <a:xfrm>
              <a:off x="11044038" y="745210"/>
              <a:ext cx="425451" cy="376237"/>
            </a:xfrm>
            <a:custGeom>
              <a:avLst/>
              <a:gdLst>
                <a:gd name="T0" fmla="*/ 87 w 162"/>
                <a:gd name="T1" fmla="*/ 109 h 143"/>
                <a:gd name="T2" fmla="*/ 74 w 162"/>
                <a:gd name="T3" fmla="*/ 109 h 143"/>
                <a:gd name="T4" fmla="*/ 74 w 162"/>
                <a:gd name="T5" fmla="*/ 79 h 143"/>
                <a:gd name="T6" fmla="*/ 45 w 162"/>
                <a:gd name="T7" fmla="*/ 79 h 143"/>
                <a:gd name="T8" fmla="*/ 45 w 162"/>
                <a:gd name="T9" fmla="*/ 66 h 143"/>
                <a:gd name="T10" fmla="*/ 74 w 162"/>
                <a:gd name="T11" fmla="*/ 66 h 143"/>
                <a:gd name="T12" fmla="*/ 74 w 162"/>
                <a:gd name="T13" fmla="*/ 36 h 143"/>
                <a:gd name="T14" fmla="*/ 87 w 162"/>
                <a:gd name="T15" fmla="*/ 36 h 143"/>
                <a:gd name="T16" fmla="*/ 87 w 162"/>
                <a:gd name="T17" fmla="*/ 66 h 143"/>
                <a:gd name="T18" fmla="*/ 117 w 162"/>
                <a:gd name="T19" fmla="*/ 66 h 143"/>
                <a:gd name="T20" fmla="*/ 117 w 162"/>
                <a:gd name="T21" fmla="*/ 79 h 143"/>
                <a:gd name="T22" fmla="*/ 87 w 162"/>
                <a:gd name="T23" fmla="*/ 79 h 143"/>
                <a:gd name="T24" fmla="*/ 87 w 162"/>
                <a:gd name="T25" fmla="*/ 109 h 143"/>
                <a:gd name="T26" fmla="*/ 124 w 162"/>
                <a:gd name="T27" fmla="*/ 129 h 143"/>
                <a:gd name="T28" fmla="*/ 81 w 162"/>
                <a:gd name="T29" fmla="*/ 143 h 143"/>
                <a:gd name="T30" fmla="*/ 24 w 162"/>
                <a:gd name="T31" fmla="*/ 115 h 143"/>
                <a:gd name="T32" fmla="*/ 37 w 162"/>
                <a:gd name="T33" fmla="*/ 14 h 143"/>
                <a:gd name="T34" fmla="*/ 81 w 162"/>
                <a:gd name="T35" fmla="*/ 0 h 143"/>
                <a:gd name="T36" fmla="*/ 138 w 162"/>
                <a:gd name="T37" fmla="*/ 28 h 143"/>
                <a:gd name="T38" fmla="*/ 124 w 162"/>
                <a:gd name="T39" fmla="*/ 129 h 143"/>
                <a:gd name="T40" fmla="*/ 130 w 162"/>
                <a:gd name="T41" fmla="*/ 34 h 143"/>
                <a:gd name="T42" fmla="*/ 81 w 162"/>
                <a:gd name="T43" fmla="*/ 9 h 143"/>
                <a:gd name="T44" fmla="*/ 43 w 162"/>
                <a:gd name="T45" fmla="*/ 22 h 143"/>
                <a:gd name="T46" fmla="*/ 31 w 162"/>
                <a:gd name="T47" fmla="*/ 109 h 143"/>
                <a:gd name="T48" fmla="*/ 81 w 162"/>
                <a:gd name="T49" fmla="*/ 134 h 143"/>
                <a:gd name="T50" fmla="*/ 119 w 162"/>
                <a:gd name="T51" fmla="*/ 121 h 143"/>
                <a:gd name="T52" fmla="*/ 130 w 162"/>
                <a:gd name="T53"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2" h="143">
                  <a:moveTo>
                    <a:pt x="87" y="109"/>
                  </a:moveTo>
                  <a:cubicBezTo>
                    <a:pt x="74" y="109"/>
                    <a:pt x="74" y="109"/>
                    <a:pt x="74" y="109"/>
                  </a:cubicBezTo>
                  <a:cubicBezTo>
                    <a:pt x="74" y="79"/>
                    <a:pt x="74" y="79"/>
                    <a:pt x="74" y="79"/>
                  </a:cubicBezTo>
                  <a:cubicBezTo>
                    <a:pt x="45" y="79"/>
                    <a:pt x="45" y="79"/>
                    <a:pt x="45" y="79"/>
                  </a:cubicBezTo>
                  <a:cubicBezTo>
                    <a:pt x="45" y="66"/>
                    <a:pt x="45" y="66"/>
                    <a:pt x="45" y="66"/>
                  </a:cubicBezTo>
                  <a:cubicBezTo>
                    <a:pt x="74" y="66"/>
                    <a:pt x="74" y="66"/>
                    <a:pt x="74" y="66"/>
                  </a:cubicBezTo>
                  <a:cubicBezTo>
                    <a:pt x="74" y="36"/>
                    <a:pt x="74" y="36"/>
                    <a:pt x="74" y="36"/>
                  </a:cubicBezTo>
                  <a:cubicBezTo>
                    <a:pt x="87" y="36"/>
                    <a:pt x="87" y="36"/>
                    <a:pt x="87" y="36"/>
                  </a:cubicBezTo>
                  <a:cubicBezTo>
                    <a:pt x="87" y="66"/>
                    <a:pt x="87" y="66"/>
                    <a:pt x="87" y="66"/>
                  </a:cubicBezTo>
                  <a:cubicBezTo>
                    <a:pt x="117" y="66"/>
                    <a:pt x="117" y="66"/>
                    <a:pt x="117" y="66"/>
                  </a:cubicBezTo>
                  <a:cubicBezTo>
                    <a:pt x="117" y="79"/>
                    <a:pt x="117" y="79"/>
                    <a:pt x="117" y="79"/>
                  </a:cubicBezTo>
                  <a:cubicBezTo>
                    <a:pt x="87" y="79"/>
                    <a:pt x="87" y="79"/>
                    <a:pt x="87" y="79"/>
                  </a:cubicBezTo>
                  <a:lnTo>
                    <a:pt x="87" y="109"/>
                  </a:lnTo>
                  <a:close/>
                  <a:moveTo>
                    <a:pt x="124" y="129"/>
                  </a:moveTo>
                  <a:cubicBezTo>
                    <a:pt x="111" y="139"/>
                    <a:pt x="96" y="143"/>
                    <a:pt x="81" y="143"/>
                  </a:cubicBezTo>
                  <a:cubicBezTo>
                    <a:pt x="59" y="143"/>
                    <a:pt x="38" y="134"/>
                    <a:pt x="24" y="115"/>
                  </a:cubicBezTo>
                  <a:cubicBezTo>
                    <a:pt x="0" y="84"/>
                    <a:pt x="6" y="38"/>
                    <a:pt x="37" y="14"/>
                  </a:cubicBezTo>
                  <a:cubicBezTo>
                    <a:pt x="50" y="4"/>
                    <a:pt x="66" y="0"/>
                    <a:pt x="81" y="0"/>
                  </a:cubicBezTo>
                  <a:cubicBezTo>
                    <a:pt x="102" y="0"/>
                    <a:pt x="124" y="9"/>
                    <a:pt x="138" y="28"/>
                  </a:cubicBezTo>
                  <a:cubicBezTo>
                    <a:pt x="162" y="60"/>
                    <a:pt x="156" y="105"/>
                    <a:pt x="124" y="129"/>
                  </a:cubicBezTo>
                  <a:close/>
                  <a:moveTo>
                    <a:pt x="130" y="34"/>
                  </a:moveTo>
                  <a:cubicBezTo>
                    <a:pt x="119" y="18"/>
                    <a:pt x="100" y="9"/>
                    <a:pt x="81" y="9"/>
                  </a:cubicBezTo>
                  <a:cubicBezTo>
                    <a:pt x="67" y="9"/>
                    <a:pt x="54" y="14"/>
                    <a:pt x="43" y="22"/>
                  </a:cubicBezTo>
                  <a:cubicBezTo>
                    <a:pt x="16" y="43"/>
                    <a:pt x="10" y="82"/>
                    <a:pt x="31" y="109"/>
                  </a:cubicBezTo>
                  <a:cubicBezTo>
                    <a:pt x="43" y="125"/>
                    <a:pt x="61" y="134"/>
                    <a:pt x="81" y="134"/>
                  </a:cubicBezTo>
                  <a:cubicBezTo>
                    <a:pt x="95" y="134"/>
                    <a:pt x="108" y="130"/>
                    <a:pt x="119" y="121"/>
                  </a:cubicBezTo>
                  <a:cubicBezTo>
                    <a:pt x="146" y="100"/>
                    <a:pt x="151" y="61"/>
                    <a:pt x="130" y="34"/>
                  </a:cubicBezTo>
                  <a:close/>
                </a:path>
              </a:pathLst>
            </a:custGeom>
            <a:solidFill>
              <a:srgbClr val="F2C811"/>
            </a:solidFill>
            <a:ln>
              <a:noFill/>
            </a:ln>
            <a:extLst/>
          </p:spPr>
          <p:txBody>
            <a:bodyPr vert="horz" wrap="square" lIns="91401" tIns="45700" rIns="91401" bIns="4570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205"/>
              <a:endParaRPr lang="en-US" dirty="0">
                <a:solidFill>
                  <a:srgbClr val="505050"/>
                </a:solidFill>
              </a:endParaRPr>
            </a:p>
          </p:txBody>
        </p:sp>
      </p:grpSp>
      <p:pic>
        <p:nvPicPr>
          <p:cNvPr id="5" name="Picture 4"/>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314191" y="1403104"/>
            <a:ext cx="1817807" cy="650272"/>
          </a:xfrm>
          <a:prstGeom prst="rect">
            <a:avLst/>
          </a:prstGeom>
        </p:spPr>
      </p:pic>
      <p:sp>
        <p:nvSpPr>
          <p:cNvPr id="39" name="Rectangle 38"/>
          <p:cNvSpPr/>
          <p:nvPr/>
        </p:nvSpPr>
        <p:spPr>
          <a:xfrm>
            <a:off x="8480747" y="5243225"/>
            <a:ext cx="3159406" cy="682303"/>
          </a:xfrm>
          <a:prstGeom prst="rect">
            <a:avLst/>
          </a:prstGeom>
        </p:spPr>
        <p:txBody>
          <a:bodyPr wrap="square" lIns="146304" tIns="91440" rIns="146304" bIns="91440">
            <a:spAutoFit/>
          </a:bodyPr>
          <a:lstStyle/>
          <a:p>
            <a:pPr defTabSz="914016"/>
            <a:r>
              <a:rPr lang="en-US" sz="1078" dirty="0">
                <a:gradFill>
                  <a:gsLst>
                    <a:gs pos="83000">
                      <a:srgbClr val="505050"/>
                    </a:gs>
                    <a:gs pos="100000">
                      <a:srgbClr val="505050"/>
                    </a:gs>
                  </a:gsLst>
                  <a:lin ang="5400000" scaled="1"/>
                </a:gradFill>
              </a:rPr>
              <a:t>Steve </a:t>
            </a:r>
            <a:r>
              <a:rPr lang="en-US" sz="1078" dirty="0" err="1">
                <a:gradFill>
                  <a:gsLst>
                    <a:gs pos="83000">
                      <a:srgbClr val="505050"/>
                    </a:gs>
                    <a:gs pos="100000">
                      <a:srgbClr val="505050"/>
                    </a:gs>
                  </a:gsLst>
                  <a:lin ang="5400000" scaled="1"/>
                </a:gradFill>
              </a:rPr>
              <a:t>Raschke</a:t>
            </a:r>
            <a:endParaRPr lang="en-US" sz="1078" dirty="0">
              <a:gradFill>
                <a:gsLst>
                  <a:gs pos="83000">
                    <a:srgbClr val="505050"/>
                  </a:gs>
                  <a:gs pos="100000">
                    <a:srgbClr val="505050"/>
                  </a:gs>
                </a:gsLst>
                <a:lin ang="5400000" scaled="1"/>
              </a:gradFill>
            </a:endParaRPr>
          </a:p>
          <a:p>
            <a:pPr defTabSz="914016"/>
            <a:r>
              <a:rPr lang="en-US" sz="1078" dirty="0">
                <a:gradFill>
                  <a:gsLst>
                    <a:gs pos="83000">
                      <a:srgbClr val="505050"/>
                    </a:gs>
                    <a:gs pos="100000">
                      <a:srgbClr val="505050"/>
                    </a:gs>
                  </a:gsLst>
                  <a:lin ang="5400000" scaled="1"/>
                </a:gradFill>
              </a:rPr>
              <a:t>CEO</a:t>
            </a:r>
          </a:p>
          <a:p>
            <a:pPr defTabSz="914016"/>
            <a:r>
              <a:rPr lang="en-US" sz="1078" b="1" dirty="0">
                <a:gradFill>
                  <a:gsLst>
                    <a:gs pos="83000">
                      <a:srgbClr val="505050"/>
                    </a:gs>
                    <a:gs pos="100000">
                      <a:srgbClr val="505050"/>
                    </a:gs>
                  </a:gsLst>
                  <a:lin ang="5400000" scaled="1"/>
                </a:gradFill>
              </a:rPr>
              <a:t>Candi Controls</a:t>
            </a:r>
            <a:endParaRPr lang="en-US" sz="1076" b="1" dirty="0">
              <a:gradFill>
                <a:gsLst>
                  <a:gs pos="83000">
                    <a:srgbClr val="505050"/>
                  </a:gs>
                  <a:gs pos="100000">
                    <a:srgbClr val="505050"/>
                  </a:gs>
                </a:gsLst>
                <a:lin ang="5400000" scaled="1"/>
              </a:gradFill>
            </a:endParaRPr>
          </a:p>
        </p:txBody>
      </p:sp>
      <p:cxnSp>
        <p:nvCxnSpPr>
          <p:cNvPr id="40" name="Straight Connector 39"/>
          <p:cNvCxnSpPr/>
          <p:nvPr/>
        </p:nvCxnSpPr>
        <p:spPr>
          <a:xfrm>
            <a:off x="8655806" y="2380657"/>
            <a:ext cx="3290907" cy="0"/>
          </a:xfrm>
          <a:prstGeom prst="line">
            <a:avLst/>
          </a:prstGeom>
          <a:ln w="12700">
            <a:solidFill>
              <a:schemeClr val="bg2">
                <a:lumMod val="1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9986895" y="2213164"/>
            <a:ext cx="425271" cy="376078"/>
            <a:chOff x="11044038" y="745210"/>
            <a:chExt cx="425451" cy="376237"/>
          </a:xfrm>
        </p:grpSpPr>
        <p:sp>
          <p:nvSpPr>
            <p:cNvPr id="43" name="Oval 42"/>
            <p:cNvSpPr/>
            <p:nvPr/>
          </p:nvSpPr>
          <p:spPr bwMode="auto">
            <a:xfrm>
              <a:off x="11071983" y="748548"/>
              <a:ext cx="369560" cy="36956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02" tIns="146241" rIns="182802" bIns="14624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1935"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Freeform 53"/>
            <p:cNvSpPr>
              <a:spLocks noEditPoints="1"/>
            </p:cNvSpPr>
            <p:nvPr/>
          </p:nvSpPr>
          <p:spPr bwMode="black">
            <a:xfrm>
              <a:off x="11044038" y="745210"/>
              <a:ext cx="425451" cy="376237"/>
            </a:xfrm>
            <a:custGeom>
              <a:avLst/>
              <a:gdLst>
                <a:gd name="T0" fmla="*/ 87 w 162"/>
                <a:gd name="T1" fmla="*/ 109 h 143"/>
                <a:gd name="T2" fmla="*/ 74 w 162"/>
                <a:gd name="T3" fmla="*/ 109 h 143"/>
                <a:gd name="T4" fmla="*/ 74 w 162"/>
                <a:gd name="T5" fmla="*/ 79 h 143"/>
                <a:gd name="T6" fmla="*/ 45 w 162"/>
                <a:gd name="T7" fmla="*/ 79 h 143"/>
                <a:gd name="T8" fmla="*/ 45 w 162"/>
                <a:gd name="T9" fmla="*/ 66 h 143"/>
                <a:gd name="T10" fmla="*/ 74 w 162"/>
                <a:gd name="T11" fmla="*/ 66 h 143"/>
                <a:gd name="T12" fmla="*/ 74 w 162"/>
                <a:gd name="T13" fmla="*/ 36 h 143"/>
                <a:gd name="T14" fmla="*/ 87 w 162"/>
                <a:gd name="T15" fmla="*/ 36 h 143"/>
                <a:gd name="T16" fmla="*/ 87 w 162"/>
                <a:gd name="T17" fmla="*/ 66 h 143"/>
                <a:gd name="T18" fmla="*/ 117 w 162"/>
                <a:gd name="T19" fmla="*/ 66 h 143"/>
                <a:gd name="T20" fmla="*/ 117 w 162"/>
                <a:gd name="T21" fmla="*/ 79 h 143"/>
                <a:gd name="T22" fmla="*/ 87 w 162"/>
                <a:gd name="T23" fmla="*/ 79 h 143"/>
                <a:gd name="T24" fmla="*/ 87 w 162"/>
                <a:gd name="T25" fmla="*/ 109 h 143"/>
                <a:gd name="T26" fmla="*/ 124 w 162"/>
                <a:gd name="T27" fmla="*/ 129 h 143"/>
                <a:gd name="T28" fmla="*/ 81 w 162"/>
                <a:gd name="T29" fmla="*/ 143 h 143"/>
                <a:gd name="T30" fmla="*/ 24 w 162"/>
                <a:gd name="T31" fmla="*/ 115 h 143"/>
                <a:gd name="T32" fmla="*/ 37 w 162"/>
                <a:gd name="T33" fmla="*/ 14 h 143"/>
                <a:gd name="T34" fmla="*/ 81 w 162"/>
                <a:gd name="T35" fmla="*/ 0 h 143"/>
                <a:gd name="T36" fmla="*/ 138 w 162"/>
                <a:gd name="T37" fmla="*/ 28 h 143"/>
                <a:gd name="T38" fmla="*/ 124 w 162"/>
                <a:gd name="T39" fmla="*/ 129 h 143"/>
                <a:gd name="T40" fmla="*/ 130 w 162"/>
                <a:gd name="T41" fmla="*/ 34 h 143"/>
                <a:gd name="T42" fmla="*/ 81 w 162"/>
                <a:gd name="T43" fmla="*/ 9 h 143"/>
                <a:gd name="T44" fmla="*/ 43 w 162"/>
                <a:gd name="T45" fmla="*/ 22 h 143"/>
                <a:gd name="T46" fmla="*/ 31 w 162"/>
                <a:gd name="T47" fmla="*/ 109 h 143"/>
                <a:gd name="T48" fmla="*/ 81 w 162"/>
                <a:gd name="T49" fmla="*/ 134 h 143"/>
                <a:gd name="T50" fmla="*/ 119 w 162"/>
                <a:gd name="T51" fmla="*/ 121 h 143"/>
                <a:gd name="T52" fmla="*/ 130 w 162"/>
                <a:gd name="T53"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2" h="143">
                  <a:moveTo>
                    <a:pt x="87" y="109"/>
                  </a:moveTo>
                  <a:cubicBezTo>
                    <a:pt x="74" y="109"/>
                    <a:pt x="74" y="109"/>
                    <a:pt x="74" y="109"/>
                  </a:cubicBezTo>
                  <a:cubicBezTo>
                    <a:pt x="74" y="79"/>
                    <a:pt x="74" y="79"/>
                    <a:pt x="74" y="79"/>
                  </a:cubicBezTo>
                  <a:cubicBezTo>
                    <a:pt x="45" y="79"/>
                    <a:pt x="45" y="79"/>
                    <a:pt x="45" y="79"/>
                  </a:cubicBezTo>
                  <a:cubicBezTo>
                    <a:pt x="45" y="66"/>
                    <a:pt x="45" y="66"/>
                    <a:pt x="45" y="66"/>
                  </a:cubicBezTo>
                  <a:cubicBezTo>
                    <a:pt x="74" y="66"/>
                    <a:pt x="74" y="66"/>
                    <a:pt x="74" y="66"/>
                  </a:cubicBezTo>
                  <a:cubicBezTo>
                    <a:pt x="74" y="36"/>
                    <a:pt x="74" y="36"/>
                    <a:pt x="74" y="36"/>
                  </a:cubicBezTo>
                  <a:cubicBezTo>
                    <a:pt x="87" y="36"/>
                    <a:pt x="87" y="36"/>
                    <a:pt x="87" y="36"/>
                  </a:cubicBezTo>
                  <a:cubicBezTo>
                    <a:pt x="87" y="66"/>
                    <a:pt x="87" y="66"/>
                    <a:pt x="87" y="66"/>
                  </a:cubicBezTo>
                  <a:cubicBezTo>
                    <a:pt x="117" y="66"/>
                    <a:pt x="117" y="66"/>
                    <a:pt x="117" y="66"/>
                  </a:cubicBezTo>
                  <a:cubicBezTo>
                    <a:pt x="117" y="79"/>
                    <a:pt x="117" y="79"/>
                    <a:pt x="117" y="79"/>
                  </a:cubicBezTo>
                  <a:cubicBezTo>
                    <a:pt x="87" y="79"/>
                    <a:pt x="87" y="79"/>
                    <a:pt x="87" y="79"/>
                  </a:cubicBezTo>
                  <a:lnTo>
                    <a:pt x="87" y="109"/>
                  </a:lnTo>
                  <a:close/>
                  <a:moveTo>
                    <a:pt x="124" y="129"/>
                  </a:moveTo>
                  <a:cubicBezTo>
                    <a:pt x="111" y="139"/>
                    <a:pt x="96" y="143"/>
                    <a:pt x="81" y="143"/>
                  </a:cubicBezTo>
                  <a:cubicBezTo>
                    <a:pt x="59" y="143"/>
                    <a:pt x="38" y="134"/>
                    <a:pt x="24" y="115"/>
                  </a:cubicBezTo>
                  <a:cubicBezTo>
                    <a:pt x="0" y="84"/>
                    <a:pt x="6" y="38"/>
                    <a:pt x="37" y="14"/>
                  </a:cubicBezTo>
                  <a:cubicBezTo>
                    <a:pt x="50" y="4"/>
                    <a:pt x="66" y="0"/>
                    <a:pt x="81" y="0"/>
                  </a:cubicBezTo>
                  <a:cubicBezTo>
                    <a:pt x="102" y="0"/>
                    <a:pt x="124" y="9"/>
                    <a:pt x="138" y="28"/>
                  </a:cubicBezTo>
                  <a:cubicBezTo>
                    <a:pt x="162" y="60"/>
                    <a:pt x="156" y="105"/>
                    <a:pt x="124" y="129"/>
                  </a:cubicBezTo>
                  <a:close/>
                  <a:moveTo>
                    <a:pt x="130" y="34"/>
                  </a:moveTo>
                  <a:cubicBezTo>
                    <a:pt x="119" y="18"/>
                    <a:pt x="100" y="9"/>
                    <a:pt x="81" y="9"/>
                  </a:cubicBezTo>
                  <a:cubicBezTo>
                    <a:pt x="67" y="9"/>
                    <a:pt x="54" y="14"/>
                    <a:pt x="43" y="22"/>
                  </a:cubicBezTo>
                  <a:cubicBezTo>
                    <a:pt x="16" y="43"/>
                    <a:pt x="10" y="82"/>
                    <a:pt x="31" y="109"/>
                  </a:cubicBezTo>
                  <a:cubicBezTo>
                    <a:pt x="43" y="125"/>
                    <a:pt x="61" y="134"/>
                    <a:pt x="81" y="134"/>
                  </a:cubicBezTo>
                  <a:cubicBezTo>
                    <a:pt x="95" y="134"/>
                    <a:pt x="108" y="130"/>
                    <a:pt x="119" y="121"/>
                  </a:cubicBezTo>
                  <a:cubicBezTo>
                    <a:pt x="146" y="100"/>
                    <a:pt x="151" y="61"/>
                    <a:pt x="130" y="34"/>
                  </a:cubicBezTo>
                  <a:close/>
                </a:path>
              </a:pathLst>
            </a:custGeom>
            <a:solidFill>
              <a:srgbClr val="F2C811"/>
            </a:solidFill>
            <a:ln>
              <a:noFill/>
            </a:ln>
            <a:extLst/>
          </p:spPr>
          <p:txBody>
            <a:bodyPr vert="horz" wrap="square" lIns="91401" tIns="45700" rIns="91401" bIns="4570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205"/>
              <a:endParaRPr lang="en-US">
                <a:solidFill>
                  <a:srgbClr val="505050"/>
                </a:solidFill>
              </a:endParaRPr>
            </a:p>
          </p:txBody>
        </p:sp>
      </p:grpSp>
      <p:pic>
        <p:nvPicPr>
          <p:cNvPr id="3" name="Picture 2"/>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412729" y="2809957"/>
            <a:ext cx="1586541" cy="405859"/>
          </a:xfrm>
          <a:prstGeom prst="rect">
            <a:avLst/>
          </a:prstGeom>
        </p:spPr>
      </p:pic>
      <p:sp>
        <p:nvSpPr>
          <p:cNvPr id="6" name="TextBox 5"/>
          <p:cNvSpPr txBox="1"/>
          <p:nvPr/>
        </p:nvSpPr>
        <p:spPr>
          <a:xfrm>
            <a:off x="8663952" y="1197831"/>
            <a:ext cx="3140115" cy="1037207"/>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83000">
                      <a:srgbClr val="505050"/>
                    </a:gs>
                    <a:gs pos="100000">
                      <a:srgbClr val="505050"/>
                    </a:gs>
                  </a:gsLst>
                  <a:lin ang="5400000" scaled="1"/>
                </a:gradFill>
              </a:rPr>
              <a:t>MRWPCA </a:t>
            </a:r>
          </a:p>
          <a:p>
            <a:pPr algn="ctr">
              <a:lnSpc>
                <a:spcPct val="90000"/>
              </a:lnSpc>
              <a:spcAft>
                <a:spcPts val="600"/>
              </a:spcAft>
            </a:pPr>
            <a:r>
              <a:rPr lang="en-US" sz="2400" dirty="0">
                <a:gradFill>
                  <a:gsLst>
                    <a:gs pos="83000">
                      <a:srgbClr val="505050"/>
                    </a:gs>
                    <a:gs pos="100000">
                      <a:srgbClr val="505050"/>
                    </a:gs>
                  </a:gsLst>
                  <a:lin ang="5400000" scaled="1"/>
                </a:gradFill>
              </a:rPr>
              <a:t>Monterey, CA Water</a:t>
            </a:r>
          </a:p>
        </p:txBody>
      </p:sp>
      <p:pic>
        <p:nvPicPr>
          <p:cNvPr id="7" name="Picture 6"/>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5038491" y="2601483"/>
            <a:ext cx="2369206" cy="643275"/>
          </a:xfrm>
          <a:prstGeom prst="rect">
            <a:avLst/>
          </a:prstGeom>
        </p:spPr>
      </p:pic>
      <p:sp>
        <p:nvSpPr>
          <p:cNvPr id="37" name="Rectangle 36"/>
          <p:cNvSpPr/>
          <p:nvPr/>
        </p:nvSpPr>
        <p:spPr bwMode="auto">
          <a:xfrm>
            <a:off x="0" y="6440061"/>
            <a:ext cx="12436475" cy="554464"/>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6" name="TextBox 55"/>
          <p:cNvSpPr txBox="1"/>
          <p:nvPr/>
        </p:nvSpPr>
        <p:spPr>
          <a:xfrm>
            <a:off x="274320" y="36569"/>
            <a:ext cx="12122124" cy="923201"/>
          </a:xfrm>
          <a:prstGeom prst="rect">
            <a:avLst/>
          </a:prstGeom>
          <a:noFill/>
        </p:spPr>
        <p:txBody>
          <a:bodyPr wrap="square" rtlCol="0">
            <a:spAutoFit/>
          </a:bodyPr>
          <a:lstStyle/>
          <a:p>
            <a:pPr defTabSz="932418">
              <a:spcBef>
                <a:spcPts val="1224"/>
              </a:spcBef>
            </a:pPr>
            <a:r>
              <a:rPr lang="en-US" sz="5399" kern="0" dirty="0">
                <a:solidFill>
                  <a:schemeClr val="tx2">
                    <a:lumMod val="10000"/>
                  </a:schemeClr>
                </a:solidFill>
                <a:latin typeface="Segoe UI Light"/>
              </a:rPr>
              <a:t>Customer success stories</a:t>
            </a:r>
          </a:p>
        </p:txBody>
      </p:sp>
      <p:sp>
        <p:nvSpPr>
          <p:cNvPr id="28" name="Rectangle 27"/>
          <p:cNvSpPr/>
          <p:nvPr/>
        </p:nvSpPr>
        <p:spPr>
          <a:xfrm>
            <a:off x="8408271" y="3647462"/>
            <a:ext cx="3753568" cy="1477328"/>
          </a:xfrm>
          <a:prstGeom prst="rect">
            <a:avLst/>
          </a:prstGeom>
        </p:spPr>
        <p:txBody>
          <a:bodyPr wrap="square" lIns="146304" tIns="91440" rIns="146304" bIns="91440">
            <a:spAutoFit/>
          </a:bodyPr>
          <a:lstStyle/>
          <a:p>
            <a:pPr marL="69850" indent="-69850" defTabSz="914367"/>
            <a:r>
              <a:rPr lang="en-US" sz="1400" dirty="0">
                <a:solidFill>
                  <a:schemeClr val="bg2">
                    <a:lumMod val="10000"/>
                  </a:schemeClr>
                </a:solidFill>
              </a:rPr>
              <a:t>“By combining </a:t>
            </a:r>
            <a:r>
              <a:rPr lang="en-US" sz="1400" b="1" dirty="0">
                <a:solidFill>
                  <a:schemeClr val="bg2">
                    <a:lumMod val="10000"/>
                  </a:schemeClr>
                </a:solidFill>
              </a:rPr>
              <a:t>Azure Stream Analytics</a:t>
            </a:r>
            <a:r>
              <a:rPr lang="en-US" sz="1400" dirty="0">
                <a:solidFill>
                  <a:schemeClr val="bg2">
                    <a:lumMod val="10000"/>
                  </a:schemeClr>
                </a:solidFill>
              </a:rPr>
              <a:t>, </a:t>
            </a:r>
            <a:r>
              <a:rPr lang="en-US" sz="1400" b="1" dirty="0">
                <a:solidFill>
                  <a:schemeClr val="bg2">
                    <a:lumMod val="10000"/>
                  </a:schemeClr>
                </a:solidFill>
              </a:rPr>
              <a:t>Power BI</a:t>
            </a:r>
            <a:r>
              <a:rPr lang="en-US" sz="1400" dirty="0">
                <a:solidFill>
                  <a:schemeClr val="bg2">
                    <a:lumMod val="10000"/>
                  </a:schemeClr>
                </a:solidFill>
              </a:rPr>
              <a:t> and Candi’s unifying IoT Platform, we are able to quickly and cost-effectively connect and present big data from industrial IoT devices for remote monitoring, analysis and control.”</a:t>
            </a:r>
          </a:p>
        </p:txBody>
      </p:sp>
    </p:spTree>
    <p:extLst>
      <p:ext uri="{BB962C8B-B14F-4D97-AF65-F5344CB8AC3E}">
        <p14:creationId xmlns:p14="http://schemas.microsoft.com/office/powerpoint/2010/main" val="1238474437"/>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1485900" y="4107972"/>
            <a:ext cx="9354680" cy="1537360"/>
          </a:xfrm>
          <a:prstGeom prst="rect">
            <a:avLst/>
          </a:prstGeom>
          <a:solidFill>
            <a:schemeClr val="bg2">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p:cNvSpPr/>
          <p:nvPr/>
        </p:nvSpPr>
        <p:spPr bwMode="auto">
          <a:xfrm>
            <a:off x="6215663" y="1849961"/>
            <a:ext cx="4624916" cy="2160024"/>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1485900" y="1849961"/>
            <a:ext cx="4624916" cy="2160024"/>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12493" y="295277"/>
            <a:ext cx="11889564" cy="917575"/>
          </a:xfrm>
        </p:spPr>
        <p:txBody>
          <a:bodyPr/>
          <a:lstStyle/>
          <a:p>
            <a:r>
              <a:rPr lang="en-US" dirty="0">
                <a:solidFill>
                  <a:schemeClr val="bg2">
                    <a:lumMod val="10000"/>
                  </a:schemeClr>
                </a:solidFill>
              </a:rPr>
              <a:t>Summary</a:t>
            </a:r>
          </a:p>
        </p:txBody>
      </p:sp>
      <p:sp>
        <p:nvSpPr>
          <p:cNvPr id="3" name="Rectangle 2"/>
          <p:cNvSpPr/>
          <p:nvPr/>
        </p:nvSpPr>
        <p:spPr>
          <a:xfrm>
            <a:off x="1843233" y="2110849"/>
            <a:ext cx="3824897" cy="1723549"/>
          </a:xfrm>
          <a:prstGeom prst="rect">
            <a:avLst/>
          </a:prstGeom>
          <a:noFill/>
        </p:spPr>
        <p:txBody>
          <a:bodyPr wrap="square">
            <a:spAutoFit/>
          </a:bodyPr>
          <a:lstStyle/>
          <a:p>
            <a:pPr lvl="0" defTabSz="914400">
              <a:defRPr/>
            </a:pPr>
            <a:r>
              <a:rPr kumimoji="0" lang="en-US" sz="2400" b="0" i="0" u="none" strike="noStrike" kern="0" cap="none" spc="0" normalizeH="0" baseline="0" noProof="0" dirty="0">
                <a:ln>
                  <a:noFill/>
                </a:ln>
                <a:solidFill>
                  <a:sysClr val="windowText" lastClr="000000"/>
                </a:solidFill>
                <a:effectLst/>
                <a:uLnTx/>
                <a:uFillTx/>
              </a:rPr>
              <a:t>Service Providers</a:t>
            </a:r>
            <a:endParaRPr lang="en-US" sz="2400" kern="0" dirty="0">
              <a:solidFill>
                <a:sysClr val="windowText" lastClr="000000"/>
              </a:solidFill>
            </a:endParaRPr>
          </a:p>
          <a:p>
            <a:pPr lvl="0" defTabSz="914400">
              <a:defRPr/>
            </a:pPr>
            <a:r>
              <a:rPr lang="en-US" sz="1600" kern="0" dirty="0">
                <a:solidFill>
                  <a:sysClr val="windowText" lastClr="000000"/>
                </a:solidFill>
              </a:rPr>
              <a:t>Can provide value added services of Power BI, enabling and providing easy analytics and reporting for Business Intelligence scenarios </a:t>
            </a:r>
            <a:endParaRPr kumimoji="0" lang="en-US" sz="1600" b="0" i="0" u="none" strike="noStrike" kern="0" cap="none" spc="0" normalizeH="0" baseline="0" noProof="0" dirty="0">
              <a:ln>
                <a:noFill/>
              </a:ln>
              <a:solidFill>
                <a:sysClr val="windowText" lastClr="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 name="Rounded Rectangle 3"/>
          <p:cNvSpPr/>
          <p:nvPr/>
        </p:nvSpPr>
        <p:spPr bwMode="auto">
          <a:xfrm>
            <a:off x="1738386" y="4104059"/>
            <a:ext cx="8512629" cy="1447199"/>
          </a:xfrm>
          <a:prstGeom prst="round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6637" rIns="0" bIns="46637"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bg1"/>
                </a:solidFill>
                <a:effectLst/>
                <a:uLnTx/>
                <a:uFillTx/>
              </a:rPr>
              <a:t>Power BI is integrated with familiar Microsoft products and utilizes commitment for scale and availability in Azure </a:t>
            </a:r>
          </a:p>
        </p:txBody>
      </p:sp>
      <p:sp>
        <p:nvSpPr>
          <p:cNvPr id="9" name="Rectangle 8"/>
          <p:cNvSpPr/>
          <p:nvPr/>
        </p:nvSpPr>
        <p:spPr>
          <a:xfrm>
            <a:off x="6426118" y="2130427"/>
            <a:ext cx="3824897" cy="1200329"/>
          </a:xfrm>
          <a:prstGeom prst="rect">
            <a:avLst/>
          </a:prstGeom>
          <a:noFill/>
        </p:spPr>
        <p:txBody>
          <a:bodyPr wrap="square">
            <a:spAutoFit/>
          </a:bodyPr>
          <a:lstStyle/>
          <a:p>
            <a:pPr lvl="0" defTabSz="914400">
              <a:defRPr/>
            </a:pPr>
            <a:r>
              <a:rPr lang="en-US" sz="2400" kern="0" dirty="0">
                <a:solidFill>
                  <a:sysClr val="windowText" lastClr="000000"/>
                </a:solidFill>
              </a:rPr>
              <a:t>Customers</a:t>
            </a:r>
          </a:p>
          <a:p>
            <a:pPr lvl="0" defTabSz="914400">
              <a:defRPr/>
            </a:pPr>
            <a:r>
              <a:rPr lang="en-US" sz="1600" kern="0" dirty="0">
                <a:solidFill>
                  <a:sysClr val="windowText" lastClr="000000"/>
                </a:solidFill>
              </a:rPr>
              <a:t>Can better manage their level of investment and reduce time-to-decision with their products and solutions</a:t>
            </a:r>
          </a:p>
        </p:txBody>
      </p:sp>
      <p:sp>
        <p:nvSpPr>
          <p:cNvPr id="11" name="Rectangle 10"/>
          <p:cNvSpPr/>
          <p:nvPr/>
        </p:nvSpPr>
        <p:spPr bwMode="auto">
          <a:xfrm>
            <a:off x="6535168" y="-2520825"/>
            <a:ext cx="3797300" cy="1001486"/>
          </a:xfrm>
          <a:prstGeom prst="rect">
            <a:avLst/>
          </a:prstGeom>
          <a:solidFill>
            <a:srgbClr val="0070C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Not sure how you want to design this, but go nuts </a:t>
            </a:r>
            <a:r>
              <a:rPr lang="en-US" sz="1600" dirty="0">
                <a:gradFill>
                  <a:gsLst>
                    <a:gs pos="0">
                      <a:srgbClr val="FFFFFF"/>
                    </a:gs>
                    <a:gs pos="100000">
                      <a:srgbClr val="FFFFFF"/>
                    </a:gs>
                  </a:gsLst>
                  <a:lin ang="5400000" scaled="0"/>
                </a:gradFill>
                <a:ea typeface="Segoe UI" pitchFamily="34" charset="0"/>
                <a:cs typeface="Segoe UI" pitchFamily="34" charset="0"/>
                <a:sym typeface="Wingdings" panose="05000000000000000000" pitchFamily="2" charset="2"/>
              </a:rPr>
              <a:t></a:t>
            </a: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Title 3"/>
          <p:cNvSpPr txBox="1">
            <a:spLocks/>
          </p:cNvSpPr>
          <p:nvPr/>
        </p:nvSpPr>
        <p:spPr>
          <a:xfrm>
            <a:off x="220427" y="932386"/>
            <a:ext cx="11885514" cy="946279"/>
          </a:xfrm>
          <a:prstGeom prst="rect">
            <a:avLst/>
          </a:prstGeom>
        </p:spPr>
        <p:txBody>
          <a:bodyPr vert="horz" wrap="square" lIns="146283" tIns="91427" rIns="146283" bIns="91427" rtlCol="0" anchor="t">
            <a:noAutofit/>
          </a:bodyPr>
          <a:lstStyle>
            <a:lvl1pPr algn="l" defTabSz="932563" rtl="0" eaLnBrk="1" latinLnBrk="0" hangingPunct="1">
              <a:lnSpc>
                <a:spcPct val="90000"/>
              </a:lnSpc>
              <a:spcBef>
                <a:spcPct val="0"/>
              </a:spcBef>
              <a:buNone/>
              <a:defRPr lang="en-US" sz="5198" b="0" kern="1200" cap="none" spc="-102" baseline="0">
                <a:ln w="3175">
                  <a:noFill/>
                </a:ln>
                <a:solidFill>
                  <a:schemeClr val="tx2"/>
                </a:solidFill>
                <a:effectLst/>
                <a:latin typeface="+mj-lt"/>
                <a:ea typeface="+mn-ea"/>
                <a:cs typeface="Segoe UI" pitchFamily="34" charset="0"/>
              </a:defRPr>
            </a:lvl1pPr>
          </a:lstStyle>
          <a:p>
            <a:pPr defTabSz="932384">
              <a:defRPr/>
            </a:pPr>
            <a:r>
              <a:rPr lang="en-US" sz="2800" kern="0" dirty="0">
                <a:solidFill>
                  <a:schemeClr val="tx2">
                    <a:lumMod val="10000"/>
                  </a:schemeClr>
                </a:solidFill>
                <a:cs typeface="+mn-cs"/>
              </a:rPr>
              <a:t>With Power Bi….</a:t>
            </a:r>
          </a:p>
        </p:txBody>
      </p:sp>
    </p:spTree>
    <p:extLst>
      <p:ext uri="{BB962C8B-B14F-4D97-AF65-F5344CB8AC3E}">
        <p14:creationId xmlns:p14="http://schemas.microsoft.com/office/powerpoint/2010/main" val="37484345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500"/>
                                        <p:tgtEl>
                                          <p:spTgt spid="14"/>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4"/>
                                        </p:tgtEl>
                                        <p:attrNameLst>
                                          <p:attrName>style.visibility</p:attrName>
                                        </p:attrNameLst>
                                      </p:cBhvr>
                                      <p:to>
                                        <p:strVal val="visible"/>
                                      </p:to>
                                    </p:set>
                                    <p:animEffect transition="in" filter="fade">
                                      <p:cBhvr>
                                        <p:cTn id="20" dur="500"/>
                                        <p:tgtEl>
                                          <p:spTgt spid="4"/>
                                        </p:tgtEl>
                                      </p:cBhvr>
                                    </p:animEffect>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500"/>
                                        <p:tgtEl>
                                          <p:spTgt spid="15"/>
                                        </p:tgtEl>
                                      </p:cBhvr>
                                    </p:animEffect>
                                  </p:childTnLst>
                                </p:cTn>
                              </p:par>
                            </p:childTnLst>
                          </p:cTn>
                        </p:par>
                        <p:par>
                          <p:cTn id="25" fill="hold">
                            <p:stCondLst>
                              <p:cond delay="1500"/>
                            </p:stCondLst>
                            <p:childTnLst>
                              <p:par>
                                <p:cTn id="26" presetID="1" presetClass="emph" presetSubtype="2" fill="hold" nodeType="afterEffect">
                                  <p:stCondLst>
                                    <p:cond delay="0"/>
                                  </p:stCondLst>
                                  <p:childTnLst>
                                    <p:animClr clrSpc="rgb" dir="cw">
                                      <p:cBhvr>
                                        <p:cTn id="27" dur="500" fill="hold"/>
                                        <p:tgtEl>
                                          <p:spTgt spid="15"/>
                                        </p:tgtEl>
                                        <p:attrNameLst>
                                          <p:attrName>fillcolor</p:attrName>
                                        </p:attrNameLst>
                                      </p:cBhvr>
                                      <p:to>
                                        <a:srgbClr val="0070C0"/>
                                      </p:to>
                                    </p:animClr>
                                    <p:set>
                                      <p:cBhvr>
                                        <p:cTn id="28" dur="500" fill="hold"/>
                                        <p:tgtEl>
                                          <p:spTgt spid="15"/>
                                        </p:tgtEl>
                                        <p:attrNameLst>
                                          <p:attrName>fill.type</p:attrName>
                                        </p:attrNameLst>
                                      </p:cBhvr>
                                      <p:to>
                                        <p:strVal val="solid"/>
                                      </p:to>
                                    </p:set>
                                    <p:set>
                                      <p:cBhvr>
                                        <p:cTn id="29" dur="500" fill="hold"/>
                                        <p:tgtEl>
                                          <p:spTgt spid="15"/>
                                        </p:tgtEl>
                                        <p:attrNameLst>
                                          <p:attrName>fill.on</p:attrName>
                                        </p:attrNameLst>
                                      </p:cBhvr>
                                      <p:to>
                                        <p:strVal val="true"/>
                                      </p:to>
                                    </p:set>
                                  </p:childTnLst>
                                </p:cTn>
                              </p:par>
                              <p:par>
                                <p:cTn id="30" presetID="1" presetClass="emph" presetSubtype="2" fill="hold" nodeType="withEffect">
                                  <p:stCondLst>
                                    <p:cond delay="0"/>
                                  </p:stCondLst>
                                  <p:childTnLst>
                                    <p:animClr clrSpc="rgb" dir="cw">
                                      <p:cBhvr>
                                        <p:cTn id="31" dur="500" fill="hold"/>
                                        <p:tgtEl>
                                          <p:spTgt spid="13"/>
                                        </p:tgtEl>
                                        <p:attrNameLst>
                                          <p:attrName>fillcolor</p:attrName>
                                        </p:attrNameLst>
                                      </p:cBhvr>
                                      <p:to>
                                        <a:srgbClr val="BFBFBF"/>
                                      </p:to>
                                    </p:animClr>
                                    <p:set>
                                      <p:cBhvr>
                                        <p:cTn id="32" dur="500" fill="hold"/>
                                        <p:tgtEl>
                                          <p:spTgt spid="13"/>
                                        </p:tgtEl>
                                        <p:attrNameLst>
                                          <p:attrName>fill.type</p:attrName>
                                        </p:attrNameLst>
                                      </p:cBhvr>
                                      <p:to>
                                        <p:strVal val="solid"/>
                                      </p:to>
                                    </p:set>
                                    <p:set>
                                      <p:cBhvr>
                                        <p:cTn id="33" dur="500" fill="hold"/>
                                        <p:tgtEl>
                                          <p:spTgt spid="13"/>
                                        </p:tgtEl>
                                        <p:attrNameLst>
                                          <p:attrName>fill.on</p:attrName>
                                        </p:attrNameLst>
                                      </p:cBhvr>
                                      <p:to>
                                        <p:strVal val="true"/>
                                      </p:to>
                                    </p:set>
                                  </p:childTnLst>
                                </p:cTn>
                              </p:par>
                              <p:par>
                                <p:cTn id="34" presetID="1" presetClass="emph" presetSubtype="2" fill="hold" nodeType="withEffect">
                                  <p:stCondLst>
                                    <p:cond delay="0"/>
                                  </p:stCondLst>
                                  <p:childTnLst>
                                    <p:animClr clrSpc="rgb" dir="cw">
                                      <p:cBhvr>
                                        <p:cTn id="35" dur="500" fill="hold"/>
                                        <p:tgtEl>
                                          <p:spTgt spid="14"/>
                                        </p:tgtEl>
                                        <p:attrNameLst>
                                          <p:attrName>fillcolor</p:attrName>
                                        </p:attrNameLst>
                                      </p:cBhvr>
                                      <p:to>
                                        <a:srgbClr val="BFBFBF"/>
                                      </p:to>
                                    </p:animClr>
                                    <p:set>
                                      <p:cBhvr>
                                        <p:cTn id="36" dur="500" fill="hold"/>
                                        <p:tgtEl>
                                          <p:spTgt spid="14"/>
                                        </p:tgtEl>
                                        <p:attrNameLst>
                                          <p:attrName>fill.type</p:attrName>
                                        </p:attrNameLst>
                                      </p:cBhvr>
                                      <p:to>
                                        <p:strVal val="solid"/>
                                      </p:to>
                                    </p:set>
                                    <p:set>
                                      <p:cBhvr>
                                        <p:cTn id="37" dur="500" fill="hold"/>
                                        <p:tgtEl>
                                          <p:spTgt spid="14"/>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4" grpId="0" animBg="1"/>
      <p:bldP spid="13" grpId="0" animBg="1"/>
      <p:bldP spid="3" grpId="0"/>
      <p:bldP spid="4" grpId="0"/>
      <p:bldP spid="9" grpId="0"/>
    </p:bld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F2C81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638" y="506709"/>
            <a:ext cx="11887200" cy="1256777"/>
          </a:xfrm>
        </p:spPr>
        <p:txBody>
          <a:bodyPr/>
          <a:lstStyle/>
          <a:p>
            <a:pPr>
              <a:lnSpc>
                <a:spcPct val="100000"/>
              </a:lnSpc>
            </a:pPr>
            <a:r>
              <a:rPr lang="en-US" sz="6000" dirty="0">
                <a:solidFill>
                  <a:schemeClr val="tx2">
                    <a:lumMod val="10000"/>
                  </a:schemeClr>
                </a:solidFill>
              </a:rPr>
              <a:t>Next steps</a:t>
            </a:r>
            <a:endParaRPr lang="en-US" sz="3200" dirty="0">
              <a:solidFill>
                <a:srgbClr val="505050"/>
              </a:solidFill>
              <a:latin typeface="+mn-lt"/>
            </a:endParaRPr>
          </a:p>
        </p:txBody>
      </p:sp>
      <p:sp>
        <p:nvSpPr>
          <p:cNvPr id="2" name="Rectangle 1"/>
          <p:cNvSpPr/>
          <p:nvPr/>
        </p:nvSpPr>
        <p:spPr>
          <a:xfrm>
            <a:off x="1021582" y="2246481"/>
            <a:ext cx="6085036" cy="1384995"/>
          </a:xfrm>
          <a:prstGeom prst="rect">
            <a:avLst/>
          </a:prstGeom>
        </p:spPr>
        <p:txBody>
          <a:bodyPr wrap="square">
            <a:spAutoFit/>
          </a:bodyPr>
          <a:lstStyle/>
          <a:p>
            <a:pPr marL="0" marR="0" lvl="0" indent="0" defTabSz="914400" eaLnBrk="1" fontAlgn="auto" latinLnBrk="0" hangingPunct="1">
              <a:lnSpc>
                <a:spcPct val="15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tx2">
                    <a:lumMod val="10000"/>
                  </a:schemeClr>
                </a:solidFill>
                <a:effectLst/>
                <a:uLnTx/>
                <a:uFillTx/>
                <a:latin typeface="+mj-lt"/>
              </a:rPr>
              <a:t>Get started now at </a:t>
            </a:r>
            <a:r>
              <a:rPr kumimoji="0" lang="en-US" sz="2800" b="0" i="0" u="none" strike="noStrike" kern="0" cap="none" spc="0" normalizeH="0" baseline="0" noProof="0" dirty="0">
                <a:ln>
                  <a:noFill/>
                </a:ln>
                <a:solidFill>
                  <a:schemeClr val="tx2">
                    <a:lumMod val="10000"/>
                  </a:schemeClr>
                </a:solidFill>
                <a:effectLst/>
                <a:uLnTx/>
                <a:uFillTx/>
                <a:latin typeface="+mj-lt"/>
                <a:hlinkClick r:id="rId2"/>
              </a:rPr>
              <a:t>www.powerbi.com</a:t>
            </a:r>
            <a:endParaRPr kumimoji="0" lang="en-US" sz="2800" b="0" i="0" u="none" strike="noStrike" kern="0" cap="none" spc="0" normalizeH="0" baseline="0" noProof="0" dirty="0">
              <a:ln>
                <a:noFill/>
              </a:ln>
              <a:solidFill>
                <a:schemeClr val="tx2">
                  <a:lumMod val="10000"/>
                </a:schemeClr>
              </a:solidFill>
              <a:effectLst/>
              <a:uLnTx/>
              <a:uFillTx/>
              <a:latin typeface="+mj-lt"/>
            </a:endParaRPr>
          </a:p>
          <a:p>
            <a:pPr marL="0" marR="0" lvl="0" indent="0" defTabSz="914400" eaLnBrk="1" fontAlgn="auto" latinLnBrk="0" hangingPunct="1">
              <a:lnSpc>
                <a:spcPct val="150000"/>
              </a:lnSpc>
              <a:spcBef>
                <a:spcPts val="0"/>
              </a:spcBef>
              <a:spcAft>
                <a:spcPts val="0"/>
              </a:spcAft>
              <a:buClrTx/>
              <a:buSzTx/>
              <a:buFontTx/>
              <a:buNone/>
              <a:tabLst/>
              <a:defRPr/>
            </a:pPr>
            <a:r>
              <a:rPr lang="en-US" sz="2800" kern="0" dirty="0">
                <a:solidFill>
                  <a:schemeClr val="tx2">
                    <a:lumMod val="10000"/>
                  </a:schemeClr>
                </a:solidFill>
                <a:latin typeface="+mj-lt"/>
              </a:rPr>
              <a:t>Join the CSP program </a:t>
            </a:r>
            <a:endParaRPr kumimoji="0" lang="en-US" sz="2800" b="0" i="0" u="none" strike="noStrike" kern="0" cap="none" spc="0" normalizeH="0" baseline="0" noProof="0" dirty="0">
              <a:ln>
                <a:noFill/>
              </a:ln>
              <a:solidFill>
                <a:schemeClr val="tx2">
                  <a:lumMod val="10000"/>
                </a:schemeClr>
              </a:solidFill>
              <a:effectLst/>
              <a:uLnTx/>
              <a:uFillTx/>
              <a:latin typeface="+mj-lt"/>
            </a:endParaRPr>
          </a:p>
        </p:txBody>
      </p:sp>
      <p:sp>
        <p:nvSpPr>
          <p:cNvPr id="4" name="Freeform 9"/>
          <p:cNvSpPr>
            <a:spLocks noEditPoints="1"/>
          </p:cNvSpPr>
          <p:nvPr/>
        </p:nvSpPr>
        <p:spPr bwMode="black">
          <a:xfrm>
            <a:off x="660599" y="2496938"/>
            <a:ext cx="360983" cy="362449"/>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2">
              <a:lumMod val="1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reeform 9"/>
          <p:cNvSpPr>
            <a:spLocks noEditPoints="1"/>
          </p:cNvSpPr>
          <p:nvPr/>
        </p:nvSpPr>
        <p:spPr bwMode="black">
          <a:xfrm>
            <a:off x="660599" y="3109844"/>
            <a:ext cx="360983" cy="362449"/>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2">
              <a:lumMod val="1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nvGrpSpPr>
          <p:cNvPr id="7" name="Group 6"/>
          <p:cNvGrpSpPr/>
          <p:nvPr/>
        </p:nvGrpSpPr>
        <p:grpSpPr>
          <a:xfrm>
            <a:off x="6424873" y="2104660"/>
            <a:ext cx="5736965" cy="2836642"/>
            <a:chOff x="5462874" y="1944490"/>
            <a:chExt cx="5918422" cy="2926363"/>
          </a:xfrm>
        </p:grpSpPr>
        <p:sp>
          <p:nvSpPr>
            <p:cNvPr id="8" name="Freeform 1383"/>
            <p:cNvSpPr>
              <a:spLocks noChangeAspect="1" noEditPoints="1"/>
            </p:cNvSpPr>
            <p:nvPr/>
          </p:nvSpPr>
          <p:spPr bwMode="auto">
            <a:xfrm>
              <a:off x="5462874" y="1944490"/>
              <a:ext cx="5918422" cy="2926363"/>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chemeClr val="bg1">
                <a:lumMod val="50000"/>
              </a:schemeClr>
            </a:solidFill>
            <a:ln w="9525">
              <a:solidFill>
                <a:srgbClr val="FFFFFF"/>
              </a:solidFill>
            </a:ln>
            <a:extLst/>
          </p:spPr>
          <p:txBody>
            <a:bodyPr vert="horz" wrap="square" lIns="95117" tIns="47558" rIns="95117" bIns="47558"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664" dirty="0">
                <a:solidFill>
                  <a:srgbClr val="000000"/>
                </a:solidFill>
                <a:latin typeface="Segoe UI"/>
              </a:endParaRPr>
            </a:p>
          </p:txBody>
        </p:sp>
        <p:pic>
          <p:nvPicPr>
            <p:cNvPr id="9" name="Picture 8"/>
            <p:cNvPicPr>
              <a:picLocks noChangeAspect="1"/>
            </p:cNvPicPr>
            <p:nvPr/>
          </p:nvPicPr>
          <p:blipFill>
            <a:blip r:embed="rId3"/>
            <a:stretch>
              <a:fillRect/>
            </a:stretch>
          </p:blipFill>
          <p:spPr>
            <a:xfrm>
              <a:off x="6405260" y="2090797"/>
              <a:ext cx="4054583" cy="2330310"/>
            </a:xfrm>
            <a:prstGeom prst="rect">
              <a:avLst/>
            </a:prstGeom>
          </p:spPr>
        </p:pic>
      </p:grpSp>
    </p:spTree>
    <p:extLst>
      <p:ext uri="{BB962C8B-B14F-4D97-AF65-F5344CB8AC3E}">
        <p14:creationId xmlns:p14="http://schemas.microsoft.com/office/powerpoint/2010/main" val="130087972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3" name="Rectangle 92"/>
          <p:cNvSpPr/>
          <p:nvPr/>
        </p:nvSpPr>
        <p:spPr bwMode="auto">
          <a:xfrm>
            <a:off x="-1" y="1830837"/>
            <a:ext cx="12436475" cy="413156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w="0"/>
              <a:solidFill>
                <a:srgbClr val="000000"/>
              </a:solidFill>
              <a:effectLst>
                <a:outerShdw blurRad="38100" dist="19050" dir="2700000" algn="tl" rotWithShape="0">
                  <a:srgbClr val="000000">
                    <a:alpha val="40000"/>
                  </a:srgbClr>
                </a:outerShdw>
              </a:effectLst>
              <a:uLnTx/>
              <a:uFillTx/>
              <a:latin typeface="Segoe UI Light"/>
              <a:ea typeface="Segoe UI" pitchFamily="34" charset="0"/>
              <a:cs typeface="Segoe UI" pitchFamily="34" charset="0"/>
            </a:endParaRPr>
          </a:p>
        </p:txBody>
      </p:sp>
      <p:sp>
        <p:nvSpPr>
          <p:cNvPr id="54" name="Freeform 53"/>
          <p:cNvSpPr>
            <a:spLocks/>
          </p:cNvSpPr>
          <p:nvPr/>
        </p:nvSpPr>
        <p:spPr bwMode="auto">
          <a:xfrm>
            <a:off x="5241243" y="2245259"/>
            <a:ext cx="1282224" cy="800224"/>
          </a:xfrm>
          <a:custGeom>
            <a:avLst/>
            <a:gdLst>
              <a:gd name="T0" fmla="*/ 884 w 1350"/>
              <a:gd name="T1" fmla="*/ 0 h 841"/>
              <a:gd name="T2" fmla="*/ 648 w 1350"/>
              <a:gd name="T3" fmla="*/ 135 h 841"/>
              <a:gd name="T4" fmla="*/ 542 w 1350"/>
              <a:gd name="T5" fmla="*/ 114 h 841"/>
              <a:gd name="T6" fmla="*/ 352 w 1350"/>
              <a:gd name="T7" fmla="*/ 189 h 841"/>
              <a:gd name="T8" fmla="*/ 286 w 1350"/>
              <a:gd name="T9" fmla="*/ 287 h 841"/>
              <a:gd name="T10" fmla="*/ 274 w 1350"/>
              <a:gd name="T11" fmla="*/ 287 h 841"/>
              <a:gd name="T12" fmla="*/ 82 w 1350"/>
              <a:gd name="T13" fmla="*/ 369 h 841"/>
              <a:gd name="T14" fmla="*/ 0 w 1350"/>
              <a:gd name="T15" fmla="*/ 563 h 841"/>
              <a:gd name="T16" fmla="*/ 82 w 1350"/>
              <a:gd name="T17" fmla="*/ 758 h 841"/>
              <a:gd name="T18" fmla="*/ 274 w 1350"/>
              <a:gd name="T19" fmla="*/ 841 h 841"/>
              <a:gd name="T20" fmla="*/ 1076 w 1350"/>
              <a:gd name="T21" fmla="*/ 841 h 841"/>
              <a:gd name="T22" fmla="*/ 1272 w 1350"/>
              <a:gd name="T23" fmla="*/ 758 h 841"/>
              <a:gd name="T24" fmla="*/ 1350 w 1350"/>
              <a:gd name="T25" fmla="*/ 563 h 841"/>
              <a:gd name="T26" fmla="*/ 1272 w 1350"/>
              <a:gd name="T27" fmla="*/ 370 h 841"/>
              <a:gd name="T28" fmla="*/ 1152 w 1350"/>
              <a:gd name="T29" fmla="*/ 297 h 841"/>
              <a:gd name="T30" fmla="*/ 1152 w 1350"/>
              <a:gd name="T31" fmla="*/ 277 h 841"/>
              <a:gd name="T32" fmla="*/ 1076 w 1350"/>
              <a:gd name="T33" fmla="*/ 84 h 841"/>
              <a:gd name="T34" fmla="*/ 884 w 1350"/>
              <a:gd name="T35" fmla="*/ 0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0" h="841">
                <a:moveTo>
                  <a:pt x="884" y="0"/>
                </a:moveTo>
                <a:cubicBezTo>
                  <a:pt x="786" y="0"/>
                  <a:pt x="698" y="54"/>
                  <a:pt x="648" y="135"/>
                </a:cubicBezTo>
                <a:cubicBezTo>
                  <a:pt x="616" y="121"/>
                  <a:pt x="579" y="114"/>
                  <a:pt x="542" y="114"/>
                </a:cubicBezTo>
                <a:cubicBezTo>
                  <a:pt x="470" y="114"/>
                  <a:pt x="403" y="141"/>
                  <a:pt x="352" y="189"/>
                </a:cubicBezTo>
                <a:cubicBezTo>
                  <a:pt x="323" y="217"/>
                  <a:pt x="301" y="250"/>
                  <a:pt x="286" y="287"/>
                </a:cubicBezTo>
                <a:cubicBezTo>
                  <a:pt x="282" y="287"/>
                  <a:pt x="278" y="287"/>
                  <a:pt x="274" y="287"/>
                </a:cubicBezTo>
                <a:cubicBezTo>
                  <a:pt x="203" y="287"/>
                  <a:pt x="134" y="316"/>
                  <a:pt x="82" y="369"/>
                </a:cubicBezTo>
                <a:cubicBezTo>
                  <a:pt x="30" y="421"/>
                  <a:pt x="0" y="490"/>
                  <a:pt x="0" y="563"/>
                </a:cubicBezTo>
                <a:cubicBezTo>
                  <a:pt x="0" y="636"/>
                  <a:pt x="30" y="705"/>
                  <a:pt x="82" y="758"/>
                </a:cubicBezTo>
                <a:cubicBezTo>
                  <a:pt x="134" y="812"/>
                  <a:pt x="203" y="841"/>
                  <a:pt x="274" y="841"/>
                </a:cubicBezTo>
                <a:cubicBezTo>
                  <a:pt x="1076" y="841"/>
                  <a:pt x="1076" y="841"/>
                  <a:pt x="1076" y="841"/>
                </a:cubicBezTo>
                <a:cubicBezTo>
                  <a:pt x="1151" y="841"/>
                  <a:pt x="1220" y="812"/>
                  <a:pt x="1272" y="758"/>
                </a:cubicBezTo>
                <a:cubicBezTo>
                  <a:pt x="1322" y="705"/>
                  <a:pt x="1350" y="636"/>
                  <a:pt x="1350" y="563"/>
                </a:cubicBezTo>
                <a:cubicBezTo>
                  <a:pt x="1350" y="490"/>
                  <a:pt x="1322" y="421"/>
                  <a:pt x="1272" y="370"/>
                </a:cubicBezTo>
                <a:cubicBezTo>
                  <a:pt x="1238" y="334"/>
                  <a:pt x="1197" y="310"/>
                  <a:pt x="1152" y="297"/>
                </a:cubicBezTo>
                <a:cubicBezTo>
                  <a:pt x="1152" y="291"/>
                  <a:pt x="1152" y="284"/>
                  <a:pt x="1152" y="277"/>
                </a:cubicBezTo>
                <a:cubicBezTo>
                  <a:pt x="1152" y="205"/>
                  <a:pt x="1125" y="136"/>
                  <a:pt x="1076" y="84"/>
                </a:cubicBezTo>
                <a:cubicBezTo>
                  <a:pt x="1025" y="30"/>
                  <a:pt x="956" y="0"/>
                  <a:pt x="884" y="0"/>
                </a:cubicBezTo>
                <a:close/>
              </a:path>
            </a:pathLst>
          </a:custGeom>
          <a:noFill/>
          <a:ln w="254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55"/>
          <p:cNvSpPr>
            <a:spLocks/>
          </p:cNvSpPr>
          <p:nvPr/>
        </p:nvSpPr>
        <p:spPr bwMode="auto">
          <a:xfrm>
            <a:off x="10799385" y="3438420"/>
            <a:ext cx="1282224" cy="800224"/>
          </a:xfrm>
          <a:custGeom>
            <a:avLst/>
            <a:gdLst>
              <a:gd name="T0" fmla="*/ 884 w 1350"/>
              <a:gd name="T1" fmla="*/ 0 h 841"/>
              <a:gd name="T2" fmla="*/ 648 w 1350"/>
              <a:gd name="T3" fmla="*/ 135 h 841"/>
              <a:gd name="T4" fmla="*/ 542 w 1350"/>
              <a:gd name="T5" fmla="*/ 114 h 841"/>
              <a:gd name="T6" fmla="*/ 352 w 1350"/>
              <a:gd name="T7" fmla="*/ 189 h 841"/>
              <a:gd name="T8" fmla="*/ 286 w 1350"/>
              <a:gd name="T9" fmla="*/ 287 h 841"/>
              <a:gd name="T10" fmla="*/ 274 w 1350"/>
              <a:gd name="T11" fmla="*/ 287 h 841"/>
              <a:gd name="T12" fmla="*/ 82 w 1350"/>
              <a:gd name="T13" fmla="*/ 369 h 841"/>
              <a:gd name="T14" fmla="*/ 0 w 1350"/>
              <a:gd name="T15" fmla="*/ 563 h 841"/>
              <a:gd name="T16" fmla="*/ 82 w 1350"/>
              <a:gd name="T17" fmla="*/ 758 h 841"/>
              <a:gd name="T18" fmla="*/ 274 w 1350"/>
              <a:gd name="T19" fmla="*/ 841 h 841"/>
              <a:gd name="T20" fmla="*/ 1076 w 1350"/>
              <a:gd name="T21" fmla="*/ 841 h 841"/>
              <a:gd name="T22" fmla="*/ 1272 w 1350"/>
              <a:gd name="T23" fmla="*/ 758 h 841"/>
              <a:gd name="T24" fmla="*/ 1350 w 1350"/>
              <a:gd name="T25" fmla="*/ 563 h 841"/>
              <a:gd name="T26" fmla="*/ 1272 w 1350"/>
              <a:gd name="T27" fmla="*/ 370 h 841"/>
              <a:gd name="T28" fmla="*/ 1152 w 1350"/>
              <a:gd name="T29" fmla="*/ 297 h 841"/>
              <a:gd name="T30" fmla="*/ 1152 w 1350"/>
              <a:gd name="T31" fmla="*/ 277 h 841"/>
              <a:gd name="T32" fmla="*/ 1076 w 1350"/>
              <a:gd name="T33" fmla="*/ 84 h 841"/>
              <a:gd name="T34" fmla="*/ 884 w 1350"/>
              <a:gd name="T35" fmla="*/ 0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0" h="841">
                <a:moveTo>
                  <a:pt x="884" y="0"/>
                </a:moveTo>
                <a:cubicBezTo>
                  <a:pt x="786" y="0"/>
                  <a:pt x="698" y="54"/>
                  <a:pt x="648" y="135"/>
                </a:cubicBezTo>
                <a:cubicBezTo>
                  <a:pt x="616" y="121"/>
                  <a:pt x="579" y="114"/>
                  <a:pt x="542" y="114"/>
                </a:cubicBezTo>
                <a:cubicBezTo>
                  <a:pt x="470" y="114"/>
                  <a:pt x="403" y="141"/>
                  <a:pt x="352" y="189"/>
                </a:cubicBezTo>
                <a:cubicBezTo>
                  <a:pt x="323" y="217"/>
                  <a:pt x="301" y="250"/>
                  <a:pt x="286" y="287"/>
                </a:cubicBezTo>
                <a:cubicBezTo>
                  <a:pt x="282" y="287"/>
                  <a:pt x="278" y="287"/>
                  <a:pt x="274" y="287"/>
                </a:cubicBezTo>
                <a:cubicBezTo>
                  <a:pt x="203" y="287"/>
                  <a:pt x="134" y="316"/>
                  <a:pt x="82" y="369"/>
                </a:cubicBezTo>
                <a:cubicBezTo>
                  <a:pt x="30" y="421"/>
                  <a:pt x="0" y="490"/>
                  <a:pt x="0" y="563"/>
                </a:cubicBezTo>
                <a:cubicBezTo>
                  <a:pt x="0" y="636"/>
                  <a:pt x="30" y="705"/>
                  <a:pt x="82" y="758"/>
                </a:cubicBezTo>
                <a:cubicBezTo>
                  <a:pt x="134" y="812"/>
                  <a:pt x="203" y="841"/>
                  <a:pt x="274" y="841"/>
                </a:cubicBezTo>
                <a:cubicBezTo>
                  <a:pt x="1076" y="841"/>
                  <a:pt x="1076" y="841"/>
                  <a:pt x="1076" y="841"/>
                </a:cubicBezTo>
                <a:cubicBezTo>
                  <a:pt x="1151" y="841"/>
                  <a:pt x="1220" y="812"/>
                  <a:pt x="1272" y="758"/>
                </a:cubicBezTo>
                <a:cubicBezTo>
                  <a:pt x="1322" y="705"/>
                  <a:pt x="1350" y="636"/>
                  <a:pt x="1350" y="563"/>
                </a:cubicBezTo>
                <a:cubicBezTo>
                  <a:pt x="1350" y="490"/>
                  <a:pt x="1322" y="421"/>
                  <a:pt x="1272" y="370"/>
                </a:cubicBezTo>
                <a:cubicBezTo>
                  <a:pt x="1238" y="334"/>
                  <a:pt x="1197" y="310"/>
                  <a:pt x="1152" y="297"/>
                </a:cubicBezTo>
                <a:cubicBezTo>
                  <a:pt x="1152" y="291"/>
                  <a:pt x="1152" y="284"/>
                  <a:pt x="1152" y="277"/>
                </a:cubicBezTo>
                <a:cubicBezTo>
                  <a:pt x="1152" y="205"/>
                  <a:pt x="1125" y="136"/>
                  <a:pt x="1076" y="84"/>
                </a:cubicBezTo>
                <a:cubicBezTo>
                  <a:pt x="1025" y="30"/>
                  <a:pt x="956" y="0"/>
                  <a:pt x="884" y="0"/>
                </a:cubicBezTo>
                <a:close/>
              </a:path>
            </a:pathLst>
          </a:custGeom>
          <a:noFill/>
          <a:ln w="254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AutoShape 3"/>
          <p:cNvSpPr>
            <a:spLocks noChangeAspect="1" noChangeArrowheads="1" noTextEdit="1"/>
          </p:cNvSpPr>
          <p:nvPr/>
        </p:nvSpPr>
        <p:spPr bwMode="auto">
          <a:xfrm>
            <a:off x="4876617" y="4492711"/>
            <a:ext cx="2634949" cy="1658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Title 39"/>
          <p:cNvSpPr>
            <a:spLocks noGrp="1"/>
          </p:cNvSpPr>
          <p:nvPr>
            <p:ph type="title"/>
          </p:nvPr>
        </p:nvSpPr>
        <p:spPr>
          <a:xfrm>
            <a:off x="275163" y="297352"/>
            <a:ext cx="9559057" cy="1028187"/>
          </a:xfrm>
        </p:spPr>
        <p:txBody>
          <a:bodyPr/>
          <a:lstStyle/>
          <a:p>
            <a:r>
              <a:rPr lang="en-US" sz="5400" spc="0" dirty="0">
                <a:solidFill>
                  <a:schemeClr val="tx2">
                    <a:lumMod val="10000"/>
                  </a:schemeClr>
                </a:solidFill>
              </a:rPr>
              <a:t>Microsoft vision for new era</a:t>
            </a:r>
          </a:p>
        </p:txBody>
      </p:sp>
      <p:sp>
        <p:nvSpPr>
          <p:cNvPr id="220" name="Freeform 9"/>
          <p:cNvSpPr>
            <a:spLocks noEditPoints="1"/>
          </p:cNvSpPr>
          <p:nvPr/>
        </p:nvSpPr>
        <p:spPr bwMode="black">
          <a:xfrm>
            <a:off x="436408" y="2292078"/>
            <a:ext cx="430218" cy="431966"/>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1">
              <a:lumMod val="50000"/>
            </a:schemeClr>
          </a:solidFill>
          <a:ln>
            <a:noFill/>
          </a:ln>
          <a:extLst/>
        </p:spPr>
        <p:txBody>
          <a:bodyPr vert="horz" wrap="square" lIns="91427" tIns="45713" rIns="91427" bIns="45713" numCol="1" anchor="ctr" anchorCtr="0" compatLnSpc="1">
            <a:prstTxWarp prst="textNoShape">
              <a:avLst/>
            </a:prstTxWarp>
          </a:bodyPr>
          <a:lstStyle/>
          <a:p>
            <a:pPr defTabSz="932563"/>
            <a:endParaRPr lang="en-US" dirty="0">
              <a:solidFill>
                <a:srgbClr val="68217A"/>
              </a:solidFill>
            </a:endParaRPr>
          </a:p>
        </p:txBody>
      </p:sp>
      <p:sp>
        <p:nvSpPr>
          <p:cNvPr id="222" name="Freeform 9"/>
          <p:cNvSpPr>
            <a:spLocks noEditPoints="1"/>
          </p:cNvSpPr>
          <p:nvPr/>
        </p:nvSpPr>
        <p:spPr bwMode="black">
          <a:xfrm>
            <a:off x="436408" y="3538512"/>
            <a:ext cx="430218" cy="431966"/>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1">
              <a:lumMod val="50000"/>
            </a:schemeClr>
          </a:solidFill>
          <a:ln>
            <a:noFill/>
          </a:ln>
          <a:extLst/>
        </p:spPr>
        <p:txBody>
          <a:bodyPr vert="horz" wrap="square" lIns="91427" tIns="45713" rIns="91427" bIns="45713" numCol="1" anchor="ctr" anchorCtr="0" compatLnSpc="1">
            <a:prstTxWarp prst="textNoShape">
              <a:avLst/>
            </a:prstTxWarp>
          </a:bodyPr>
          <a:lstStyle/>
          <a:p>
            <a:pPr defTabSz="932563"/>
            <a:endParaRPr lang="en-US" dirty="0">
              <a:solidFill>
                <a:srgbClr val="68217A"/>
              </a:solidFill>
            </a:endParaRPr>
          </a:p>
        </p:txBody>
      </p:sp>
      <p:grpSp>
        <p:nvGrpSpPr>
          <p:cNvPr id="183" name="Group 182"/>
          <p:cNvGrpSpPr/>
          <p:nvPr/>
        </p:nvGrpSpPr>
        <p:grpSpPr>
          <a:xfrm>
            <a:off x="6008272" y="1626851"/>
            <a:ext cx="4910007" cy="4910005"/>
            <a:chOff x="3908585" y="1116308"/>
            <a:chExt cx="4606472" cy="4606470"/>
          </a:xfrm>
        </p:grpSpPr>
        <p:grpSp>
          <p:nvGrpSpPr>
            <p:cNvPr id="184" name="Group 183"/>
            <p:cNvGrpSpPr/>
            <p:nvPr/>
          </p:nvGrpSpPr>
          <p:grpSpPr>
            <a:xfrm>
              <a:off x="3908585" y="1116308"/>
              <a:ext cx="4606472" cy="4606470"/>
              <a:chOff x="1242265" y="2379913"/>
              <a:chExt cx="3749111" cy="3749111"/>
            </a:xfrm>
          </p:grpSpPr>
          <p:sp>
            <p:nvSpPr>
              <p:cNvPr id="186" name="Oval 185"/>
              <p:cNvSpPr/>
              <p:nvPr/>
            </p:nvSpPr>
            <p:spPr bwMode="auto">
              <a:xfrm>
                <a:off x="1242265" y="2379913"/>
                <a:ext cx="3749111" cy="3749111"/>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pPr>
                <a:endParaRPr lang="en-US" sz="1960" dirty="0" err="1">
                  <a:solidFill>
                    <a:srgbClr val="FFFFFF"/>
                  </a:solidFill>
                  <a:ea typeface="Segoe UI" pitchFamily="34" charset="0"/>
                  <a:cs typeface="Segoe UI" pitchFamily="34" charset="0"/>
                </a:endParaRPr>
              </a:p>
            </p:txBody>
          </p:sp>
          <p:sp>
            <p:nvSpPr>
              <p:cNvPr id="187" name="Oval 186"/>
              <p:cNvSpPr>
                <a:spLocks noChangeArrowheads="1"/>
              </p:cNvSpPr>
              <p:nvPr/>
            </p:nvSpPr>
            <p:spPr bwMode="auto">
              <a:xfrm>
                <a:off x="1253793" y="2391440"/>
                <a:ext cx="3726054" cy="3726055"/>
              </a:xfrm>
              <a:prstGeom prst="ellipse">
                <a:avLst/>
              </a:prstGeom>
              <a:solidFill>
                <a:schemeClr val="bg2">
                  <a:lumMod val="10000"/>
                </a:schemeClr>
              </a:solidFill>
              <a:ln w="76200" cap="flat">
                <a:solidFill>
                  <a:schemeClr val="bg1"/>
                </a:solidFill>
                <a:prstDash val="solid"/>
                <a:miter lim="800000"/>
                <a:headEnd/>
                <a:tailEnd/>
              </a:ln>
            </p:spPr>
            <p:txBody>
              <a:bodyPr vert="horz" wrap="square" lIns="89629" tIns="44815" rIns="89629" bIns="44815" numCol="1" anchor="t" anchorCtr="0" compatLnSpc="1">
                <a:prstTxWarp prst="textNoShape">
                  <a:avLst/>
                </a:prstTxWarp>
              </a:bodyPr>
              <a:lstStyle/>
              <a:p>
                <a:pPr defTabSz="932563"/>
                <a:endParaRPr lang="en-US" sz="1568" dirty="0">
                  <a:solidFill>
                    <a:srgbClr val="FFFFFF"/>
                  </a:solidFill>
                </a:endParaRPr>
              </a:p>
            </p:txBody>
          </p:sp>
          <p:sp>
            <p:nvSpPr>
              <p:cNvPr id="188" name="Oval 8"/>
              <p:cNvSpPr>
                <a:spLocks noChangeArrowheads="1"/>
              </p:cNvSpPr>
              <p:nvPr/>
            </p:nvSpPr>
            <p:spPr bwMode="auto">
              <a:xfrm>
                <a:off x="3076205" y="5179432"/>
                <a:ext cx="82540" cy="83850"/>
              </a:xfrm>
              <a:prstGeom prst="ellipse">
                <a:avLst/>
              </a:prstGeom>
              <a:solidFill>
                <a:schemeClr val="bg1"/>
              </a:solidFill>
              <a:ln>
                <a:noFill/>
              </a:ln>
            </p:spPr>
            <p:txBody>
              <a:bodyPr vert="horz" wrap="square" lIns="89629" tIns="44815" rIns="89629" bIns="44815" numCol="1" anchor="t" anchorCtr="0" compatLnSpc="1">
                <a:prstTxWarp prst="textNoShape">
                  <a:avLst/>
                </a:prstTxWarp>
              </a:bodyPr>
              <a:lstStyle/>
              <a:p>
                <a:pPr defTabSz="932563"/>
                <a:endParaRPr lang="en-US" sz="1568">
                  <a:solidFill>
                    <a:srgbClr val="FFFFFF"/>
                  </a:solidFill>
                </a:endParaRPr>
              </a:p>
            </p:txBody>
          </p:sp>
          <p:sp>
            <p:nvSpPr>
              <p:cNvPr id="189" name="Oval 9"/>
              <p:cNvSpPr>
                <a:spLocks noChangeArrowheads="1"/>
              </p:cNvSpPr>
              <p:nvPr/>
            </p:nvSpPr>
            <p:spPr bwMode="auto">
              <a:xfrm>
                <a:off x="3076205" y="5320926"/>
                <a:ext cx="82540" cy="85160"/>
              </a:xfrm>
              <a:prstGeom prst="ellipse">
                <a:avLst/>
              </a:prstGeom>
              <a:solidFill>
                <a:schemeClr val="bg1"/>
              </a:solidFill>
              <a:ln>
                <a:noFill/>
              </a:ln>
            </p:spPr>
            <p:txBody>
              <a:bodyPr vert="horz" wrap="square" lIns="89629" tIns="44815" rIns="89629" bIns="44815" numCol="1" anchor="t" anchorCtr="0" compatLnSpc="1">
                <a:prstTxWarp prst="textNoShape">
                  <a:avLst/>
                </a:prstTxWarp>
              </a:bodyPr>
              <a:lstStyle/>
              <a:p>
                <a:pPr defTabSz="932563"/>
                <a:endParaRPr lang="en-US" sz="1568">
                  <a:solidFill>
                    <a:srgbClr val="FFFFFF"/>
                  </a:solidFill>
                </a:endParaRPr>
              </a:p>
            </p:txBody>
          </p:sp>
          <p:sp>
            <p:nvSpPr>
              <p:cNvPr id="190" name="Oval 10"/>
              <p:cNvSpPr>
                <a:spLocks noChangeArrowheads="1"/>
              </p:cNvSpPr>
              <p:nvPr/>
            </p:nvSpPr>
            <p:spPr bwMode="auto">
              <a:xfrm>
                <a:off x="3076205" y="5463732"/>
                <a:ext cx="82540" cy="83850"/>
              </a:xfrm>
              <a:prstGeom prst="ellipse">
                <a:avLst/>
              </a:prstGeom>
              <a:solidFill>
                <a:schemeClr val="bg1"/>
              </a:solidFill>
              <a:ln>
                <a:noFill/>
              </a:ln>
            </p:spPr>
            <p:txBody>
              <a:bodyPr vert="horz" wrap="square" lIns="89629" tIns="44815" rIns="89629" bIns="44815" numCol="1" anchor="t" anchorCtr="0" compatLnSpc="1">
                <a:prstTxWarp prst="textNoShape">
                  <a:avLst/>
                </a:prstTxWarp>
              </a:bodyPr>
              <a:lstStyle/>
              <a:p>
                <a:pPr defTabSz="932563"/>
                <a:endParaRPr lang="en-US" sz="1568">
                  <a:solidFill>
                    <a:srgbClr val="FFFFFF"/>
                  </a:solidFill>
                </a:endParaRPr>
              </a:p>
            </p:txBody>
          </p:sp>
          <p:sp>
            <p:nvSpPr>
              <p:cNvPr id="191" name="Oval 11"/>
              <p:cNvSpPr>
                <a:spLocks noChangeArrowheads="1"/>
              </p:cNvSpPr>
              <p:nvPr/>
            </p:nvSpPr>
            <p:spPr bwMode="auto">
              <a:xfrm>
                <a:off x="3076205" y="5606539"/>
                <a:ext cx="82540" cy="83850"/>
              </a:xfrm>
              <a:prstGeom prst="ellipse">
                <a:avLst/>
              </a:prstGeom>
              <a:solidFill>
                <a:schemeClr val="bg1"/>
              </a:solidFill>
              <a:ln>
                <a:noFill/>
              </a:ln>
            </p:spPr>
            <p:txBody>
              <a:bodyPr vert="horz" wrap="square" lIns="89629" tIns="44815" rIns="89629" bIns="44815" numCol="1" anchor="t" anchorCtr="0" compatLnSpc="1">
                <a:prstTxWarp prst="textNoShape">
                  <a:avLst/>
                </a:prstTxWarp>
              </a:bodyPr>
              <a:lstStyle/>
              <a:p>
                <a:pPr defTabSz="932563"/>
                <a:endParaRPr lang="en-US" sz="1568">
                  <a:solidFill>
                    <a:srgbClr val="FFFFFF"/>
                  </a:solidFill>
                </a:endParaRPr>
              </a:p>
            </p:txBody>
          </p:sp>
          <p:sp>
            <p:nvSpPr>
              <p:cNvPr id="192" name="Oval 12"/>
              <p:cNvSpPr>
                <a:spLocks noChangeArrowheads="1"/>
              </p:cNvSpPr>
              <p:nvPr/>
            </p:nvSpPr>
            <p:spPr bwMode="auto">
              <a:xfrm>
                <a:off x="3076205" y="5749344"/>
                <a:ext cx="82540" cy="82540"/>
              </a:xfrm>
              <a:prstGeom prst="ellipse">
                <a:avLst/>
              </a:prstGeom>
              <a:solidFill>
                <a:schemeClr val="bg1"/>
              </a:solidFill>
              <a:ln>
                <a:noFill/>
              </a:ln>
            </p:spPr>
            <p:txBody>
              <a:bodyPr vert="horz" wrap="square" lIns="89629" tIns="44815" rIns="89629" bIns="44815" numCol="1" anchor="t" anchorCtr="0" compatLnSpc="1">
                <a:prstTxWarp prst="textNoShape">
                  <a:avLst/>
                </a:prstTxWarp>
              </a:bodyPr>
              <a:lstStyle/>
              <a:p>
                <a:pPr defTabSz="932563"/>
                <a:endParaRPr lang="en-US" sz="1568">
                  <a:solidFill>
                    <a:srgbClr val="FFFFFF"/>
                  </a:solidFill>
                </a:endParaRPr>
              </a:p>
            </p:txBody>
          </p:sp>
          <p:sp>
            <p:nvSpPr>
              <p:cNvPr id="193" name="Oval 13"/>
              <p:cNvSpPr>
                <a:spLocks noChangeArrowheads="1"/>
              </p:cNvSpPr>
              <p:nvPr/>
            </p:nvSpPr>
            <p:spPr bwMode="auto">
              <a:xfrm>
                <a:off x="3076205" y="5890840"/>
                <a:ext cx="82540" cy="82540"/>
              </a:xfrm>
              <a:prstGeom prst="ellipse">
                <a:avLst/>
              </a:prstGeom>
              <a:solidFill>
                <a:schemeClr val="bg1"/>
              </a:solidFill>
              <a:ln>
                <a:noFill/>
              </a:ln>
            </p:spPr>
            <p:txBody>
              <a:bodyPr vert="horz" wrap="square" lIns="89629" tIns="44815" rIns="89629" bIns="44815" numCol="1" anchor="t" anchorCtr="0" compatLnSpc="1">
                <a:prstTxWarp prst="textNoShape">
                  <a:avLst/>
                </a:prstTxWarp>
              </a:bodyPr>
              <a:lstStyle/>
              <a:p>
                <a:pPr defTabSz="932563"/>
                <a:endParaRPr lang="en-US" sz="1568">
                  <a:solidFill>
                    <a:srgbClr val="FFFFFF"/>
                  </a:solidFill>
                </a:endParaRPr>
              </a:p>
            </p:txBody>
          </p:sp>
          <p:sp>
            <p:nvSpPr>
              <p:cNvPr id="194" name="Freeform 14"/>
              <p:cNvSpPr>
                <a:spLocks/>
              </p:cNvSpPr>
              <p:nvPr/>
            </p:nvSpPr>
            <p:spPr bwMode="auto">
              <a:xfrm>
                <a:off x="2224611" y="3736960"/>
                <a:ext cx="95641" cy="96951"/>
              </a:xfrm>
              <a:custGeom>
                <a:avLst/>
                <a:gdLst>
                  <a:gd name="T0" fmla="*/ 51 w 72"/>
                  <a:gd name="T1" fmla="*/ 8 h 73"/>
                  <a:gd name="T2" fmla="*/ 64 w 72"/>
                  <a:gd name="T3" fmla="*/ 52 h 73"/>
                  <a:gd name="T4" fmla="*/ 20 w 72"/>
                  <a:gd name="T5" fmla="*/ 64 h 73"/>
                  <a:gd name="T6" fmla="*/ 8 w 72"/>
                  <a:gd name="T7" fmla="*/ 21 h 73"/>
                  <a:gd name="T8" fmla="*/ 51 w 72"/>
                  <a:gd name="T9" fmla="*/ 8 h 73"/>
                </a:gdLst>
                <a:ahLst/>
                <a:cxnLst>
                  <a:cxn ang="0">
                    <a:pos x="T0" y="T1"/>
                  </a:cxn>
                  <a:cxn ang="0">
                    <a:pos x="T2" y="T3"/>
                  </a:cxn>
                  <a:cxn ang="0">
                    <a:pos x="T4" y="T5"/>
                  </a:cxn>
                  <a:cxn ang="0">
                    <a:pos x="T6" y="T7"/>
                  </a:cxn>
                  <a:cxn ang="0">
                    <a:pos x="T8" y="T9"/>
                  </a:cxn>
                </a:cxnLst>
                <a:rect l="0" t="0" r="r" b="b"/>
                <a:pathLst>
                  <a:path w="72" h="73">
                    <a:moveTo>
                      <a:pt x="51" y="8"/>
                    </a:moveTo>
                    <a:cubicBezTo>
                      <a:pt x="67" y="17"/>
                      <a:pt x="72" y="36"/>
                      <a:pt x="64" y="52"/>
                    </a:cubicBezTo>
                    <a:cubicBezTo>
                      <a:pt x="55" y="67"/>
                      <a:pt x="36" y="73"/>
                      <a:pt x="20" y="64"/>
                    </a:cubicBezTo>
                    <a:cubicBezTo>
                      <a:pt x="5" y="55"/>
                      <a:pt x="0" y="36"/>
                      <a:pt x="8" y="21"/>
                    </a:cubicBezTo>
                    <a:cubicBezTo>
                      <a:pt x="17" y="5"/>
                      <a:pt x="36" y="0"/>
                      <a:pt x="51" y="8"/>
                    </a:cubicBezTo>
                    <a:close/>
                  </a:path>
                </a:pathLst>
              </a:custGeom>
              <a:solidFill>
                <a:schemeClr val="bg1"/>
              </a:solidFill>
              <a:ln>
                <a:noFill/>
              </a:ln>
            </p:spPr>
            <p:txBody>
              <a:bodyPr vert="horz" wrap="square" lIns="89629" tIns="44815" rIns="89629" bIns="44815" numCol="1" anchor="t" anchorCtr="0" compatLnSpc="1">
                <a:prstTxWarp prst="textNoShape">
                  <a:avLst/>
                </a:prstTxWarp>
              </a:bodyPr>
              <a:lstStyle/>
              <a:p>
                <a:pPr defTabSz="932563"/>
                <a:endParaRPr lang="en-US" sz="1568">
                  <a:solidFill>
                    <a:srgbClr val="FFFFFF"/>
                  </a:solidFill>
                </a:endParaRPr>
              </a:p>
            </p:txBody>
          </p:sp>
          <p:sp>
            <p:nvSpPr>
              <p:cNvPr id="195" name="Freeform 15"/>
              <p:cNvSpPr>
                <a:spLocks/>
              </p:cNvSpPr>
              <p:nvPr/>
            </p:nvSpPr>
            <p:spPr bwMode="auto">
              <a:xfrm>
                <a:off x="2100147" y="3667524"/>
                <a:ext cx="95641" cy="95641"/>
              </a:xfrm>
              <a:custGeom>
                <a:avLst/>
                <a:gdLst>
                  <a:gd name="T0" fmla="*/ 52 w 73"/>
                  <a:gd name="T1" fmla="*/ 9 h 73"/>
                  <a:gd name="T2" fmla="*/ 64 w 73"/>
                  <a:gd name="T3" fmla="*/ 52 h 73"/>
                  <a:gd name="T4" fmla="*/ 21 w 73"/>
                  <a:gd name="T5" fmla="*/ 65 h 73"/>
                  <a:gd name="T6" fmla="*/ 9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6" y="67"/>
                      <a:pt x="36" y="73"/>
                      <a:pt x="21" y="65"/>
                    </a:cubicBezTo>
                    <a:cubicBezTo>
                      <a:pt x="6" y="56"/>
                      <a:pt x="0" y="37"/>
                      <a:pt x="9" y="21"/>
                    </a:cubicBezTo>
                    <a:cubicBezTo>
                      <a:pt x="17" y="6"/>
                      <a:pt x="36" y="0"/>
                      <a:pt x="52" y="9"/>
                    </a:cubicBezTo>
                    <a:close/>
                  </a:path>
                </a:pathLst>
              </a:custGeom>
              <a:solidFill>
                <a:schemeClr val="bg1"/>
              </a:solidFill>
              <a:ln>
                <a:noFill/>
              </a:ln>
            </p:spPr>
            <p:txBody>
              <a:bodyPr vert="horz" wrap="square" lIns="89629" tIns="44815" rIns="89629" bIns="44815" numCol="1" anchor="t" anchorCtr="0" compatLnSpc="1">
                <a:prstTxWarp prst="textNoShape">
                  <a:avLst/>
                </a:prstTxWarp>
              </a:bodyPr>
              <a:lstStyle/>
              <a:p>
                <a:pPr defTabSz="932563"/>
                <a:endParaRPr lang="en-US" sz="1568">
                  <a:solidFill>
                    <a:srgbClr val="FFFFFF"/>
                  </a:solidFill>
                </a:endParaRPr>
              </a:p>
            </p:txBody>
          </p:sp>
          <p:sp>
            <p:nvSpPr>
              <p:cNvPr id="196" name="Freeform 16"/>
              <p:cNvSpPr>
                <a:spLocks/>
              </p:cNvSpPr>
              <p:nvPr/>
            </p:nvSpPr>
            <p:spPr bwMode="auto">
              <a:xfrm>
                <a:off x="1975683" y="3599396"/>
                <a:ext cx="95641" cy="95641"/>
              </a:xfrm>
              <a:custGeom>
                <a:avLst/>
                <a:gdLst>
                  <a:gd name="T0" fmla="*/ 52 w 73"/>
                  <a:gd name="T1" fmla="*/ 8 h 73"/>
                  <a:gd name="T2" fmla="*/ 65 w 73"/>
                  <a:gd name="T3" fmla="*/ 52 h 73"/>
                  <a:gd name="T4" fmla="*/ 21 w 73"/>
                  <a:gd name="T5" fmla="*/ 64 h 73"/>
                  <a:gd name="T6" fmla="*/ 9 w 73"/>
                  <a:gd name="T7" fmla="*/ 21 h 73"/>
                  <a:gd name="T8" fmla="*/ 52 w 73"/>
                  <a:gd name="T9" fmla="*/ 8 h 73"/>
                </a:gdLst>
                <a:ahLst/>
                <a:cxnLst>
                  <a:cxn ang="0">
                    <a:pos x="T0" y="T1"/>
                  </a:cxn>
                  <a:cxn ang="0">
                    <a:pos x="T2" y="T3"/>
                  </a:cxn>
                  <a:cxn ang="0">
                    <a:pos x="T4" y="T5"/>
                  </a:cxn>
                  <a:cxn ang="0">
                    <a:pos x="T6" y="T7"/>
                  </a:cxn>
                  <a:cxn ang="0">
                    <a:pos x="T8" y="T9"/>
                  </a:cxn>
                </a:cxnLst>
                <a:rect l="0" t="0" r="r" b="b"/>
                <a:pathLst>
                  <a:path w="73" h="73">
                    <a:moveTo>
                      <a:pt x="52" y="8"/>
                    </a:moveTo>
                    <a:cubicBezTo>
                      <a:pt x="68" y="17"/>
                      <a:pt x="73" y="36"/>
                      <a:pt x="65" y="52"/>
                    </a:cubicBezTo>
                    <a:cubicBezTo>
                      <a:pt x="56" y="67"/>
                      <a:pt x="37" y="73"/>
                      <a:pt x="21" y="64"/>
                    </a:cubicBezTo>
                    <a:cubicBezTo>
                      <a:pt x="6" y="55"/>
                      <a:pt x="0" y="36"/>
                      <a:pt x="9" y="21"/>
                    </a:cubicBezTo>
                    <a:cubicBezTo>
                      <a:pt x="18" y="5"/>
                      <a:pt x="37" y="0"/>
                      <a:pt x="52" y="8"/>
                    </a:cubicBezTo>
                    <a:close/>
                  </a:path>
                </a:pathLst>
              </a:custGeom>
              <a:solidFill>
                <a:schemeClr val="bg1"/>
              </a:solidFill>
              <a:ln>
                <a:noFill/>
              </a:ln>
            </p:spPr>
            <p:txBody>
              <a:bodyPr vert="horz" wrap="square" lIns="89629" tIns="44815" rIns="89629" bIns="44815" numCol="1" anchor="t" anchorCtr="0" compatLnSpc="1">
                <a:prstTxWarp prst="textNoShape">
                  <a:avLst/>
                </a:prstTxWarp>
              </a:bodyPr>
              <a:lstStyle/>
              <a:p>
                <a:pPr defTabSz="932563"/>
                <a:endParaRPr lang="en-US" sz="1568">
                  <a:solidFill>
                    <a:srgbClr val="FFFFFF"/>
                  </a:solidFill>
                </a:endParaRPr>
              </a:p>
            </p:txBody>
          </p:sp>
          <p:sp>
            <p:nvSpPr>
              <p:cNvPr id="197" name="Freeform 17"/>
              <p:cNvSpPr>
                <a:spLocks/>
              </p:cNvSpPr>
              <p:nvPr/>
            </p:nvSpPr>
            <p:spPr bwMode="auto">
              <a:xfrm>
                <a:off x="1851219" y="3529958"/>
                <a:ext cx="95641" cy="95641"/>
              </a:xfrm>
              <a:custGeom>
                <a:avLst/>
                <a:gdLst>
                  <a:gd name="T0" fmla="*/ 52 w 73"/>
                  <a:gd name="T1" fmla="*/ 9 h 73"/>
                  <a:gd name="T2" fmla="*/ 64 w 73"/>
                  <a:gd name="T3" fmla="*/ 52 h 73"/>
                  <a:gd name="T4" fmla="*/ 21 w 73"/>
                  <a:gd name="T5" fmla="*/ 64 h 73"/>
                  <a:gd name="T6" fmla="*/ 8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89629" tIns="44815" rIns="89629" bIns="44815" numCol="1" anchor="t" anchorCtr="0" compatLnSpc="1">
                <a:prstTxWarp prst="textNoShape">
                  <a:avLst/>
                </a:prstTxWarp>
              </a:bodyPr>
              <a:lstStyle/>
              <a:p>
                <a:pPr defTabSz="932563"/>
                <a:endParaRPr lang="en-US" sz="1568">
                  <a:solidFill>
                    <a:srgbClr val="FFFFFF"/>
                  </a:solidFill>
                </a:endParaRPr>
              </a:p>
            </p:txBody>
          </p:sp>
          <p:sp>
            <p:nvSpPr>
              <p:cNvPr id="198" name="Freeform 18"/>
              <p:cNvSpPr>
                <a:spLocks/>
              </p:cNvSpPr>
              <p:nvPr/>
            </p:nvSpPr>
            <p:spPr bwMode="auto">
              <a:xfrm>
                <a:off x="1726755" y="3461830"/>
                <a:ext cx="95641" cy="94330"/>
              </a:xfrm>
              <a:custGeom>
                <a:avLst/>
                <a:gdLst>
                  <a:gd name="T0" fmla="*/ 52 w 73"/>
                  <a:gd name="T1" fmla="*/ 8 h 72"/>
                  <a:gd name="T2" fmla="*/ 64 w 73"/>
                  <a:gd name="T3" fmla="*/ 52 h 72"/>
                  <a:gd name="T4" fmla="*/ 21 w 73"/>
                  <a:gd name="T5" fmla="*/ 64 h 72"/>
                  <a:gd name="T6" fmla="*/ 9 w 73"/>
                  <a:gd name="T7" fmla="*/ 21 h 72"/>
                  <a:gd name="T8" fmla="*/ 52 w 73"/>
                  <a:gd name="T9" fmla="*/ 8 h 72"/>
                </a:gdLst>
                <a:ahLst/>
                <a:cxnLst>
                  <a:cxn ang="0">
                    <a:pos x="T0" y="T1"/>
                  </a:cxn>
                  <a:cxn ang="0">
                    <a:pos x="T2" y="T3"/>
                  </a:cxn>
                  <a:cxn ang="0">
                    <a:pos x="T4" y="T5"/>
                  </a:cxn>
                  <a:cxn ang="0">
                    <a:pos x="T6" y="T7"/>
                  </a:cxn>
                  <a:cxn ang="0">
                    <a:pos x="T8" y="T9"/>
                  </a:cxn>
                </a:cxnLst>
                <a:rect l="0" t="0" r="r" b="b"/>
                <a:pathLst>
                  <a:path w="73" h="72">
                    <a:moveTo>
                      <a:pt x="52" y="8"/>
                    </a:moveTo>
                    <a:cubicBezTo>
                      <a:pt x="67" y="17"/>
                      <a:pt x="73" y="36"/>
                      <a:pt x="64" y="52"/>
                    </a:cubicBezTo>
                    <a:cubicBezTo>
                      <a:pt x="56" y="67"/>
                      <a:pt x="37" y="72"/>
                      <a:pt x="21" y="64"/>
                    </a:cubicBezTo>
                    <a:cubicBezTo>
                      <a:pt x="6" y="55"/>
                      <a:pt x="0" y="36"/>
                      <a:pt x="9" y="21"/>
                    </a:cubicBezTo>
                    <a:cubicBezTo>
                      <a:pt x="17" y="5"/>
                      <a:pt x="37" y="0"/>
                      <a:pt x="52" y="8"/>
                    </a:cubicBezTo>
                    <a:close/>
                  </a:path>
                </a:pathLst>
              </a:custGeom>
              <a:solidFill>
                <a:schemeClr val="bg1"/>
              </a:solidFill>
              <a:ln>
                <a:noFill/>
              </a:ln>
            </p:spPr>
            <p:txBody>
              <a:bodyPr vert="horz" wrap="square" lIns="89629" tIns="44815" rIns="89629" bIns="44815" numCol="1" anchor="t" anchorCtr="0" compatLnSpc="1">
                <a:prstTxWarp prst="textNoShape">
                  <a:avLst/>
                </a:prstTxWarp>
              </a:bodyPr>
              <a:lstStyle/>
              <a:p>
                <a:pPr defTabSz="932563"/>
                <a:endParaRPr lang="en-US" sz="1568">
                  <a:solidFill>
                    <a:srgbClr val="FFFFFF"/>
                  </a:solidFill>
                </a:endParaRPr>
              </a:p>
            </p:txBody>
          </p:sp>
          <p:sp>
            <p:nvSpPr>
              <p:cNvPr id="199" name="Freeform 19"/>
              <p:cNvSpPr>
                <a:spLocks/>
              </p:cNvSpPr>
              <p:nvPr/>
            </p:nvSpPr>
            <p:spPr bwMode="auto">
              <a:xfrm>
                <a:off x="1602292" y="3391082"/>
                <a:ext cx="95641" cy="96951"/>
              </a:xfrm>
              <a:custGeom>
                <a:avLst/>
                <a:gdLst>
                  <a:gd name="T0" fmla="*/ 52 w 72"/>
                  <a:gd name="T1" fmla="*/ 9 h 73"/>
                  <a:gd name="T2" fmla="*/ 64 w 72"/>
                  <a:gd name="T3" fmla="*/ 52 h 73"/>
                  <a:gd name="T4" fmla="*/ 21 w 72"/>
                  <a:gd name="T5" fmla="*/ 64 h 73"/>
                  <a:gd name="T6" fmla="*/ 8 w 72"/>
                  <a:gd name="T7" fmla="*/ 21 h 73"/>
                  <a:gd name="T8" fmla="*/ 52 w 72"/>
                  <a:gd name="T9" fmla="*/ 9 h 73"/>
                </a:gdLst>
                <a:ahLst/>
                <a:cxnLst>
                  <a:cxn ang="0">
                    <a:pos x="T0" y="T1"/>
                  </a:cxn>
                  <a:cxn ang="0">
                    <a:pos x="T2" y="T3"/>
                  </a:cxn>
                  <a:cxn ang="0">
                    <a:pos x="T4" y="T5"/>
                  </a:cxn>
                  <a:cxn ang="0">
                    <a:pos x="T6" y="T7"/>
                  </a:cxn>
                  <a:cxn ang="0">
                    <a:pos x="T8" y="T9"/>
                  </a:cxn>
                </a:cxnLst>
                <a:rect l="0" t="0" r="r" b="b"/>
                <a:pathLst>
                  <a:path w="72" h="73">
                    <a:moveTo>
                      <a:pt x="52" y="9"/>
                    </a:moveTo>
                    <a:cubicBezTo>
                      <a:pt x="67" y="17"/>
                      <a:pt x="72"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89629" tIns="44815" rIns="89629" bIns="44815" numCol="1" anchor="t" anchorCtr="0" compatLnSpc="1">
                <a:prstTxWarp prst="textNoShape">
                  <a:avLst/>
                </a:prstTxWarp>
              </a:bodyPr>
              <a:lstStyle/>
              <a:p>
                <a:pPr defTabSz="932563"/>
                <a:endParaRPr lang="en-US" sz="1568">
                  <a:solidFill>
                    <a:srgbClr val="FFFFFF"/>
                  </a:solidFill>
                </a:endParaRPr>
              </a:p>
            </p:txBody>
          </p:sp>
          <p:sp>
            <p:nvSpPr>
              <p:cNvPr id="200" name="Freeform 20"/>
              <p:cNvSpPr>
                <a:spLocks/>
              </p:cNvSpPr>
              <p:nvPr/>
            </p:nvSpPr>
            <p:spPr bwMode="auto">
              <a:xfrm>
                <a:off x="3914699" y="3736960"/>
                <a:ext cx="95641" cy="96951"/>
              </a:xfrm>
              <a:custGeom>
                <a:avLst/>
                <a:gdLst>
                  <a:gd name="T0" fmla="*/ 21 w 73"/>
                  <a:gd name="T1" fmla="*/ 8 h 73"/>
                  <a:gd name="T2" fmla="*/ 9 w 73"/>
                  <a:gd name="T3" fmla="*/ 52 h 73"/>
                  <a:gd name="T4" fmla="*/ 52 w 73"/>
                  <a:gd name="T5" fmla="*/ 64 h 73"/>
                  <a:gd name="T6" fmla="*/ 65 w 73"/>
                  <a:gd name="T7" fmla="*/ 21 h 73"/>
                  <a:gd name="T8" fmla="*/ 21 w 73"/>
                  <a:gd name="T9" fmla="*/ 8 h 73"/>
                </a:gdLst>
                <a:ahLst/>
                <a:cxnLst>
                  <a:cxn ang="0">
                    <a:pos x="T0" y="T1"/>
                  </a:cxn>
                  <a:cxn ang="0">
                    <a:pos x="T2" y="T3"/>
                  </a:cxn>
                  <a:cxn ang="0">
                    <a:pos x="T4" y="T5"/>
                  </a:cxn>
                  <a:cxn ang="0">
                    <a:pos x="T6" y="T7"/>
                  </a:cxn>
                  <a:cxn ang="0">
                    <a:pos x="T8" y="T9"/>
                  </a:cxn>
                </a:cxnLst>
                <a:rect l="0" t="0" r="r" b="b"/>
                <a:pathLst>
                  <a:path w="73" h="73">
                    <a:moveTo>
                      <a:pt x="21" y="8"/>
                    </a:moveTo>
                    <a:cubicBezTo>
                      <a:pt x="6" y="17"/>
                      <a:pt x="0" y="36"/>
                      <a:pt x="9" y="52"/>
                    </a:cubicBezTo>
                    <a:cubicBezTo>
                      <a:pt x="18" y="67"/>
                      <a:pt x="37" y="73"/>
                      <a:pt x="52" y="64"/>
                    </a:cubicBezTo>
                    <a:cubicBezTo>
                      <a:pt x="68" y="55"/>
                      <a:pt x="73" y="36"/>
                      <a:pt x="65" y="21"/>
                    </a:cubicBezTo>
                    <a:cubicBezTo>
                      <a:pt x="56" y="5"/>
                      <a:pt x="37" y="0"/>
                      <a:pt x="21" y="8"/>
                    </a:cubicBezTo>
                    <a:close/>
                  </a:path>
                </a:pathLst>
              </a:custGeom>
              <a:solidFill>
                <a:schemeClr val="bg1"/>
              </a:solidFill>
              <a:ln>
                <a:noFill/>
              </a:ln>
            </p:spPr>
            <p:txBody>
              <a:bodyPr vert="horz" wrap="square" lIns="89629" tIns="44815" rIns="89629" bIns="44815" numCol="1" anchor="t" anchorCtr="0" compatLnSpc="1">
                <a:prstTxWarp prst="textNoShape">
                  <a:avLst/>
                </a:prstTxWarp>
              </a:bodyPr>
              <a:lstStyle/>
              <a:p>
                <a:pPr defTabSz="932563"/>
                <a:endParaRPr lang="en-US" sz="1568">
                  <a:solidFill>
                    <a:srgbClr val="FFFFFF"/>
                  </a:solidFill>
                </a:endParaRPr>
              </a:p>
            </p:txBody>
          </p:sp>
          <p:sp>
            <p:nvSpPr>
              <p:cNvPr id="201" name="Freeform 21"/>
              <p:cNvSpPr>
                <a:spLocks/>
              </p:cNvSpPr>
              <p:nvPr/>
            </p:nvSpPr>
            <p:spPr bwMode="auto">
              <a:xfrm>
                <a:off x="4039163" y="3667524"/>
                <a:ext cx="95641" cy="95641"/>
              </a:xfrm>
              <a:custGeom>
                <a:avLst/>
                <a:gdLst>
                  <a:gd name="T0" fmla="*/ 21 w 73"/>
                  <a:gd name="T1" fmla="*/ 9 h 73"/>
                  <a:gd name="T2" fmla="*/ 9 w 73"/>
                  <a:gd name="T3" fmla="*/ 52 h 73"/>
                  <a:gd name="T4" fmla="*/ 52 w 73"/>
                  <a:gd name="T5" fmla="*/ 65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6" y="73"/>
                      <a:pt x="52" y="65"/>
                    </a:cubicBezTo>
                    <a:cubicBezTo>
                      <a:pt x="67" y="56"/>
                      <a:pt x="73" y="37"/>
                      <a:pt x="64" y="21"/>
                    </a:cubicBezTo>
                    <a:cubicBezTo>
                      <a:pt x="56" y="6"/>
                      <a:pt x="36" y="0"/>
                      <a:pt x="21" y="9"/>
                    </a:cubicBezTo>
                    <a:close/>
                  </a:path>
                </a:pathLst>
              </a:custGeom>
              <a:solidFill>
                <a:schemeClr val="bg1"/>
              </a:solidFill>
              <a:ln>
                <a:noFill/>
              </a:ln>
            </p:spPr>
            <p:txBody>
              <a:bodyPr vert="horz" wrap="square" lIns="89629" tIns="44815" rIns="89629" bIns="44815" numCol="1" anchor="t" anchorCtr="0" compatLnSpc="1">
                <a:prstTxWarp prst="textNoShape">
                  <a:avLst/>
                </a:prstTxWarp>
              </a:bodyPr>
              <a:lstStyle/>
              <a:p>
                <a:pPr defTabSz="932563"/>
                <a:endParaRPr lang="en-US" sz="1568">
                  <a:solidFill>
                    <a:srgbClr val="FFFFFF"/>
                  </a:solidFill>
                </a:endParaRPr>
              </a:p>
            </p:txBody>
          </p:sp>
          <p:sp>
            <p:nvSpPr>
              <p:cNvPr id="202" name="Freeform 22"/>
              <p:cNvSpPr>
                <a:spLocks/>
              </p:cNvSpPr>
              <p:nvPr/>
            </p:nvSpPr>
            <p:spPr bwMode="auto">
              <a:xfrm>
                <a:off x="4163627" y="3599396"/>
                <a:ext cx="95641" cy="95641"/>
              </a:xfrm>
              <a:custGeom>
                <a:avLst/>
                <a:gdLst>
                  <a:gd name="T0" fmla="*/ 20 w 72"/>
                  <a:gd name="T1" fmla="*/ 8 h 73"/>
                  <a:gd name="T2" fmla="*/ 8 w 72"/>
                  <a:gd name="T3" fmla="*/ 52 h 73"/>
                  <a:gd name="T4" fmla="*/ 51 w 72"/>
                  <a:gd name="T5" fmla="*/ 64 h 73"/>
                  <a:gd name="T6" fmla="*/ 64 w 72"/>
                  <a:gd name="T7" fmla="*/ 21 h 73"/>
                  <a:gd name="T8" fmla="*/ 20 w 72"/>
                  <a:gd name="T9" fmla="*/ 8 h 73"/>
                </a:gdLst>
                <a:ahLst/>
                <a:cxnLst>
                  <a:cxn ang="0">
                    <a:pos x="T0" y="T1"/>
                  </a:cxn>
                  <a:cxn ang="0">
                    <a:pos x="T2" y="T3"/>
                  </a:cxn>
                  <a:cxn ang="0">
                    <a:pos x="T4" y="T5"/>
                  </a:cxn>
                  <a:cxn ang="0">
                    <a:pos x="T6" y="T7"/>
                  </a:cxn>
                  <a:cxn ang="0">
                    <a:pos x="T8" y="T9"/>
                  </a:cxn>
                </a:cxnLst>
                <a:rect l="0" t="0" r="r" b="b"/>
                <a:pathLst>
                  <a:path w="72" h="73">
                    <a:moveTo>
                      <a:pt x="20" y="8"/>
                    </a:moveTo>
                    <a:cubicBezTo>
                      <a:pt x="5" y="17"/>
                      <a:pt x="0" y="36"/>
                      <a:pt x="8" y="52"/>
                    </a:cubicBezTo>
                    <a:cubicBezTo>
                      <a:pt x="17" y="67"/>
                      <a:pt x="36" y="73"/>
                      <a:pt x="51" y="64"/>
                    </a:cubicBezTo>
                    <a:cubicBezTo>
                      <a:pt x="67" y="55"/>
                      <a:pt x="72" y="36"/>
                      <a:pt x="64" y="21"/>
                    </a:cubicBezTo>
                    <a:cubicBezTo>
                      <a:pt x="55" y="5"/>
                      <a:pt x="36" y="0"/>
                      <a:pt x="20" y="8"/>
                    </a:cubicBezTo>
                    <a:close/>
                  </a:path>
                </a:pathLst>
              </a:custGeom>
              <a:solidFill>
                <a:schemeClr val="bg1"/>
              </a:solidFill>
              <a:ln>
                <a:noFill/>
              </a:ln>
            </p:spPr>
            <p:txBody>
              <a:bodyPr vert="horz" wrap="square" lIns="89629" tIns="44815" rIns="89629" bIns="44815" numCol="1" anchor="t" anchorCtr="0" compatLnSpc="1">
                <a:prstTxWarp prst="textNoShape">
                  <a:avLst/>
                </a:prstTxWarp>
              </a:bodyPr>
              <a:lstStyle/>
              <a:p>
                <a:pPr defTabSz="932563"/>
                <a:endParaRPr lang="en-US" sz="1568">
                  <a:solidFill>
                    <a:srgbClr val="FFFFFF"/>
                  </a:solidFill>
                </a:endParaRPr>
              </a:p>
            </p:txBody>
          </p:sp>
          <p:sp>
            <p:nvSpPr>
              <p:cNvPr id="203" name="Freeform 23"/>
              <p:cNvSpPr>
                <a:spLocks/>
              </p:cNvSpPr>
              <p:nvPr/>
            </p:nvSpPr>
            <p:spPr bwMode="auto">
              <a:xfrm>
                <a:off x="4288091" y="3529958"/>
                <a:ext cx="95641" cy="95641"/>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89629" tIns="44815" rIns="89629" bIns="44815" numCol="1" anchor="t" anchorCtr="0" compatLnSpc="1">
                <a:prstTxWarp prst="textNoShape">
                  <a:avLst/>
                </a:prstTxWarp>
              </a:bodyPr>
              <a:lstStyle/>
              <a:p>
                <a:pPr defTabSz="932563"/>
                <a:endParaRPr lang="en-US" sz="1568">
                  <a:solidFill>
                    <a:srgbClr val="FFFFFF"/>
                  </a:solidFill>
                </a:endParaRPr>
              </a:p>
            </p:txBody>
          </p:sp>
          <p:sp>
            <p:nvSpPr>
              <p:cNvPr id="204" name="Freeform 24"/>
              <p:cNvSpPr>
                <a:spLocks/>
              </p:cNvSpPr>
              <p:nvPr/>
            </p:nvSpPr>
            <p:spPr bwMode="auto">
              <a:xfrm>
                <a:off x="4412554" y="3461830"/>
                <a:ext cx="94330" cy="94330"/>
              </a:xfrm>
              <a:custGeom>
                <a:avLst/>
                <a:gdLst>
                  <a:gd name="T0" fmla="*/ 21 w 72"/>
                  <a:gd name="T1" fmla="*/ 8 h 72"/>
                  <a:gd name="T2" fmla="*/ 8 w 72"/>
                  <a:gd name="T3" fmla="*/ 52 h 72"/>
                  <a:gd name="T4" fmla="*/ 51 w 72"/>
                  <a:gd name="T5" fmla="*/ 64 h 72"/>
                  <a:gd name="T6" fmla="*/ 64 w 72"/>
                  <a:gd name="T7" fmla="*/ 21 h 72"/>
                  <a:gd name="T8" fmla="*/ 21 w 72"/>
                  <a:gd name="T9" fmla="*/ 8 h 72"/>
                </a:gdLst>
                <a:ahLst/>
                <a:cxnLst>
                  <a:cxn ang="0">
                    <a:pos x="T0" y="T1"/>
                  </a:cxn>
                  <a:cxn ang="0">
                    <a:pos x="T2" y="T3"/>
                  </a:cxn>
                  <a:cxn ang="0">
                    <a:pos x="T4" y="T5"/>
                  </a:cxn>
                  <a:cxn ang="0">
                    <a:pos x="T6" y="T7"/>
                  </a:cxn>
                  <a:cxn ang="0">
                    <a:pos x="T8" y="T9"/>
                  </a:cxn>
                </a:cxnLst>
                <a:rect l="0" t="0" r="r" b="b"/>
                <a:pathLst>
                  <a:path w="72" h="72">
                    <a:moveTo>
                      <a:pt x="21" y="8"/>
                    </a:moveTo>
                    <a:cubicBezTo>
                      <a:pt x="5" y="17"/>
                      <a:pt x="0" y="36"/>
                      <a:pt x="8" y="52"/>
                    </a:cubicBezTo>
                    <a:cubicBezTo>
                      <a:pt x="17" y="67"/>
                      <a:pt x="36" y="72"/>
                      <a:pt x="51" y="64"/>
                    </a:cubicBezTo>
                    <a:cubicBezTo>
                      <a:pt x="67" y="55"/>
                      <a:pt x="72" y="36"/>
                      <a:pt x="64" y="21"/>
                    </a:cubicBezTo>
                    <a:cubicBezTo>
                      <a:pt x="55" y="5"/>
                      <a:pt x="36" y="0"/>
                      <a:pt x="21" y="8"/>
                    </a:cubicBezTo>
                    <a:close/>
                  </a:path>
                </a:pathLst>
              </a:custGeom>
              <a:solidFill>
                <a:schemeClr val="bg1"/>
              </a:solidFill>
              <a:ln>
                <a:noFill/>
              </a:ln>
            </p:spPr>
            <p:txBody>
              <a:bodyPr vert="horz" wrap="square" lIns="89629" tIns="44815" rIns="89629" bIns="44815" numCol="1" anchor="t" anchorCtr="0" compatLnSpc="1">
                <a:prstTxWarp prst="textNoShape">
                  <a:avLst/>
                </a:prstTxWarp>
              </a:bodyPr>
              <a:lstStyle/>
              <a:p>
                <a:pPr defTabSz="932563"/>
                <a:endParaRPr lang="en-US" sz="1568">
                  <a:solidFill>
                    <a:srgbClr val="FFFFFF"/>
                  </a:solidFill>
                </a:endParaRPr>
              </a:p>
            </p:txBody>
          </p:sp>
          <p:sp>
            <p:nvSpPr>
              <p:cNvPr id="205" name="Freeform 25"/>
              <p:cNvSpPr>
                <a:spLocks/>
              </p:cNvSpPr>
              <p:nvPr/>
            </p:nvSpPr>
            <p:spPr bwMode="auto">
              <a:xfrm>
                <a:off x="4537019" y="3391082"/>
                <a:ext cx="95641" cy="96951"/>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89629" tIns="44815" rIns="89629" bIns="44815" numCol="1" anchor="t" anchorCtr="0" compatLnSpc="1">
                <a:prstTxWarp prst="textNoShape">
                  <a:avLst/>
                </a:prstTxWarp>
              </a:bodyPr>
              <a:lstStyle/>
              <a:p>
                <a:pPr defTabSz="932563"/>
                <a:endParaRPr lang="en-US" sz="1568">
                  <a:solidFill>
                    <a:srgbClr val="FFFFFF"/>
                  </a:solidFill>
                </a:endParaRPr>
              </a:p>
            </p:txBody>
          </p:sp>
          <p:sp>
            <p:nvSpPr>
              <p:cNvPr id="206" name="TextBox 205"/>
              <p:cNvSpPr txBox="1"/>
              <p:nvPr/>
            </p:nvSpPr>
            <p:spPr>
              <a:xfrm>
                <a:off x="2339017" y="2768633"/>
                <a:ext cx="1575682" cy="541807"/>
              </a:xfrm>
              <a:prstGeom prst="rect">
                <a:avLst/>
              </a:prstGeom>
            </p:spPr>
            <p:txBody>
              <a:bodyPr vert="horz" wrap="square" lIns="89629" tIns="89629" rIns="89629" bIns="89629" rtlCol="0" anchor="t">
                <a:noAutofit/>
              </a:bodyPr>
              <a:lstStyle/>
              <a:p>
                <a:pPr algn="ctr" defTabSz="932563"/>
                <a:r>
                  <a:rPr lang="en-US" sz="1372" b="1" dirty="0">
                    <a:solidFill>
                      <a:srgbClr val="FFFFFF"/>
                    </a:solidFill>
                    <a:ea typeface="Segoe UI" pitchFamily="34" charset="0"/>
                    <a:cs typeface="Segoe UI" pitchFamily="34" charset="0"/>
                  </a:rPr>
                  <a:t>CUSTOMER DATACENTER</a:t>
                </a:r>
              </a:p>
            </p:txBody>
          </p:sp>
          <p:sp>
            <p:nvSpPr>
              <p:cNvPr id="207" name="TextBox 206"/>
              <p:cNvSpPr txBox="1"/>
              <p:nvPr/>
            </p:nvSpPr>
            <p:spPr>
              <a:xfrm>
                <a:off x="3348522" y="4945079"/>
                <a:ext cx="1220907" cy="271759"/>
              </a:xfrm>
              <a:prstGeom prst="rect">
                <a:avLst/>
              </a:prstGeom>
            </p:spPr>
            <p:txBody>
              <a:bodyPr vert="horz" wrap="square" lIns="89629" tIns="89629" rIns="89629" bIns="89629" rtlCol="0" anchor="t">
                <a:noAutofit/>
              </a:bodyPr>
              <a:lstStyle/>
              <a:p>
                <a:pPr algn="ctr" defTabSz="932563"/>
                <a:r>
                  <a:rPr lang="en-US" sz="1372" b="1" dirty="0">
                    <a:solidFill>
                      <a:srgbClr val="FFFFFF"/>
                    </a:solidFill>
                    <a:ea typeface="Segoe UI" pitchFamily="34" charset="0"/>
                    <a:cs typeface="Segoe UI" pitchFamily="34" charset="0"/>
                  </a:rPr>
                  <a:t>SERVICE PROVIDER</a:t>
                </a:r>
              </a:p>
            </p:txBody>
          </p:sp>
          <p:sp>
            <p:nvSpPr>
              <p:cNvPr id="208" name="TextBox 207"/>
              <p:cNvSpPr txBox="1"/>
              <p:nvPr/>
            </p:nvSpPr>
            <p:spPr>
              <a:xfrm>
                <a:off x="1546751" y="4945079"/>
                <a:ext cx="1220907" cy="271759"/>
              </a:xfrm>
              <a:prstGeom prst="rect">
                <a:avLst/>
              </a:prstGeom>
            </p:spPr>
            <p:txBody>
              <a:bodyPr vert="horz" wrap="square" lIns="89629" tIns="89629" rIns="89629" bIns="89629" rtlCol="0" anchor="t">
                <a:noAutofit/>
              </a:bodyPr>
              <a:lstStyle/>
              <a:p>
                <a:pPr algn="ctr" defTabSz="932563"/>
                <a:r>
                  <a:rPr lang="en-US" sz="1372" b="1" dirty="0">
                    <a:solidFill>
                      <a:srgbClr val="FFFFFF"/>
                    </a:solidFill>
                    <a:ea typeface="Segoe UI" pitchFamily="34" charset="0"/>
                    <a:cs typeface="Segoe UI" pitchFamily="34" charset="0"/>
                  </a:rPr>
                  <a:t>MICROSOFT</a:t>
                </a:r>
                <a:br>
                  <a:rPr lang="en-US" sz="1372" b="1" dirty="0">
                    <a:solidFill>
                      <a:srgbClr val="FFFFFF"/>
                    </a:solidFill>
                    <a:ea typeface="Segoe UI" pitchFamily="34" charset="0"/>
                    <a:cs typeface="Segoe UI" pitchFamily="34" charset="0"/>
                  </a:rPr>
                </a:br>
                <a:r>
                  <a:rPr lang="en-US" sz="1372" b="1" dirty="0">
                    <a:solidFill>
                      <a:srgbClr val="FFFFFF"/>
                    </a:solidFill>
                    <a:ea typeface="Segoe UI" pitchFamily="34" charset="0"/>
                    <a:cs typeface="Segoe UI" pitchFamily="34" charset="0"/>
                  </a:rPr>
                  <a:t>AZURE</a:t>
                </a:r>
              </a:p>
            </p:txBody>
          </p:sp>
          <p:sp>
            <p:nvSpPr>
              <p:cNvPr id="209" name="Freeform 6"/>
              <p:cNvSpPr>
                <a:spLocks/>
              </p:cNvSpPr>
              <p:nvPr/>
            </p:nvSpPr>
            <p:spPr bwMode="auto">
              <a:xfrm>
                <a:off x="2232472" y="3392393"/>
                <a:ext cx="1801451" cy="955097"/>
              </a:xfrm>
              <a:custGeom>
                <a:avLst/>
                <a:gdLst>
                  <a:gd name="T0" fmla="*/ 1307 w 1369"/>
                  <a:gd name="T1" fmla="*/ 597 h 726"/>
                  <a:gd name="T2" fmla="*/ 648 w 1369"/>
                  <a:gd name="T3" fmla="*/ 0 h 726"/>
                  <a:gd name="T4" fmla="*/ 0 w 1369"/>
                  <a:gd name="T5" fmla="*/ 530 h 726"/>
                  <a:gd name="T6" fmla="*/ 96 w 1369"/>
                  <a:gd name="T7" fmla="*/ 530 h 726"/>
                  <a:gd name="T8" fmla="*/ 648 w 1369"/>
                  <a:gd name="T9" fmla="*/ 94 h 726"/>
                  <a:gd name="T10" fmla="*/ 1213 w 1369"/>
                  <a:gd name="T11" fmla="*/ 597 h 726"/>
                  <a:gd name="T12" fmla="*/ 1158 w 1369"/>
                  <a:gd name="T13" fmla="*/ 597 h 726"/>
                  <a:gd name="T14" fmla="*/ 1167 w 1369"/>
                  <a:gd name="T15" fmla="*/ 608 h 726"/>
                  <a:gd name="T16" fmla="*/ 1217 w 1369"/>
                  <a:gd name="T17" fmla="*/ 669 h 726"/>
                  <a:gd name="T18" fmla="*/ 1263 w 1369"/>
                  <a:gd name="T19" fmla="*/ 726 h 726"/>
                  <a:gd name="T20" fmla="*/ 1310 w 1369"/>
                  <a:gd name="T21" fmla="*/ 669 h 726"/>
                  <a:gd name="T22" fmla="*/ 1360 w 1369"/>
                  <a:gd name="T23" fmla="*/ 608 h 726"/>
                  <a:gd name="T24" fmla="*/ 1369 w 1369"/>
                  <a:gd name="T25" fmla="*/ 597 h 726"/>
                  <a:gd name="T26" fmla="*/ 1307 w 1369"/>
                  <a:gd name="T27" fmla="*/ 597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9" h="726">
                    <a:moveTo>
                      <a:pt x="1307" y="597"/>
                    </a:moveTo>
                    <a:cubicBezTo>
                      <a:pt x="1274" y="263"/>
                      <a:pt x="992" y="0"/>
                      <a:pt x="648" y="0"/>
                    </a:cubicBezTo>
                    <a:cubicBezTo>
                      <a:pt x="329" y="0"/>
                      <a:pt x="61" y="228"/>
                      <a:pt x="0" y="530"/>
                    </a:cubicBezTo>
                    <a:cubicBezTo>
                      <a:pt x="96" y="530"/>
                      <a:pt x="96" y="530"/>
                      <a:pt x="96" y="530"/>
                    </a:cubicBezTo>
                    <a:cubicBezTo>
                      <a:pt x="155" y="280"/>
                      <a:pt x="380" y="94"/>
                      <a:pt x="648" y="94"/>
                    </a:cubicBezTo>
                    <a:cubicBezTo>
                      <a:pt x="940" y="94"/>
                      <a:pt x="1181" y="314"/>
                      <a:pt x="1213" y="597"/>
                    </a:cubicBezTo>
                    <a:cubicBezTo>
                      <a:pt x="1158" y="597"/>
                      <a:pt x="1158" y="597"/>
                      <a:pt x="1158" y="597"/>
                    </a:cubicBezTo>
                    <a:cubicBezTo>
                      <a:pt x="1167" y="608"/>
                      <a:pt x="1167" y="608"/>
                      <a:pt x="1167" y="608"/>
                    </a:cubicBezTo>
                    <a:cubicBezTo>
                      <a:pt x="1217" y="669"/>
                      <a:pt x="1217" y="669"/>
                      <a:pt x="1217" y="669"/>
                    </a:cubicBezTo>
                    <a:cubicBezTo>
                      <a:pt x="1263" y="726"/>
                      <a:pt x="1263" y="726"/>
                      <a:pt x="1263" y="726"/>
                    </a:cubicBezTo>
                    <a:cubicBezTo>
                      <a:pt x="1310" y="669"/>
                      <a:pt x="1310" y="669"/>
                      <a:pt x="1310" y="669"/>
                    </a:cubicBezTo>
                    <a:cubicBezTo>
                      <a:pt x="1360" y="608"/>
                      <a:pt x="1360" y="608"/>
                      <a:pt x="1360" y="608"/>
                    </a:cubicBezTo>
                    <a:cubicBezTo>
                      <a:pt x="1369" y="597"/>
                      <a:pt x="1369" y="597"/>
                      <a:pt x="1369" y="597"/>
                    </a:cubicBezTo>
                    <a:lnTo>
                      <a:pt x="1307" y="597"/>
                    </a:lnTo>
                    <a:close/>
                  </a:path>
                </a:pathLst>
              </a:custGeom>
              <a:solidFill>
                <a:schemeClr val="bg1"/>
              </a:solidFill>
              <a:ln>
                <a:noFill/>
              </a:ln>
            </p:spPr>
            <p:txBody>
              <a:bodyPr vert="horz" wrap="square" lIns="89629" tIns="44815" rIns="89629" bIns="44815" numCol="1" anchor="t" anchorCtr="0" compatLnSpc="1">
                <a:prstTxWarp prst="textNoShape">
                  <a:avLst/>
                </a:prstTxWarp>
              </a:bodyPr>
              <a:lstStyle/>
              <a:p>
                <a:pPr defTabSz="932563"/>
                <a:endParaRPr lang="en-US" sz="1568">
                  <a:solidFill>
                    <a:srgbClr val="FFFFFF"/>
                  </a:solidFill>
                </a:endParaRPr>
              </a:p>
            </p:txBody>
          </p:sp>
          <p:sp>
            <p:nvSpPr>
              <p:cNvPr id="210" name="Freeform 7"/>
              <p:cNvSpPr>
                <a:spLocks/>
              </p:cNvSpPr>
              <p:nvPr/>
            </p:nvSpPr>
            <p:spPr bwMode="auto">
              <a:xfrm>
                <a:off x="2142072" y="4178480"/>
                <a:ext cx="1797520" cy="956406"/>
              </a:xfrm>
              <a:custGeom>
                <a:avLst/>
                <a:gdLst>
                  <a:gd name="T0" fmla="*/ 1271 w 1366"/>
                  <a:gd name="T1" fmla="*/ 194 h 727"/>
                  <a:gd name="T2" fmla="*/ 717 w 1366"/>
                  <a:gd name="T3" fmla="*/ 633 h 727"/>
                  <a:gd name="T4" fmla="*/ 153 w 1366"/>
                  <a:gd name="T5" fmla="*/ 129 h 727"/>
                  <a:gd name="T6" fmla="*/ 211 w 1366"/>
                  <a:gd name="T7" fmla="*/ 129 h 727"/>
                  <a:gd name="T8" fmla="*/ 201 w 1366"/>
                  <a:gd name="T9" fmla="*/ 117 h 727"/>
                  <a:gd name="T10" fmla="*/ 149 w 1366"/>
                  <a:gd name="T11" fmla="*/ 54 h 727"/>
                  <a:gd name="T12" fmla="*/ 105 w 1366"/>
                  <a:gd name="T13" fmla="*/ 0 h 727"/>
                  <a:gd name="T14" fmla="*/ 56 w 1366"/>
                  <a:gd name="T15" fmla="*/ 61 h 727"/>
                  <a:gd name="T16" fmla="*/ 10 w 1366"/>
                  <a:gd name="T17" fmla="*/ 117 h 727"/>
                  <a:gd name="T18" fmla="*/ 0 w 1366"/>
                  <a:gd name="T19" fmla="*/ 129 h 727"/>
                  <a:gd name="T20" fmla="*/ 59 w 1366"/>
                  <a:gd name="T21" fmla="*/ 129 h 727"/>
                  <a:gd name="T22" fmla="*/ 717 w 1366"/>
                  <a:gd name="T23" fmla="*/ 727 h 727"/>
                  <a:gd name="T24" fmla="*/ 1366 w 1366"/>
                  <a:gd name="T25" fmla="*/ 194 h 727"/>
                  <a:gd name="T26" fmla="*/ 1271 w 1366"/>
                  <a:gd name="T27" fmla="*/ 19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6" h="727">
                    <a:moveTo>
                      <a:pt x="1271" y="194"/>
                    </a:moveTo>
                    <a:cubicBezTo>
                      <a:pt x="1212" y="446"/>
                      <a:pt x="986" y="633"/>
                      <a:pt x="717" y="633"/>
                    </a:cubicBezTo>
                    <a:cubicBezTo>
                      <a:pt x="426" y="633"/>
                      <a:pt x="185" y="413"/>
                      <a:pt x="153" y="129"/>
                    </a:cubicBezTo>
                    <a:cubicBezTo>
                      <a:pt x="211" y="129"/>
                      <a:pt x="211" y="129"/>
                      <a:pt x="211" y="129"/>
                    </a:cubicBezTo>
                    <a:cubicBezTo>
                      <a:pt x="201" y="117"/>
                      <a:pt x="201" y="117"/>
                      <a:pt x="201" y="117"/>
                    </a:cubicBezTo>
                    <a:cubicBezTo>
                      <a:pt x="149" y="54"/>
                      <a:pt x="149" y="54"/>
                      <a:pt x="149" y="54"/>
                    </a:cubicBezTo>
                    <a:cubicBezTo>
                      <a:pt x="105" y="0"/>
                      <a:pt x="105" y="0"/>
                      <a:pt x="105" y="0"/>
                    </a:cubicBezTo>
                    <a:cubicBezTo>
                      <a:pt x="56" y="61"/>
                      <a:pt x="56" y="61"/>
                      <a:pt x="56" y="61"/>
                    </a:cubicBezTo>
                    <a:cubicBezTo>
                      <a:pt x="10" y="117"/>
                      <a:pt x="10" y="117"/>
                      <a:pt x="10" y="117"/>
                    </a:cubicBezTo>
                    <a:cubicBezTo>
                      <a:pt x="0" y="129"/>
                      <a:pt x="0" y="129"/>
                      <a:pt x="0" y="129"/>
                    </a:cubicBezTo>
                    <a:cubicBezTo>
                      <a:pt x="59" y="129"/>
                      <a:pt x="59" y="129"/>
                      <a:pt x="59" y="129"/>
                    </a:cubicBezTo>
                    <a:cubicBezTo>
                      <a:pt x="92" y="464"/>
                      <a:pt x="374" y="727"/>
                      <a:pt x="717" y="727"/>
                    </a:cubicBezTo>
                    <a:cubicBezTo>
                      <a:pt x="1038" y="727"/>
                      <a:pt x="1306" y="497"/>
                      <a:pt x="1366" y="194"/>
                    </a:cubicBezTo>
                    <a:lnTo>
                      <a:pt x="1271" y="194"/>
                    </a:lnTo>
                    <a:close/>
                  </a:path>
                </a:pathLst>
              </a:custGeom>
              <a:solidFill>
                <a:schemeClr val="bg1"/>
              </a:solidFill>
              <a:ln>
                <a:noFill/>
              </a:ln>
            </p:spPr>
            <p:txBody>
              <a:bodyPr vert="horz" wrap="square" lIns="89629" tIns="44815" rIns="89629" bIns="44815" numCol="1" anchor="t" anchorCtr="0" compatLnSpc="1">
                <a:prstTxWarp prst="textNoShape">
                  <a:avLst/>
                </a:prstTxWarp>
              </a:bodyPr>
              <a:lstStyle/>
              <a:p>
                <a:pPr defTabSz="932563"/>
                <a:endParaRPr lang="en-US" sz="1568">
                  <a:solidFill>
                    <a:srgbClr val="FFFFFF"/>
                  </a:solidFill>
                </a:endParaRPr>
              </a:p>
            </p:txBody>
          </p:sp>
          <p:sp>
            <p:nvSpPr>
              <p:cNvPr id="211" name="TextBox 210"/>
              <p:cNvSpPr txBox="1"/>
              <p:nvPr/>
            </p:nvSpPr>
            <p:spPr>
              <a:xfrm>
                <a:off x="2371114" y="4275064"/>
                <a:ext cx="1428750" cy="560500"/>
              </a:xfrm>
              <a:prstGeom prst="rect">
                <a:avLst/>
              </a:prstGeom>
            </p:spPr>
            <p:txBody>
              <a:bodyPr vert="horz" wrap="square" lIns="89629" tIns="89629" rIns="89629" bIns="89629" rtlCol="0" anchor="t">
                <a:noAutofit/>
              </a:bodyPr>
              <a:lstStyle/>
              <a:p>
                <a:pPr algn="ctr" defTabSz="932563"/>
                <a:r>
                  <a:rPr lang="en-US" sz="1470" b="1" dirty="0">
                    <a:solidFill>
                      <a:srgbClr val="FFFFFF"/>
                    </a:solidFill>
                    <a:ea typeface="Segoe UI" pitchFamily="34" charset="0"/>
                    <a:cs typeface="Segoe UI" pitchFamily="34" charset="0"/>
                  </a:rPr>
                  <a:t>CONSISTENT</a:t>
                </a:r>
                <a:br>
                  <a:rPr lang="en-US" sz="1470" b="1" dirty="0">
                    <a:solidFill>
                      <a:srgbClr val="FFFFFF"/>
                    </a:solidFill>
                    <a:ea typeface="Segoe UI" pitchFamily="34" charset="0"/>
                    <a:cs typeface="Segoe UI" pitchFamily="34" charset="0"/>
                  </a:rPr>
                </a:br>
                <a:r>
                  <a:rPr lang="en-US" sz="1470" b="1" dirty="0">
                    <a:solidFill>
                      <a:srgbClr val="FFFFFF"/>
                    </a:solidFill>
                    <a:ea typeface="Segoe UI" pitchFamily="34" charset="0"/>
                    <a:cs typeface="Segoe UI" pitchFamily="34" charset="0"/>
                  </a:rPr>
                  <a:t>PLATFORM</a:t>
                </a:r>
              </a:p>
            </p:txBody>
          </p:sp>
        </p:grpSp>
        <p:sp>
          <p:nvSpPr>
            <p:cNvPr id="185" name="Freeform 184"/>
            <p:cNvSpPr>
              <a:spLocks/>
            </p:cNvSpPr>
            <p:nvPr/>
          </p:nvSpPr>
          <p:spPr bwMode="auto">
            <a:xfrm>
              <a:off x="5800481" y="2847697"/>
              <a:ext cx="745685" cy="490521"/>
            </a:xfrm>
            <a:custGeom>
              <a:avLst/>
              <a:gdLst>
                <a:gd name="T0" fmla="*/ 7215 w 8588"/>
                <a:gd name="T1" fmla="*/ 2477 h 5648"/>
                <a:gd name="T2" fmla="*/ 7215 w 8588"/>
                <a:gd name="T3" fmla="*/ 2367 h 5648"/>
                <a:gd name="T4" fmla="*/ 4847 w 8588"/>
                <a:gd name="T5" fmla="*/ 0 h 5648"/>
                <a:gd name="T6" fmla="*/ 2873 w 8588"/>
                <a:gd name="T7" fmla="*/ 1057 h 5648"/>
                <a:gd name="T8" fmla="*/ 2226 w 8588"/>
                <a:gd name="T9" fmla="*/ 884 h 5648"/>
                <a:gd name="T10" fmla="*/ 1461 w 8588"/>
                <a:gd name="T11" fmla="*/ 1114 h 5648"/>
                <a:gd name="T12" fmla="*/ 853 w 8588"/>
                <a:gd name="T13" fmla="*/ 2225 h 5648"/>
                <a:gd name="T14" fmla="*/ 0 w 8588"/>
                <a:gd name="T15" fmla="*/ 3787 h 5648"/>
                <a:gd name="T16" fmla="*/ 1658 w 8588"/>
                <a:gd name="T17" fmla="*/ 5648 h 5648"/>
                <a:gd name="T18" fmla="*/ 1863 w 8588"/>
                <a:gd name="T19" fmla="*/ 5648 h 5648"/>
                <a:gd name="T20" fmla="*/ 2052 w 8588"/>
                <a:gd name="T21" fmla="*/ 5648 h 5648"/>
                <a:gd name="T22" fmla="*/ 5920 w 8588"/>
                <a:gd name="T23" fmla="*/ 5648 h 5648"/>
                <a:gd name="T24" fmla="*/ 5996 w 8588"/>
                <a:gd name="T25" fmla="*/ 5648 h 5648"/>
                <a:gd name="T26" fmla="*/ 6094 w 8588"/>
                <a:gd name="T27" fmla="*/ 5648 h 5648"/>
                <a:gd name="T28" fmla="*/ 6378 w 8588"/>
                <a:gd name="T29" fmla="*/ 5648 h 5648"/>
                <a:gd name="T30" fmla="*/ 6994 w 8588"/>
                <a:gd name="T31" fmla="*/ 5648 h 5648"/>
                <a:gd name="T32" fmla="*/ 8588 w 8588"/>
                <a:gd name="T33" fmla="*/ 4055 h 5648"/>
                <a:gd name="T34" fmla="*/ 7215 w 8588"/>
                <a:gd name="T35" fmla="*/ 2477 h 5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88" h="5648">
                  <a:moveTo>
                    <a:pt x="7215" y="2477"/>
                  </a:moveTo>
                  <a:cubicBezTo>
                    <a:pt x="7215" y="2446"/>
                    <a:pt x="7215" y="2398"/>
                    <a:pt x="7215" y="2367"/>
                  </a:cubicBezTo>
                  <a:cubicBezTo>
                    <a:pt x="7215" y="1057"/>
                    <a:pt x="6157" y="0"/>
                    <a:pt x="4847" y="0"/>
                  </a:cubicBezTo>
                  <a:cubicBezTo>
                    <a:pt x="4026" y="0"/>
                    <a:pt x="3300" y="426"/>
                    <a:pt x="2873" y="1057"/>
                  </a:cubicBezTo>
                  <a:cubicBezTo>
                    <a:pt x="2684" y="947"/>
                    <a:pt x="2463" y="884"/>
                    <a:pt x="2226" y="884"/>
                  </a:cubicBezTo>
                  <a:cubicBezTo>
                    <a:pt x="1941" y="884"/>
                    <a:pt x="1679" y="968"/>
                    <a:pt x="1461" y="1114"/>
                  </a:cubicBezTo>
                  <a:cubicBezTo>
                    <a:pt x="1100" y="1355"/>
                    <a:pt x="862" y="1762"/>
                    <a:pt x="853" y="2225"/>
                  </a:cubicBezTo>
                  <a:cubicBezTo>
                    <a:pt x="347" y="2556"/>
                    <a:pt x="0" y="3140"/>
                    <a:pt x="0" y="3787"/>
                  </a:cubicBezTo>
                  <a:cubicBezTo>
                    <a:pt x="0" y="4749"/>
                    <a:pt x="726" y="5538"/>
                    <a:pt x="1658" y="5648"/>
                  </a:cubicBezTo>
                  <a:cubicBezTo>
                    <a:pt x="1721" y="5648"/>
                    <a:pt x="1800" y="5648"/>
                    <a:pt x="1863" y="5648"/>
                  </a:cubicBezTo>
                  <a:cubicBezTo>
                    <a:pt x="1926" y="5648"/>
                    <a:pt x="1989" y="5648"/>
                    <a:pt x="2052" y="5648"/>
                  </a:cubicBezTo>
                  <a:cubicBezTo>
                    <a:pt x="2921" y="5648"/>
                    <a:pt x="4957" y="5648"/>
                    <a:pt x="5920" y="5648"/>
                  </a:cubicBezTo>
                  <a:cubicBezTo>
                    <a:pt x="5951" y="5648"/>
                    <a:pt x="5975" y="5648"/>
                    <a:pt x="5996" y="5648"/>
                  </a:cubicBezTo>
                  <a:cubicBezTo>
                    <a:pt x="6094" y="5648"/>
                    <a:pt x="6094" y="5648"/>
                    <a:pt x="6094" y="5648"/>
                  </a:cubicBezTo>
                  <a:cubicBezTo>
                    <a:pt x="6141" y="5648"/>
                    <a:pt x="6283" y="5648"/>
                    <a:pt x="6378" y="5648"/>
                  </a:cubicBezTo>
                  <a:cubicBezTo>
                    <a:pt x="6994" y="5648"/>
                    <a:pt x="6994" y="5648"/>
                    <a:pt x="6994" y="5648"/>
                  </a:cubicBezTo>
                  <a:cubicBezTo>
                    <a:pt x="7878" y="5633"/>
                    <a:pt x="8588" y="4923"/>
                    <a:pt x="8588" y="4055"/>
                  </a:cubicBezTo>
                  <a:cubicBezTo>
                    <a:pt x="8588" y="3250"/>
                    <a:pt x="7988" y="2588"/>
                    <a:pt x="7215" y="2477"/>
                  </a:cubicBezTo>
                  <a:close/>
                </a:path>
              </a:pathLst>
            </a:custGeom>
            <a:solidFill>
              <a:schemeClr val="bg1"/>
            </a:solidFill>
            <a:ln>
              <a:noFill/>
            </a:ln>
            <a:effectLst/>
          </p:spPr>
          <p:txBody>
            <a:bodyPr vert="horz" wrap="square" lIns="89629" tIns="44815" rIns="89629" bIns="44815" numCol="1" anchor="ctr" anchorCtr="0" compatLnSpc="1">
              <a:prstTxWarp prst="textNoShape">
                <a:avLst/>
              </a:prstTxWarp>
            </a:bodyPr>
            <a:lstStyle/>
            <a:p>
              <a:pPr algn="ctr" defTabSz="932563"/>
              <a:endParaRPr lang="en-US" sz="1176" dirty="0">
                <a:solidFill>
                  <a:srgbClr val="505050"/>
                </a:solidFill>
              </a:endParaRPr>
            </a:p>
          </p:txBody>
        </p:sp>
      </p:grpSp>
      <p:sp>
        <p:nvSpPr>
          <p:cNvPr id="228" name="Rectangle 227"/>
          <p:cNvSpPr/>
          <p:nvPr/>
        </p:nvSpPr>
        <p:spPr>
          <a:xfrm>
            <a:off x="336109" y="1067860"/>
            <a:ext cx="7762445" cy="523220"/>
          </a:xfrm>
          <a:prstGeom prst="rect">
            <a:avLst/>
          </a:prstGeom>
          <a:noFill/>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0846" fontAlgn="base">
              <a:spcBef>
                <a:spcPct val="0"/>
              </a:spcBef>
              <a:spcAft>
                <a:spcPct val="0"/>
              </a:spcAft>
            </a:pPr>
            <a:r>
              <a:rPr lang="en-US" sz="2800" dirty="0">
                <a:solidFill>
                  <a:schemeClr val="tx2">
                    <a:lumMod val="10000"/>
                  </a:schemeClr>
                </a:solidFill>
                <a:latin typeface="Segoe UI Light"/>
              </a:rPr>
              <a:t>Unified platform for modern business</a:t>
            </a:r>
          </a:p>
        </p:txBody>
      </p:sp>
      <p:sp>
        <p:nvSpPr>
          <p:cNvPr id="229" name="Freeform 9"/>
          <p:cNvSpPr>
            <a:spLocks noEditPoints="1"/>
          </p:cNvSpPr>
          <p:nvPr/>
        </p:nvSpPr>
        <p:spPr bwMode="black">
          <a:xfrm>
            <a:off x="436408" y="4891082"/>
            <a:ext cx="430218" cy="431966"/>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1">
              <a:lumMod val="50000"/>
            </a:schemeClr>
          </a:solidFill>
          <a:ln>
            <a:noFill/>
          </a:ln>
          <a:extLst/>
        </p:spPr>
        <p:txBody>
          <a:bodyPr vert="horz" wrap="square" lIns="91427" tIns="45713" rIns="91427" bIns="45713" numCol="1" anchor="ctr" anchorCtr="0" compatLnSpc="1">
            <a:prstTxWarp prst="textNoShape">
              <a:avLst/>
            </a:prstTxWarp>
          </a:bodyPr>
          <a:lstStyle/>
          <a:p>
            <a:pPr defTabSz="932563"/>
            <a:endParaRPr lang="en-US" dirty="0">
              <a:solidFill>
                <a:srgbClr val="68217A"/>
              </a:solidFill>
            </a:endParaRPr>
          </a:p>
        </p:txBody>
      </p:sp>
      <p:sp>
        <p:nvSpPr>
          <p:cNvPr id="235" name="Rectangle 234"/>
          <p:cNvSpPr/>
          <p:nvPr/>
        </p:nvSpPr>
        <p:spPr>
          <a:xfrm>
            <a:off x="904381" y="5093505"/>
            <a:ext cx="3382399" cy="479875"/>
          </a:xfrm>
          <a:prstGeom prst="rect">
            <a:avLst/>
          </a:prstGeom>
          <a:noFill/>
        </p:spPr>
        <p:txBody>
          <a:bodyPr wrap="square" lIns="182854">
            <a:spAutoFit/>
          </a:bodyPr>
          <a:lstStyle/>
          <a:p>
            <a:pPr defTabSz="914370">
              <a:lnSpc>
                <a:spcPct val="90000"/>
              </a:lnSpc>
              <a:spcAft>
                <a:spcPts val="590"/>
              </a:spcAft>
              <a:defRPr/>
            </a:pPr>
            <a:r>
              <a:rPr lang="en-US" sz="1399" dirty="0">
                <a:solidFill>
                  <a:schemeClr val="tx2">
                    <a:lumMod val="10000"/>
                  </a:schemeClr>
                </a:solidFill>
                <a:ea typeface="Ryo Display PlusN B" panose="02020800000000000000" pitchFamily="18" charset="-128"/>
              </a:rPr>
              <a:t>Expands technical skillsets </a:t>
            </a:r>
            <a:br>
              <a:rPr lang="en-US" sz="1399" dirty="0">
                <a:solidFill>
                  <a:schemeClr val="tx2">
                    <a:lumMod val="10000"/>
                  </a:schemeClr>
                </a:solidFill>
                <a:ea typeface="Ryo Display PlusN B" panose="02020800000000000000" pitchFamily="18" charset="-128"/>
              </a:rPr>
            </a:br>
            <a:r>
              <a:rPr lang="en-US" sz="1399" dirty="0">
                <a:solidFill>
                  <a:schemeClr val="tx2">
                    <a:lumMod val="10000"/>
                  </a:schemeClr>
                </a:solidFill>
                <a:ea typeface="Ryo Display PlusN B" panose="02020800000000000000" pitchFamily="18" charset="-128"/>
              </a:rPr>
              <a:t>to the cloud for new innovation</a:t>
            </a:r>
          </a:p>
        </p:txBody>
      </p:sp>
      <p:grpSp>
        <p:nvGrpSpPr>
          <p:cNvPr id="2" name="Group 1"/>
          <p:cNvGrpSpPr/>
          <p:nvPr/>
        </p:nvGrpSpPr>
        <p:grpSpPr>
          <a:xfrm>
            <a:off x="891681" y="1950304"/>
            <a:ext cx="3984936" cy="1039315"/>
            <a:chOff x="891681" y="1950304"/>
            <a:chExt cx="3984936" cy="1039315"/>
          </a:xfrm>
        </p:grpSpPr>
        <p:sp>
          <p:nvSpPr>
            <p:cNvPr id="233" name="Rectangle 232"/>
            <p:cNvSpPr/>
            <p:nvPr/>
          </p:nvSpPr>
          <p:spPr>
            <a:xfrm>
              <a:off x="904381" y="2509744"/>
              <a:ext cx="3972236" cy="479875"/>
            </a:xfrm>
            <a:prstGeom prst="rect">
              <a:avLst/>
            </a:prstGeom>
            <a:noFill/>
          </p:spPr>
          <p:txBody>
            <a:bodyPr wrap="square" lIns="182854">
              <a:spAutoFit/>
            </a:bodyPr>
            <a:lstStyle/>
            <a:p>
              <a:pPr defTabSz="914370">
                <a:lnSpc>
                  <a:spcPct val="90000"/>
                </a:lnSpc>
                <a:spcAft>
                  <a:spcPts val="590"/>
                </a:spcAft>
                <a:defRPr/>
              </a:pPr>
              <a:r>
                <a:rPr lang="en-US" sz="1399" dirty="0">
                  <a:solidFill>
                    <a:schemeClr val="tx2">
                      <a:lumMod val="10000"/>
                    </a:schemeClr>
                  </a:solidFill>
                  <a:ea typeface="Ryo Display PlusN B" panose="02020800000000000000" pitchFamily="18" charset="-128"/>
                </a:rPr>
                <a:t>Global reach, scale &amp; security </a:t>
              </a:r>
              <a:br>
                <a:rPr lang="en-US" sz="1399" dirty="0">
                  <a:solidFill>
                    <a:schemeClr val="tx2">
                      <a:lumMod val="10000"/>
                    </a:schemeClr>
                  </a:solidFill>
                  <a:ea typeface="Ryo Display PlusN B" panose="02020800000000000000" pitchFamily="18" charset="-128"/>
                </a:rPr>
              </a:br>
              <a:r>
                <a:rPr lang="en-US" sz="1399" dirty="0">
                  <a:solidFill>
                    <a:schemeClr val="tx2">
                      <a:lumMod val="10000"/>
                    </a:schemeClr>
                  </a:solidFill>
                  <a:ea typeface="Ryo Display PlusN B" panose="02020800000000000000" pitchFamily="18" charset="-128"/>
                </a:rPr>
                <a:t>to meet business demands</a:t>
              </a:r>
            </a:p>
          </p:txBody>
        </p:sp>
        <p:sp>
          <p:nvSpPr>
            <p:cNvPr id="53" name="Rectangle 52"/>
            <p:cNvSpPr/>
            <p:nvPr/>
          </p:nvSpPr>
          <p:spPr bwMode="auto">
            <a:xfrm>
              <a:off x="891681" y="1950304"/>
              <a:ext cx="3066509" cy="873730"/>
            </a:xfrm>
            <a:prstGeom prst="rect">
              <a:avLst/>
            </a:prstGeom>
            <a:noFill/>
            <a:ln w="10795" cap="flat" cmpd="sng" algn="ctr">
              <a:noFill/>
              <a:prstDash val="solid"/>
              <a:headEnd type="none" w="med" len="med"/>
              <a:tailEnd type="none" w="med" len="med"/>
            </a:ln>
            <a:effectLst/>
          </p:spPr>
          <p:txBody>
            <a:bodyPr vert="horz" wrap="square" lIns="179234" tIns="182854" rIns="0" bIns="91427" numCol="1" rtlCol="0" anchor="t" anchorCtr="0" compatLnSpc="1">
              <a:prstTxWarp prst="textNoShape">
                <a:avLst/>
              </a:prstTxWarp>
            </a:bodyPr>
            <a:lstStyle/>
            <a:p>
              <a:pPr defTabSz="914171">
                <a:lnSpc>
                  <a:spcPct val="90000"/>
                </a:lnSpc>
                <a:spcAft>
                  <a:spcPts val="2200"/>
                </a:spcAft>
                <a:defRPr/>
              </a:pPr>
              <a:r>
                <a:rPr lang="en-US" sz="2800" kern="0" dirty="0">
                  <a:solidFill>
                    <a:schemeClr val="tx2">
                      <a:lumMod val="10000"/>
                    </a:schemeClr>
                  </a:solidFill>
                  <a:latin typeface="Segoe UI Light"/>
                  <a:cs typeface="Segoe UI Semilight" panose="020B0402040204020203" pitchFamily="34" charset="0"/>
                </a:rPr>
                <a:t>Enterprise-grade</a:t>
              </a:r>
            </a:p>
          </p:txBody>
        </p:sp>
      </p:grpSp>
      <p:grpSp>
        <p:nvGrpSpPr>
          <p:cNvPr id="3" name="Group 2"/>
          <p:cNvGrpSpPr/>
          <p:nvPr/>
        </p:nvGrpSpPr>
        <p:grpSpPr>
          <a:xfrm>
            <a:off x="902321" y="3236092"/>
            <a:ext cx="4206366" cy="1036806"/>
            <a:chOff x="902321" y="3375792"/>
            <a:chExt cx="4206366" cy="1036806"/>
          </a:xfrm>
        </p:grpSpPr>
        <p:sp>
          <p:nvSpPr>
            <p:cNvPr id="234" name="Rectangle 233"/>
            <p:cNvSpPr/>
            <p:nvPr/>
          </p:nvSpPr>
          <p:spPr>
            <a:xfrm>
              <a:off x="902321" y="3932723"/>
              <a:ext cx="4206366" cy="479875"/>
            </a:xfrm>
            <a:prstGeom prst="rect">
              <a:avLst/>
            </a:prstGeom>
            <a:noFill/>
          </p:spPr>
          <p:txBody>
            <a:bodyPr wrap="square" lIns="182854">
              <a:spAutoFit/>
            </a:bodyPr>
            <a:lstStyle/>
            <a:p>
              <a:pPr defTabSz="914370">
                <a:lnSpc>
                  <a:spcPct val="90000"/>
                </a:lnSpc>
                <a:spcAft>
                  <a:spcPts val="590"/>
                </a:spcAft>
                <a:defRPr/>
              </a:pPr>
              <a:r>
                <a:rPr lang="en-US" sz="1399" dirty="0">
                  <a:solidFill>
                    <a:schemeClr val="tx2">
                      <a:lumMod val="10000"/>
                    </a:schemeClr>
                  </a:solidFill>
                  <a:ea typeface="Ryo Display PlusN B" panose="02020800000000000000" pitchFamily="18" charset="-128"/>
                </a:rPr>
                <a:t>Consistent platform across </a:t>
              </a:r>
              <a:br>
                <a:rPr lang="en-US" sz="1399" dirty="0">
                  <a:solidFill>
                    <a:schemeClr val="tx2">
                      <a:lumMod val="10000"/>
                    </a:schemeClr>
                  </a:solidFill>
                  <a:ea typeface="Ryo Display PlusN B" panose="02020800000000000000" pitchFamily="18" charset="-128"/>
                </a:rPr>
              </a:br>
              <a:r>
                <a:rPr lang="en-US" sz="1399" dirty="0">
                  <a:solidFill>
                    <a:schemeClr val="tx2">
                      <a:lumMod val="10000"/>
                    </a:schemeClr>
                  </a:solidFill>
                  <a:ea typeface="Ryo Display PlusN B" panose="02020800000000000000" pitchFamily="18" charset="-128"/>
                </a:rPr>
                <a:t>multiple environments &amp; clouds</a:t>
              </a:r>
            </a:p>
          </p:txBody>
        </p:sp>
        <p:sp>
          <p:nvSpPr>
            <p:cNvPr id="55" name="Rectangle 54"/>
            <p:cNvSpPr/>
            <p:nvPr/>
          </p:nvSpPr>
          <p:spPr bwMode="auto">
            <a:xfrm>
              <a:off x="917700" y="3375792"/>
              <a:ext cx="3066509" cy="873730"/>
            </a:xfrm>
            <a:prstGeom prst="rect">
              <a:avLst/>
            </a:prstGeom>
            <a:noFill/>
            <a:ln w="10795" cap="flat" cmpd="sng" algn="ctr">
              <a:noFill/>
              <a:prstDash val="solid"/>
              <a:headEnd type="none" w="med" len="med"/>
              <a:tailEnd type="none" w="med" len="med"/>
            </a:ln>
            <a:effectLst/>
          </p:spPr>
          <p:txBody>
            <a:bodyPr vert="horz" wrap="square" lIns="179234" tIns="182854" rIns="0" bIns="91427" numCol="1" rtlCol="0" anchor="t" anchorCtr="0" compatLnSpc="1">
              <a:prstTxWarp prst="textNoShape">
                <a:avLst/>
              </a:prstTxWarp>
            </a:bodyPr>
            <a:lstStyle/>
            <a:p>
              <a:pPr defTabSz="914171">
                <a:lnSpc>
                  <a:spcPct val="90000"/>
                </a:lnSpc>
                <a:spcAft>
                  <a:spcPts val="2200"/>
                </a:spcAft>
                <a:defRPr/>
              </a:pPr>
              <a:r>
                <a:rPr lang="en-US" sz="2800" kern="0" dirty="0">
                  <a:solidFill>
                    <a:schemeClr val="tx2">
                      <a:lumMod val="10000"/>
                    </a:schemeClr>
                  </a:solidFill>
                  <a:latin typeface="Segoe UI Light"/>
                  <a:cs typeface="Segoe UI Semilight" panose="020B0402040204020203" pitchFamily="34" charset="0"/>
                </a:rPr>
                <a:t>Hybrid cloud</a:t>
              </a:r>
            </a:p>
          </p:txBody>
        </p:sp>
      </p:grpSp>
      <p:sp>
        <p:nvSpPr>
          <p:cNvPr id="90" name="Rectangle 89"/>
          <p:cNvSpPr/>
          <p:nvPr/>
        </p:nvSpPr>
        <p:spPr bwMode="auto">
          <a:xfrm>
            <a:off x="904381" y="4549597"/>
            <a:ext cx="3066509" cy="873730"/>
          </a:xfrm>
          <a:prstGeom prst="rect">
            <a:avLst/>
          </a:prstGeom>
          <a:noFill/>
          <a:ln w="10795" cap="flat" cmpd="sng" algn="ctr">
            <a:noFill/>
            <a:prstDash val="solid"/>
            <a:headEnd type="none" w="med" len="med"/>
            <a:tailEnd type="none" w="med" len="med"/>
          </a:ln>
          <a:effectLst/>
        </p:spPr>
        <p:txBody>
          <a:bodyPr vert="horz" wrap="square" lIns="179234" tIns="182854" rIns="0" bIns="91427" numCol="1" rtlCol="0" anchor="t" anchorCtr="0" compatLnSpc="1">
            <a:prstTxWarp prst="textNoShape">
              <a:avLst/>
            </a:prstTxWarp>
          </a:bodyPr>
          <a:lstStyle/>
          <a:p>
            <a:pPr defTabSz="914171">
              <a:lnSpc>
                <a:spcPct val="90000"/>
              </a:lnSpc>
              <a:spcAft>
                <a:spcPts val="2200"/>
              </a:spcAft>
              <a:defRPr/>
            </a:pPr>
            <a:r>
              <a:rPr lang="en-US" sz="2800" kern="0" dirty="0">
                <a:solidFill>
                  <a:schemeClr val="tx2">
                    <a:lumMod val="10000"/>
                  </a:schemeClr>
                </a:solidFill>
                <a:latin typeface="Segoe UI Light"/>
                <a:cs typeface="Segoe UI Semilight" panose="020B0402040204020203" pitchFamily="34" charset="0"/>
              </a:rPr>
              <a:t>People focused</a:t>
            </a:r>
          </a:p>
        </p:txBody>
      </p:sp>
      <p:sp>
        <p:nvSpPr>
          <p:cNvPr id="57" name="Freeform 56"/>
          <p:cNvSpPr>
            <a:spLocks/>
          </p:cNvSpPr>
          <p:nvPr/>
        </p:nvSpPr>
        <p:spPr bwMode="auto">
          <a:xfrm>
            <a:off x="4336219" y="5016300"/>
            <a:ext cx="1282224" cy="800224"/>
          </a:xfrm>
          <a:custGeom>
            <a:avLst/>
            <a:gdLst>
              <a:gd name="T0" fmla="*/ 884 w 1350"/>
              <a:gd name="T1" fmla="*/ 0 h 841"/>
              <a:gd name="T2" fmla="*/ 648 w 1350"/>
              <a:gd name="T3" fmla="*/ 135 h 841"/>
              <a:gd name="T4" fmla="*/ 542 w 1350"/>
              <a:gd name="T5" fmla="*/ 114 h 841"/>
              <a:gd name="T6" fmla="*/ 352 w 1350"/>
              <a:gd name="T7" fmla="*/ 189 h 841"/>
              <a:gd name="T8" fmla="*/ 286 w 1350"/>
              <a:gd name="T9" fmla="*/ 287 h 841"/>
              <a:gd name="T10" fmla="*/ 274 w 1350"/>
              <a:gd name="T11" fmla="*/ 287 h 841"/>
              <a:gd name="T12" fmla="*/ 82 w 1350"/>
              <a:gd name="T13" fmla="*/ 369 h 841"/>
              <a:gd name="T14" fmla="*/ 0 w 1350"/>
              <a:gd name="T15" fmla="*/ 563 h 841"/>
              <a:gd name="T16" fmla="*/ 82 w 1350"/>
              <a:gd name="T17" fmla="*/ 758 h 841"/>
              <a:gd name="T18" fmla="*/ 274 w 1350"/>
              <a:gd name="T19" fmla="*/ 841 h 841"/>
              <a:gd name="T20" fmla="*/ 1076 w 1350"/>
              <a:gd name="T21" fmla="*/ 841 h 841"/>
              <a:gd name="T22" fmla="*/ 1272 w 1350"/>
              <a:gd name="T23" fmla="*/ 758 h 841"/>
              <a:gd name="T24" fmla="*/ 1350 w 1350"/>
              <a:gd name="T25" fmla="*/ 563 h 841"/>
              <a:gd name="T26" fmla="*/ 1272 w 1350"/>
              <a:gd name="T27" fmla="*/ 370 h 841"/>
              <a:gd name="T28" fmla="*/ 1152 w 1350"/>
              <a:gd name="T29" fmla="*/ 297 h 841"/>
              <a:gd name="T30" fmla="*/ 1152 w 1350"/>
              <a:gd name="T31" fmla="*/ 277 h 841"/>
              <a:gd name="T32" fmla="*/ 1076 w 1350"/>
              <a:gd name="T33" fmla="*/ 84 h 841"/>
              <a:gd name="T34" fmla="*/ 884 w 1350"/>
              <a:gd name="T35" fmla="*/ 0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0" h="841">
                <a:moveTo>
                  <a:pt x="884" y="0"/>
                </a:moveTo>
                <a:cubicBezTo>
                  <a:pt x="786" y="0"/>
                  <a:pt x="698" y="54"/>
                  <a:pt x="648" y="135"/>
                </a:cubicBezTo>
                <a:cubicBezTo>
                  <a:pt x="616" y="121"/>
                  <a:pt x="579" y="114"/>
                  <a:pt x="542" y="114"/>
                </a:cubicBezTo>
                <a:cubicBezTo>
                  <a:pt x="470" y="114"/>
                  <a:pt x="403" y="141"/>
                  <a:pt x="352" y="189"/>
                </a:cubicBezTo>
                <a:cubicBezTo>
                  <a:pt x="323" y="217"/>
                  <a:pt x="301" y="250"/>
                  <a:pt x="286" y="287"/>
                </a:cubicBezTo>
                <a:cubicBezTo>
                  <a:pt x="282" y="287"/>
                  <a:pt x="278" y="287"/>
                  <a:pt x="274" y="287"/>
                </a:cubicBezTo>
                <a:cubicBezTo>
                  <a:pt x="203" y="287"/>
                  <a:pt x="134" y="316"/>
                  <a:pt x="82" y="369"/>
                </a:cubicBezTo>
                <a:cubicBezTo>
                  <a:pt x="30" y="421"/>
                  <a:pt x="0" y="490"/>
                  <a:pt x="0" y="563"/>
                </a:cubicBezTo>
                <a:cubicBezTo>
                  <a:pt x="0" y="636"/>
                  <a:pt x="30" y="705"/>
                  <a:pt x="82" y="758"/>
                </a:cubicBezTo>
                <a:cubicBezTo>
                  <a:pt x="134" y="812"/>
                  <a:pt x="203" y="841"/>
                  <a:pt x="274" y="841"/>
                </a:cubicBezTo>
                <a:cubicBezTo>
                  <a:pt x="1076" y="841"/>
                  <a:pt x="1076" y="841"/>
                  <a:pt x="1076" y="841"/>
                </a:cubicBezTo>
                <a:cubicBezTo>
                  <a:pt x="1151" y="841"/>
                  <a:pt x="1220" y="812"/>
                  <a:pt x="1272" y="758"/>
                </a:cubicBezTo>
                <a:cubicBezTo>
                  <a:pt x="1322" y="705"/>
                  <a:pt x="1350" y="636"/>
                  <a:pt x="1350" y="563"/>
                </a:cubicBezTo>
                <a:cubicBezTo>
                  <a:pt x="1350" y="490"/>
                  <a:pt x="1322" y="421"/>
                  <a:pt x="1272" y="370"/>
                </a:cubicBezTo>
                <a:cubicBezTo>
                  <a:pt x="1238" y="334"/>
                  <a:pt x="1197" y="310"/>
                  <a:pt x="1152" y="297"/>
                </a:cubicBezTo>
                <a:cubicBezTo>
                  <a:pt x="1152" y="291"/>
                  <a:pt x="1152" y="284"/>
                  <a:pt x="1152" y="277"/>
                </a:cubicBezTo>
                <a:cubicBezTo>
                  <a:pt x="1152" y="205"/>
                  <a:pt x="1125" y="136"/>
                  <a:pt x="1076" y="84"/>
                </a:cubicBezTo>
                <a:cubicBezTo>
                  <a:pt x="1025" y="30"/>
                  <a:pt x="956" y="0"/>
                  <a:pt x="884" y="0"/>
                </a:cubicBezTo>
                <a:close/>
              </a:path>
            </a:pathLst>
          </a:custGeom>
          <a:noFill/>
          <a:ln w="254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1690302335"/>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353535"/>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3895" y="6078667"/>
            <a:ext cx="10972832" cy="618588"/>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263" eaLnBrk="0" hangingPunct="0"/>
            <a:r>
              <a:rPr lang="en-US" sz="700" dirty="0">
                <a:gradFill>
                  <a:gsLst>
                    <a:gs pos="0">
                      <a:srgbClr val="FFFFFF"/>
                    </a:gs>
                    <a:gs pos="100000">
                      <a:srgbClr val="FFFFFF"/>
                    </a:gs>
                  </a:gsLst>
                  <a:lin ang="5400000" scaled="0"/>
                </a:gradFill>
                <a:cs typeface="Segoe UI" pitchFamily="34" charset="0"/>
              </a:rPr>
              <a:t>© 2016 Microsoft Corporation. All rights reserved. Microsoft, Windows, Windows Vista and other product names are or may be registered trademarks and/or trademarks in the U.S. and/or other countries.</a:t>
            </a:r>
          </a:p>
          <a:p>
            <a:pPr defTabSz="932263"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50574525"/>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353535"/>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ppendix</a:t>
            </a:r>
            <a:endParaRPr lang="en-US" sz="3200" dirty="0">
              <a:latin typeface="+mn-lt"/>
            </a:endParaRPr>
          </a:p>
        </p:txBody>
      </p:sp>
    </p:spTree>
    <p:extLst>
      <p:ext uri="{BB962C8B-B14F-4D97-AF65-F5344CB8AC3E}">
        <p14:creationId xmlns:p14="http://schemas.microsoft.com/office/powerpoint/2010/main" val="1842453305"/>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0" y="1"/>
            <a:ext cx="6221444" cy="7027862"/>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w="0"/>
              <a:solidFill>
                <a:srgbClr val="000000"/>
              </a:solidFill>
              <a:effectLst>
                <a:outerShdw blurRad="38100" dist="19050" dir="2700000" algn="tl" rotWithShape="0">
                  <a:srgbClr val="000000">
                    <a:alpha val="40000"/>
                  </a:srgbClr>
                </a:outerShdw>
              </a:effectLst>
              <a:uLnTx/>
              <a:uFillTx/>
              <a:latin typeface="Segoe UI Light"/>
              <a:ea typeface="Segoe UI" pitchFamily="34" charset="0"/>
              <a:cs typeface="Segoe UI" pitchFamily="34" charset="0"/>
            </a:endParaRPr>
          </a:p>
        </p:txBody>
      </p:sp>
      <p:sp>
        <p:nvSpPr>
          <p:cNvPr id="27" name="Rectangle 26"/>
          <p:cNvSpPr/>
          <p:nvPr/>
        </p:nvSpPr>
        <p:spPr bwMode="auto">
          <a:xfrm>
            <a:off x="282802" y="1437894"/>
            <a:ext cx="4114800" cy="4114800"/>
          </a:xfrm>
          <a:prstGeom prst="rect">
            <a:avLst/>
          </a:prstGeom>
          <a:noFill/>
        </p:spPr>
        <p:txBody>
          <a:bodyPr wrap="square" lIns="182880" tIns="137160" rtlCol="0">
            <a:noAutofit/>
          </a:bodyPr>
          <a:lstStyle/>
          <a:p>
            <a:pPr marL="0" marR="0" lvl="0" indent="0" defTabSz="931863" eaLnBrk="1" fontAlgn="base" latinLnBrk="0" hangingPunct="1">
              <a:lnSpc>
                <a:spcPts val="3060"/>
              </a:lnSpc>
              <a:spcBef>
                <a:spcPct val="0"/>
              </a:spcBef>
              <a:spcAft>
                <a:spcPct val="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Light"/>
              <a:ea typeface="MS PGothic" charset="0"/>
            </a:endParaRPr>
          </a:p>
        </p:txBody>
      </p:sp>
      <p:sp>
        <p:nvSpPr>
          <p:cNvPr id="3" name="Title 2"/>
          <p:cNvSpPr>
            <a:spLocks noGrp="1"/>
          </p:cNvSpPr>
          <p:nvPr>
            <p:ph type="title"/>
          </p:nvPr>
        </p:nvSpPr>
        <p:spPr>
          <a:xfrm>
            <a:off x="274320" y="292082"/>
            <a:ext cx="4906074" cy="2298413"/>
          </a:xfrm>
        </p:spPr>
        <p:txBody>
          <a:bodyPr/>
          <a:lstStyle/>
          <a:p>
            <a:r>
              <a:rPr lang="en-US" dirty="0">
                <a:solidFill>
                  <a:schemeClr val="tx2">
                    <a:lumMod val="10000"/>
                  </a:schemeClr>
                </a:solidFill>
              </a:rPr>
              <a:t>The opportunity is bigger than you may think </a:t>
            </a:r>
          </a:p>
        </p:txBody>
      </p:sp>
      <p:sp>
        <p:nvSpPr>
          <p:cNvPr id="22" name="TextBox 21"/>
          <p:cNvSpPr txBox="1"/>
          <p:nvPr/>
        </p:nvSpPr>
        <p:spPr>
          <a:xfrm>
            <a:off x="220278" y="2771586"/>
            <a:ext cx="3838957" cy="1862048"/>
          </a:xfrm>
          <a:prstGeom prst="rect">
            <a:avLst/>
          </a:prstGeom>
          <a:noFill/>
        </p:spPr>
        <p:txBody>
          <a:bodyPr wrap="square">
            <a:spAutoFit/>
          </a:bodyPr>
          <a:lstStyle/>
          <a:p>
            <a:pPr marL="0" marR="0" lvl="0" indent="0" defTabSz="931863" eaLnBrk="1" fontAlgn="base" latinLnBrk="0" hangingPunct="1">
              <a:lnSpc>
                <a:spcPct val="100000"/>
              </a:lnSpc>
              <a:spcBef>
                <a:spcPct val="0"/>
              </a:spcBef>
              <a:spcAft>
                <a:spcPct val="0"/>
              </a:spcAft>
              <a:buClrTx/>
              <a:buSzTx/>
              <a:buFontTx/>
              <a:buNone/>
              <a:tabLst/>
              <a:defRPr/>
            </a:pPr>
            <a:r>
              <a:rPr kumimoji="0" lang="en-US" sz="11500" b="0" i="0" u="none" strike="noStrike" kern="0" cap="none" spc="0" normalizeH="0" baseline="0" noProof="0" dirty="0">
                <a:ln>
                  <a:noFill/>
                </a:ln>
                <a:solidFill>
                  <a:schemeClr val="tx2">
                    <a:lumMod val="10000"/>
                  </a:schemeClr>
                </a:solidFill>
                <a:effectLst/>
                <a:uLnTx/>
                <a:uFillTx/>
                <a:latin typeface="Segoe UI Light"/>
                <a:ea typeface="MS PGothic" panose="020B0600070205080204" pitchFamily="34" charset="-128"/>
              </a:rPr>
              <a:t>$1.6T </a:t>
            </a:r>
          </a:p>
        </p:txBody>
      </p:sp>
      <p:sp>
        <p:nvSpPr>
          <p:cNvPr id="28678" name="TextBox 22"/>
          <p:cNvSpPr txBox="1">
            <a:spLocks noChangeArrowheads="1"/>
          </p:cNvSpPr>
          <p:nvPr/>
        </p:nvSpPr>
        <p:spPr bwMode="auto">
          <a:xfrm>
            <a:off x="274320" y="4547332"/>
            <a:ext cx="4768683" cy="1208023"/>
          </a:xfrm>
          <a:prstGeom prst="rect">
            <a:avLst/>
          </a:prstGeom>
          <a:noFill/>
          <a:ln>
            <a:noFill/>
          </a:ln>
          <a:extLst/>
        </p:spPr>
        <p:txBody>
          <a:bodyPr wrap="square">
            <a:spAutoFit/>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marL="0" marR="0" lvl="0" indent="0" defTabSz="931863" eaLnBrk="1" fontAlgn="base" latinLnBrk="0" hangingPunct="1">
              <a:lnSpc>
                <a:spcPts val="2880"/>
              </a:lnSpc>
              <a:spcBef>
                <a:spcPct val="0"/>
              </a:spcBef>
              <a:spcAft>
                <a:spcPct val="0"/>
              </a:spcAft>
              <a:buClrTx/>
              <a:buSzTx/>
              <a:buFontTx/>
              <a:buNone/>
              <a:tabLst/>
              <a:defRPr/>
            </a:pPr>
            <a:r>
              <a:rPr kumimoji="0" lang="en-US" sz="2400" b="0" i="0" u="none" strike="noStrike" kern="0" cap="none" spc="0" normalizeH="0" baseline="0" noProof="0" dirty="0">
                <a:ln>
                  <a:noFill/>
                </a:ln>
                <a:solidFill>
                  <a:schemeClr val="tx2">
                    <a:lumMod val="10000"/>
                  </a:schemeClr>
                </a:solidFill>
                <a:effectLst/>
                <a:uLnTx/>
                <a:uFillTx/>
                <a:latin typeface="Segoe UI Light"/>
                <a:ea typeface="MS PGothic" panose="020B0600070205080204" pitchFamily="34" charset="-128"/>
                <a:cs typeface="Segoe UI Light"/>
              </a:rPr>
              <a:t>data dividend available </a:t>
            </a:r>
            <a:br>
              <a:rPr kumimoji="0" lang="en-US" sz="2400" b="0" i="0" u="none" strike="noStrike" kern="0" cap="none" spc="0" normalizeH="0" baseline="0" noProof="0" dirty="0">
                <a:ln>
                  <a:noFill/>
                </a:ln>
                <a:solidFill>
                  <a:schemeClr val="tx2">
                    <a:lumMod val="10000"/>
                  </a:schemeClr>
                </a:solidFill>
                <a:effectLst/>
                <a:uLnTx/>
                <a:uFillTx/>
                <a:latin typeface="Segoe UI Light"/>
                <a:ea typeface="MS PGothic" panose="020B0600070205080204" pitchFamily="34" charset="-128"/>
                <a:cs typeface="Segoe UI Light"/>
              </a:rPr>
            </a:br>
            <a:r>
              <a:rPr kumimoji="0" lang="en-US" sz="2400" b="0" i="0" u="none" strike="noStrike" kern="0" cap="none" spc="0" normalizeH="0" baseline="0" noProof="0" dirty="0">
                <a:ln>
                  <a:noFill/>
                </a:ln>
                <a:solidFill>
                  <a:schemeClr val="tx2">
                    <a:lumMod val="10000"/>
                  </a:schemeClr>
                </a:solidFill>
                <a:effectLst/>
                <a:uLnTx/>
                <a:uFillTx/>
                <a:latin typeface="Segoe UI Light"/>
                <a:ea typeface="MS PGothic" panose="020B0600070205080204" pitchFamily="34" charset="-128"/>
                <a:cs typeface="Segoe UI Light"/>
              </a:rPr>
              <a:t>to businesses that embrace data </a:t>
            </a:r>
            <a:br>
              <a:rPr kumimoji="0" lang="en-US" sz="2400" b="0" i="0" u="none" strike="noStrike" kern="0" cap="none" spc="0" normalizeH="0" baseline="0" noProof="0" dirty="0">
                <a:ln>
                  <a:noFill/>
                </a:ln>
                <a:solidFill>
                  <a:schemeClr val="tx2">
                    <a:lumMod val="10000"/>
                  </a:schemeClr>
                </a:solidFill>
                <a:effectLst/>
                <a:uLnTx/>
                <a:uFillTx/>
                <a:latin typeface="Segoe UI Light"/>
                <a:ea typeface="MS PGothic" panose="020B0600070205080204" pitchFamily="34" charset="-128"/>
                <a:cs typeface="Segoe UI Light"/>
              </a:rPr>
            </a:br>
            <a:r>
              <a:rPr kumimoji="0" lang="en-US" sz="2400" b="0" i="0" u="none" strike="noStrike" kern="0" cap="none" spc="0" normalizeH="0" baseline="0" noProof="0" dirty="0">
                <a:ln>
                  <a:noFill/>
                </a:ln>
                <a:solidFill>
                  <a:schemeClr val="tx2">
                    <a:lumMod val="10000"/>
                  </a:schemeClr>
                </a:solidFill>
                <a:effectLst/>
                <a:uLnTx/>
                <a:uFillTx/>
                <a:latin typeface="Segoe UI Light"/>
                <a:ea typeface="MS PGothic" panose="020B0600070205080204" pitchFamily="34" charset="-128"/>
                <a:cs typeface="Segoe UI Light"/>
              </a:rPr>
              <a:t>over the next four years</a:t>
            </a:r>
          </a:p>
        </p:txBody>
      </p:sp>
      <p:sp>
        <p:nvSpPr>
          <p:cNvPr id="17" name="TextBox 16"/>
          <p:cNvSpPr txBox="1"/>
          <p:nvPr/>
        </p:nvSpPr>
        <p:spPr>
          <a:xfrm>
            <a:off x="11086158" y="3664247"/>
            <a:ext cx="1161321" cy="443198"/>
          </a:xfrm>
          <a:prstGeom prst="rect">
            <a:avLst/>
          </a:prstGeom>
          <a:noFill/>
        </p:spPr>
        <p:txBody>
          <a:bodyPr wrap="square" lIns="0" tIns="0" rIns="0" bIns="0" anchor="ctr">
            <a:spAutoFit/>
          </a:bodyPr>
          <a:lstStyle/>
          <a:p>
            <a:pPr marL="0" marR="0" lvl="0" indent="0" algn="ctr" defTabSz="932688" eaLnBrk="1" fontAlgn="auto" latinLnBrk="0" hangingPunct="1">
              <a:lnSpc>
                <a:spcPct val="90000"/>
              </a:lnSpc>
              <a:spcBef>
                <a:spcPts val="0"/>
              </a:spcBef>
              <a:spcAft>
                <a:spcPts val="1200"/>
              </a:spcAft>
              <a:buClrTx/>
              <a:buSzTx/>
              <a:buFontTx/>
              <a:buNone/>
              <a:tabLst/>
              <a:defRPr/>
            </a:pPr>
            <a:r>
              <a:rPr kumimoji="0" lang="en-US" sz="3200" b="0" i="0" u="none" strike="noStrike" kern="0" cap="none" spc="0" normalizeH="0" baseline="0" noProof="0" dirty="0">
                <a:ln>
                  <a:noFill/>
                </a:ln>
                <a:solidFill>
                  <a:schemeClr val="tx2">
                    <a:lumMod val="10000"/>
                  </a:schemeClr>
                </a:solidFill>
                <a:effectLst/>
                <a:uLnTx/>
                <a:uFillTx/>
                <a:latin typeface="Segoe UI Light"/>
                <a:cs typeface="Segoe UI"/>
              </a:rPr>
              <a:t>speed</a:t>
            </a:r>
          </a:p>
        </p:txBody>
      </p:sp>
      <p:sp>
        <p:nvSpPr>
          <p:cNvPr id="24" name="Oval 23"/>
          <p:cNvSpPr>
            <a:spLocks noChangeAspect="1"/>
          </p:cNvSpPr>
          <p:nvPr/>
        </p:nvSpPr>
        <p:spPr bwMode="auto">
          <a:xfrm>
            <a:off x="11341010" y="2968545"/>
            <a:ext cx="621792" cy="621790"/>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wrap="square" rtlCol="0" anchor="ctr">
            <a:noAutofit/>
          </a:bodyPr>
          <a:lstStyle/>
          <a:p>
            <a:pPr marL="0" marR="0" lvl="0" indent="0" algn="ctr" defTabSz="931863"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dirty="0">
              <a:ln>
                <a:noFill/>
              </a:ln>
              <a:solidFill>
                <a:srgbClr val="000000"/>
              </a:solidFill>
              <a:effectLst/>
              <a:uLnTx/>
              <a:uFillTx/>
            </a:endParaRPr>
          </a:p>
        </p:txBody>
      </p:sp>
      <p:grpSp>
        <p:nvGrpSpPr>
          <p:cNvPr id="4" name="Group 3"/>
          <p:cNvGrpSpPr>
            <a:grpSpLocks noChangeAspect="1"/>
          </p:cNvGrpSpPr>
          <p:nvPr/>
        </p:nvGrpSpPr>
        <p:grpSpPr>
          <a:xfrm>
            <a:off x="8504238" y="772434"/>
            <a:ext cx="1828800" cy="5471082"/>
            <a:chOff x="8548097" y="523494"/>
            <a:chExt cx="1833389" cy="5484811"/>
          </a:xfrm>
        </p:grpSpPr>
        <p:sp>
          <p:nvSpPr>
            <p:cNvPr id="13" name="Rectangle 12"/>
            <p:cNvSpPr/>
            <p:nvPr/>
          </p:nvSpPr>
          <p:spPr>
            <a:xfrm>
              <a:off x="8548097" y="4174916"/>
              <a:ext cx="1833389" cy="1833389"/>
            </a:xfrm>
            <a:prstGeom prst="rect">
              <a:avLst/>
            </a:prstGeom>
            <a:solidFill>
              <a:srgbClr val="5E5E5E"/>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anchor="ctr"/>
            <a:lstStyle/>
            <a:p>
              <a:pPr marL="0" marR="0" lvl="0" indent="0" defTabSz="932688" eaLnBrk="1" fontAlgn="auto" latinLnBrk="0" hangingPunct="1">
                <a:lnSpc>
                  <a:spcPct val="9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FFFF"/>
                  </a:solidFill>
                  <a:effectLst/>
                  <a:uLnTx/>
                  <a:uFillTx/>
                  <a:latin typeface="Segoe UI Light"/>
                </a:rPr>
                <a:t>More people</a:t>
              </a:r>
            </a:p>
          </p:txBody>
        </p:sp>
        <p:sp>
          <p:nvSpPr>
            <p:cNvPr id="15" name="Rectangle 14"/>
            <p:cNvSpPr/>
            <p:nvPr/>
          </p:nvSpPr>
          <p:spPr>
            <a:xfrm>
              <a:off x="8548097" y="2346117"/>
              <a:ext cx="1828799" cy="18288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anchor="ctr"/>
            <a:lstStyle/>
            <a:p>
              <a:pPr marL="0" marR="0" lvl="0" indent="0" defTabSz="932688" eaLnBrk="1" fontAlgn="auto" latinLnBrk="0" hangingPunct="1">
                <a:lnSpc>
                  <a:spcPct val="9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tx2">
                      <a:lumMod val="10000"/>
                    </a:schemeClr>
                  </a:solidFill>
                  <a:effectLst/>
                  <a:uLnTx/>
                  <a:uFillTx/>
                  <a:latin typeface="Segoe UI Light"/>
                </a:rPr>
                <a:t>New analytics</a:t>
              </a:r>
            </a:p>
          </p:txBody>
        </p:sp>
        <p:sp>
          <p:nvSpPr>
            <p:cNvPr id="16" name="Rectangle 15"/>
            <p:cNvSpPr/>
            <p:nvPr/>
          </p:nvSpPr>
          <p:spPr>
            <a:xfrm>
              <a:off x="8548098" y="523494"/>
              <a:ext cx="1828800" cy="1828800"/>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anchor="ctr"/>
            <a:lstStyle/>
            <a:p>
              <a:pPr marL="0" marR="0" lvl="0" indent="0" defTabSz="932688" eaLnBrk="1" fontAlgn="auto" latinLnBrk="0" hangingPunct="1">
                <a:lnSpc>
                  <a:spcPct val="9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bg1"/>
                  </a:solidFill>
                  <a:effectLst/>
                  <a:uLnTx/>
                  <a:uFillTx/>
                  <a:latin typeface="Segoe UI Light"/>
                </a:rPr>
                <a:t>Diverse data</a:t>
              </a:r>
            </a:p>
          </p:txBody>
        </p:sp>
        <p:sp>
          <p:nvSpPr>
            <p:cNvPr id="30" name="Oval 29"/>
            <p:cNvSpPr/>
            <p:nvPr/>
          </p:nvSpPr>
          <p:spPr bwMode="auto">
            <a:xfrm>
              <a:off x="9152940" y="2034799"/>
              <a:ext cx="644520" cy="64451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1" name="Oval 30"/>
            <p:cNvSpPr/>
            <p:nvPr/>
          </p:nvSpPr>
          <p:spPr bwMode="auto">
            <a:xfrm>
              <a:off x="9152940" y="3863599"/>
              <a:ext cx="644520" cy="64451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 name="Freeform 93"/>
            <p:cNvSpPr>
              <a:spLocks/>
            </p:cNvSpPr>
            <p:nvPr/>
          </p:nvSpPr>
          <p:spPr bwMode="black">
            <a:xfrm rot="5400000">
              <a:off x="9287667" y="2172626"/>
              <a:ext cx="375066" cy="368864"/>
            </a:xfrm>
            <a:custGeom>
              <a:avLst/>
              <a:gdLst>
                <a:gd name="T0" fmla="*/ 71 w 121"/>
                <a:gd name="T1" fmla="*/ 119 h 119"/>
                <a:gd name="T2" fmla="*/ 50 w 121"/>
                <a:gd name="T3" fmla="*/ 119 h 119"/>
                <a:gd name="T4" fmla="*/ 50 w 121"/>
                <a:gd name="T5" fmla="*/ 71 h 119"/>
                <a:gd name="T6" fmla="*/ 0 w 121"/>
                <a:gd name="T7" fmla="*/ 71 h 119"/>
                <a:gd name="T8" fmla="*/ 0 w 121"/>
                <a:gd name="T9" fmla="*/ 49 h 119"/>
                <a:gd name="T10" fmla="*/ 50 w 121"/>
                <a:gd name="T11" fmla="*/ 49 h 119"/>
                <a:gd name="T12" fmla="*/ 50 w 121"/>
                <a:gd name="T13" fmla="*/ 0 h 119"/>
                <a:gd name="T14" fmla="*/ 71 w 121"/>
                <a:gd name="T15" fmla="*/ 0 h 119"/>
                <a:gd name="T16" fmla="*/ 71 w 121"/>
                <a:gd name="T17" fmla="*/ 49 h 119"/>
                <a:gd name="T18" fmla="*/ 121 w 121"/>
                <a:gd name="T19" fmla="*/ 49 h 119"/>
                <a:gd name="T20" fmla="*/ 121 w 121"/>
                <a:gd name="T21" fmla="*/ 71 h 119"/>
                <a:gd name="T22" fmla="*/ 71 w 121"/>
                <a:gd name="T23" fmla="*/ 71 h 119"/>
                <a:gd name="T24" fmla="*/ 71 w 121"/>
                <a:gd name="T25"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1" h="119">
                  <a:moveTo>
                    <a:pt x="71" y="119"/>
                  </a:moveTo>
                  <a:lnTo>
                    <a:pt x="50" y="119"/>
                  </a:lnTo>
                  <a:lnTo>
                    <a:pt x="50" y="71"/>
                  </a:lnTo>
                  <a:lnTo>
                    <a:pt x="0" y="71"/>
                  </a:lnTo>
                  <a:lnTo>
                    <a:pt x="0" y="49"/>
                  </a:lnTo>
                  <a:lnTo>
                    <a:pt x="50" y="49"/>
                  </a:lnTo>
                  <a:lnTo>
                    <a:pt x="50" y="0"/>
                  </a:lnTo>
                  <a:lnTo>
                    <a:pt x="71" y="0"/>
                  </a:lnTo>
                  <a:lnTo>
                    <a:pt x="71" y="49"/>
                  </a:lnTo>
                  <a:lnTo>
                    <a:pt x="121" y="49"/>
                  </a:lnTo>
                  <a:lnTo>
                    <a:pt x="121" y="71"/>
                  </a:lnTo>
                  <a:lnTo>
                    <a:pt x="71" y="71"/>
                  </a:lnTo>
                  <a:lnTo>
                    <a:pt x="71" y="119"/>
                  </a:lnTo>
                  <a:close/>
                </a:path>
              </a:pathLst>
            </a:custGeom>
            <a:solidFill>
              <a:srgbClr val="5E5E5E"/>
            </a:solidFill>
            <a:ln>
              <a:noFill/>
            </a:ln>
            <a:extLst/>
          </p:spPr>
          <p:txBody>
            <a:bodyPr vert="horz" wrap="square" lIns="91421" tIns="45710" rIns="91421" bIns="45710" numCol="1" anchor="t" anchorCtr="0" compatLnSpc="1">
              <a:prstTxWarp prst="textNoShape">
                <a:avLst/>
              </a:prstTxWarp>
            </a:bodyPr>
            <a:lstStyle/>
            <a:p>
              <a:pPr marL="0" marR="0" lvl="0" indent="0" defTabSz="91418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dirty="0">
                <a:ln>
                  <a:noFill/>
                </a:ln>
                <a:solidFill>
                  <a:srgbClr val="000000"/>
                </a:solidFill>
                <a:effectLst/>
                <a:uLnTx/>
                <a:uFillTx/>
                <a:ea typeface="MS PGothic" charset="0"/>
              </a:endParaRPr>
            </a:p>
          </p:txBody>
        </p:sp>
        <p:sp>
          <p:nvSpPr>
            <p:cNvPr id="32" name="Freeform 93"/>
            <p:cNvSpPr>
              <a:spLocks/>
            </p:cNvSpPr>
            <p:nvPr/>
          </p:nvSpPr>
          <p:spPr bwMode="black">
            <a:xfrm rot="5400000">
              <a:off x="9287667" y="4001425"/>
              <a:ext cx="375066" cy="368864"/>
            </a:xfrm>
            <a:custGeom>
              <a:avLst/>
              <a:gdLst>
                <a:gd name="T0" fmla="*/ 71 w 121"/>
                <a:gd name="T1" fmla="*/ 119 h 119"/>
                <a:gd name="T2" fmla="*/ 50 w 121"/>
                <a:gd name="T3" fmla="*/ 119 h 119"/>
                <a:gd name="T4" fmla="*/ 50 w 121"/>
                <a:gd name="T5" fmla="*/ 71 h 119"/>
                <a:gd name="T6" fmla="*/ 0 w 121"/>
                <a:gd name="T7" fmla="*/ 71 h 119"/>
                <a:gd name="T8" fmla="*/ 0 w 121"/>
                <a:gd name="T9" fmla="*/ 49 h 119"/>
                <a:gd name="T10" fmla="*/ 50 w 121"/>
                <a:gd name="T11" fmla="*/ 49 h 119"/>
                <a:gd name="T12" fmla="*/ 50 w 121"/>
                <a:gd name="T13" fmla="*/ 0 h 119"/>
                <a:gd name="T14" fmla="*/ 71 w 121"/>
                <a:gd name="T15" fmla="*/ 0 h 119"/>
                <a:gd name="T16" fmla="*/ 71 w 121"/>
                <a:gd name="T17" fmla="*/ 49 h 119"/>
                <a:gd name="T18" fmla="*/ 121 w 121"/>
                <a:gd name="T19" fmla="*/ 49 h 119"/>
                <a:gd name="T20" fmla="*/ 121 w 121"/>
                <a:gd name="T21" fmla="*/ 71 h 119"/>
                <a:gd name="T22" fmla="*/ 71 w 121"/>
                <a:gd name="T23" fmla="*/ 71 h 119"/>
                <a:gd name="T24" fmla="*/ 71 w 121"/>
                <a:gd name="T25"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1" h="119">
                  <a:moveTo>
                    <a:pt x="71" y="119"/>
                  </a:moveTo>
                  <a:lnTo>
                    <a:pt x="50" y="119"/>
                  </a:lnTo>
                  <a:lnTo>
                    <a:pt x="50" y="71"/>
                  </a:lnTo>
                  <a:lnTo>
                    <a:pt x="0" y="71"/>
                  </a:lnTo>
                  <a:lnTo>
                    <a:pt x="0" y="49"/>
                  </a:lnTo>
                  <a:lnTo>
                    <a:pt x="50" y="49"/>
                  </a:lnTo>
                  <a:lnTo>
                    <a:pt x="50" y="0"/>
                  </a:lnTo>
                  <a:lnTo>
                    <a:pt x="71" y="0"/>
                  </a:lnTo>
                  <a:lnTo>
                    <a:pt x="71" y="49"/>
                  </a:lnTo>
                  <a:lnTo>
                    <a:pt x="121" y="49"/>
                  </a:lnTo>
                  <a:lnTo>
                    <a:pt x="121" y="71"/>
                  </a:lnTo>
                  <a:lnTo>
                    <a:pt x="71" y="71"/>
                  </a:lnTo>
                  <a:lnTo>
                    <a:pt x="71" y="119"/>
                  </a:lnTo>
                  <a:close/>
                </a:path>
              </a:pathLst>
            </a:custGeom>
            <a:solidFill>
              <a:srgbClr val="5E5E5E"/>
            </a:solidFill>
            <a:ln>
              <a:noFill/>
            </a:ln>
            <a:extLst/>
          </p:spPr>
          <p:txBody>
            <a:bodyPr vert="horz" wrap="square" lIns="91421" tIns="45710" rIns="91421" bIns="45710" numCol="1" anchor="t" anchorCtr="0" compatLnSpc="1">
              <a:prstTxWarp prst="textNoShape">
                <a:avLst/>
              </a:prstTxWarp>
            </a:bodyPr>
            <a:lstStyle/>
            <a:p>
              <a:pPr marL="0" marR="0" lvl="0" indent="0" defTabSz="91418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dirty="0">
                <a:ln>
                  <a:noFill/>
                </a:ln>
                <a:solidFill>
                  <a:srgbClr val="000000"/>
                </a:solidFill>
                <a:effectLst/>
                <a:uLnTx/>
                <a:uFillTx/>
                <a:ea typeface="MS PGothic" charset="0"/>
              </a:endParaRPr>
            </a:p>
          </p:txBody>
        </p:sp>
      </p:grpSp>
      <p:sp>
        <p:nvSpPr>
          <p:cNvPr id="36" name="Left Bracket 35"/>
          <p:cNvSpPr/>
          <p:nvPr/>
        </p:nvSpPr>
        <p:spPr>
          <a:xfrm>
            <a:off x="7912276" y="1684545"/>
            <a:ext cx="265300" cy="3725656"/>
          </a:xfrm>
          <a:prstGeom prst="leftBracket">
            <a:avLst>
              <a:gd name="adj" fmla="val 0"/>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1863"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000000"/>
              </a:solidFill>
              <a:effectLst/>
              <a:uLnTx/>
              <a:uFillTx/>
            </a:endParaRPr>
          </a:p>
        </p:txBody>
      </p:sp>
      <p:sp>
        <p:nvSpPr>
          <p:cNvPr id="26" name="Title 2"/>
          <p:cNvSpPr txBox="1">
            <a:spLocks/>
          </p:cNvSpPr>
          <p:nvPr/>
        </p:nvSpPr>
        <p:spPr>
          <a:xfrm>
            <a:off x="6804865" y="3119437"/>
            <a:ext cx="1551736" cy="863601"/>
          </a:xfrm>
          <a:prstGeom prst="rect">
            <a:avLst/>
          </a:prstGeom>
          <a:solidFill>
            <a:schemeClr val="bg1"/>
          </a:solidFill>
        </p:spPr>
        <p:txBody>
          <a:bodyPr vert="horz" wrap="square" lIns="146304" tIns="91440" rIns="146304" bIns="91440" rtlCol="0" anchor="ctr">
            <a:noAutofit/>
          </a:bodyPr>
          <a:lstStyle>
            <a:lvl1pPr algn="l" defTabSz="931863" rtl="0" fontAlgn="base">
              <a:lnSpc>
                <a:spcPct val="90000"/>
              </a:lnSpc>
              <a:spcBef>
                <a:spcPct val="0"/>
              </a:spcBef>
              <a:spcAft>
                <a:spcPct val="0"/>
              </a:spcAft>
              <a:defRPr lang="en-US" sz="5200" kern="1200" spc="-102">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pPr marL="0" marR="0" lvl="0" indent="0" algn="l" defTabSz="932742" rtl="0" eaLnBrk="1" fontAlgn="auto" latinLnBrk="0" hangingPunct="1">
              <a:lnSpc>
                <a:spcPts val="5760"/>
              </a:lnSpc>
              <a:spcBef>
                <a:spcPct val="0"/>
              </a:spcBef>
              <a:spcAft>
                <a:spcPts val="0"/>
              </a:spcAft>
              <a:buClrTx/>
              <a:buSzTx/>
              <a:buFontTx/>
              <a:buNone/>
              <a:tabLst/>
              <a:defRPr/>
            </a:pPr>
            <a:r>
              <a:rPr kumimoji="0" lang="en-US" sz="4000" b="0" i="0" u="none" strike="noStrike" kern="1200" cap="none" spc="-102" normalizeH="0" baseline="0" noProof="0" dirty="0">
                <a:ln w="3175">
                  <a:noFill/>
                </a:ln>
                <a:solidFill>
                  <a:schemeClr val="tx2">
                    <a:lumMod val="10000"/>
                  </a:schemeClr>
                </a:solidFill>
                <a:effectLst/>
                <a:uLnTx/>
                <a:uFillTx/>
                <a:latin typeface="+mj-lt"/>
                <a:ea typeface="+mn-ea"/>
                <a:cs typeface="Segoe UI" pitchFamily="34" charset="0"/>
              </a:rPr>
              <a:t>How?</a:t>
            </a:r>
          </a:p>
        </p:txBody>
      </p:sp>
      <p:sp>
        <p:nvSpPr>
          <p:cNvPr id="37" name="Left Bracket 36"/>
          <p:cNvSpPr/>
          <p:nvPr/>
        </p:nvSpPr>
        <p:spPr>
          <a:xfrm flipH="1">
            <a:off x="10607272" y="1684545"/>
            <a:ext cx="265300" cy="3725656"/>
          </a:xfrm>
          <a:prstGeom prst="leftBracket">
            <a:avLst>
              <a:gd name="adj" fmla="val 0"/>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1863"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000000"/>
              </a:solidFill>
              <a:effectLst/>
              <a:uLnTx/>
              <a:uFillTx/>
            </a:endParaRPr>
          </a:p>
        </p:txBody>
      </p:sp>
      <p:sp>
        <p:nvSpPr>
          <p:cNvPr id="28" name="TextBox 40"/>
          <p:cNvSpPr txBox="1">
            <a:spLocks noChangeArrowheads="1"/>
          </p:cNvSpPr>
          <p:nvPr/>
        </p:nvSpPr>
        <p:spPr bwMode="auto">
          <a:xfrm>
            <a:off x="8229600" y="6532562"/>
            <a:ext cx="4206875" cy="4619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80" tIns="146304" rIns="182880" bIns="146304">
            <a:spAutoFit/>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marL="0" marR="0" lvl="0" indent="0" algn="r" defTabSz="931863" eaLnBrk="1" fontAlgn="base" latinLnBrk="0" hangingPunct="1">
              <a:lnSpc>
                <a:spcPct val="90000"/>
              </a:lnSpc>
              <a:spcBef>
                <a:spcPct val="0"/>
              </a:spcBef>
              <a:spcAft>
                <a:spcPts val="600"/>
              </a:spcAft>
              <a:buClrTx/>
              <a:buSzTx/>
              <a:buFontTx/>
              <a:buNone/>
              <a:tabLst/>
              <a:defRPr/>
            </a:pPr>
            <a:r>
              <a:rPr kumimoji="0" lang="en-US" sz="1200" b="0" i="0" u="none" strike="noStrike" kern="0" cap="none" spc="0" normalizeH="0" baseline="0" noProof="0" dirty="0">
                <a:ln>
                  <a:noFill/>
                </a:ln>
                <a:solidFill>
                  <a:srgbClr val="5E5E5E"/>
                </a:solidFill>
                <a:effectLst/>
                <a:uLnTx/>
                <a:uFillTx/>
                <a:latin typeface="Segoe UI" charset="0"/>
                <a:ea typeface="MS PGothic" charset="0"/>
                <a:cs typeface="MS PGothic" charset="0"/>
              </a:rPr>
              <a:t>Data source: Microsoft and IDC, April 2014</a:t>
            </a:r>
          </a:p>
        </p:txBody>
      </p:sp>
      <p:sp>
        <p:nvSpPr>
          <p:cNvPr id="2" name="Oval 1"/>
          <p:cNvSpPr/>
          <p:nvPr/>
        </p:nvSpPr>
        <p:spPr bwMode="auto">
          <a:xfrm>
            <a:off x="5791815" y="3125043"/>
            <a:ext cx="901700" cy="909521"/>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60" name="Freeform 9"/>
          <p:cNvSpPr>
            <a:spLocks noEditPoints="1"/>
          </p:cNvSpPr>
          <p:nvPr/>
        </p:nvSpPr>
        <p:spPr bwMode="black">
          <a:xfrm>
            <a:off x="5964246" y="3259828"/>
            <a:ext cx="612102" cy="614589"/>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1">
              <a:lumMod val="95000"/>
              <a:lumOff val="5000"/>
            </a:schemeClr>
          </a:solidFill>
          <a:ln>
            <a:noFill/>
          </a:ln>
          <a:extLst/>
        </p:spPr>
        <p:txBody>
          <a:bodyPr vert="horz" wrap="square" lIns="91427" tIns="45713" rIns="91427" bIns="45713" numCol="1" anchor="ctr" anchorCtr="0" compatLnSpc="1">
            <a:prstTxWarp prst="textNoShape">
              <a:avLst/>
            </a:prstTxWarp>
          </a:bodyPr>
          <a:lstStyle/>
          <a:p>
            <a:pPr defTabSz="932563"/>
            <a:endParaRPr lang="en-US" dirty="0">
              <a:solidFill>
                <a:srgbClr val="68217A"/>
              </a:solidFill>
            </a:endParaRPr>
          </a:p>
        </p:txBody>
      </p:sp>
      <p:sp>
        <p:nvSpPr>
          <p:cNvPr id="29" name="TextBox 28"/>
          <p:cNvSpPr txBox="1"/>
          <p:nvPr/>
        </p:nvSpPr>
        <p:spPr>
          <a:xfrm>
            <a:off x="11341010" y="2968546"/>
            <a:ext cx="621792" cy="621789"/>
          </a:xfrm>
          <a:prstGeom prst="rect">
            <a:avLst/>
          </a:prstGeom>
          <a:noFill/>
        </p:spPr>
        <p:txBody>
          <a:bodyPr wrap="square" lIns="0" tIns="0" rIns="0" bIns="0" rtlCol="0" anchor="ctr">
            <a:noAutofit/>
          </a:bodyPr>
          <a:lstStyle>
            <a:defPPr>
              <a:defRPr lang="en-US"/>
            </a:defPPr>
            <a:lvl1pPr algn="ctr">
              <a:lnSpc>
                <a:spcPct val="90000"/>
              </a:lnSpc>
              <a:spcAft>
                <a:spcPts val="600"/>
              </a:spcAft>
              <a:defRPr sz="4000" b="1" spc="-100">
                <a:ln w="22225">
                  <a:noFill/>
                </a:ln>
                <a:gradFill>
                  <a:gsLst>
                    <a:gs pos="82323">
                      <a:srgbClr val="FFFFFF"/>
                    </a:gs>
                    <a:gs pos="73039">
                      <a:srgbClr val="FFFFFF"/>
                    </a:gs>
                  </a:gsLst>
                  <a:lin ang="5400000" scaled="0"/>
                </a:gradFill>
                <a:latin typeface="Segoe UI Semibold" panose="020B0702040204020203" pitchFamily="34" charset="0"/>
                <a:cs typeface="Segoe UI Semibold" panose="020B0702040204020203" pitchFamily="34" charset="0"/>
              </a:defRPr>
            </a:lvl1pPr>
          </a:lstStyle>
          <a:p>
            <a:pPr marL="0" marR="0" lvl="0" indent="0" algn="ctr" defTabSz="931863" eaLnBrk="1" fontAlgn="base" latinLnBrk="0" hangingPunct="1">
              <a:lnSpc>
                <a:spcPct val="90000"/>
              </a:lnSpc>
              <a:spcBef>
                <a:spcPct val="0"/>
              </a:spcBef>
              <a:spcAft>
                <a:spcPts val="600"/>
              </a:spcAft>
              <a:buClrTx/>
              <a:buSzTx/>
              <a:buFontTx/>
              <a:buNone/>
              <a:tabLst/>
              <a:defRPr/>
            </a:pPr>
            <a:r>
              <a:rPr kumimoji="0" lang="en-US" sz="4000" b="1" i="0" u="none" strike="noStrike" kern="0" cap="none" spc="-100" normalizeH="0" baseline="0" noProof="0" dirty="0">
                <a:ln w="22225">
                  <a:noFill/>
                </a:ln>
                <a:solidFill>
                  <a:schemeClr val="tx2">
                    <a:lumMod val="10000"/>
                  </a:schemeClr>
                </a:solidFill>
                <a:effectLst/>
                <a:uLnTx/>
                <a:uFillTx/>
                <a:latin typeface="Segoe UI Semibold" panose="020B0702040204020203" pitchFamily="34" charset="0"/>
                <a:ea typeface="MS PGothic" charset="0"/>
                <a:cs typeface="Segoe UI Semibold" panose="020B0702040204020203" pitchFamily="34" charset="0"/>
              </a:rPr>
              <a:t>@</a:t>
            </a:r>
          </a:p>
        </p:txBody>
      </p:sp>
    </p:spTree>
    <p:extLst>
      <p:ext uri="{BB962C8B-B14F-4D97-AF65-F5344CB8AC3E}">
        <p14:creationId xmlns:p14="http://schemas.microsoft.com/office/powerpoint/2010/main" val="473458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22"/>
                                        </p:tgtEl>
                                        <p:attrNameLst>
                                          <p:attrName>style.visibility</p:attrName>
                                        </p:attrNameLst>
                                      </p:cBhvr>
                                      <p:to>
                                        <p:strVal val="visible"/>
                                      </p:to>
                                    </p:set>
                                    <p:anim calcmode="lin" valueType="num">
                                      <p:cBhvr additive="base">
                                        <p:cTn id="11" dur="500" fill="hold"/>
                                        <p:tgtEl>
                                          <p:spTgt spid="22"/>
                                        </p:tgtEl>
                                        <p:attrNameLst>
                                          <p:attrName>ppt_x</p:attrName>
                                        </p:attrNameLst>
                                      </p:cBhvr>
                                      <p:tavLst>
                                        <p:tav tm="0">
                                          <p:val>
                                            <p:strVal val="0-#ppt_w/2"/>
                                          </p:val>
                                        </p:tav>
                                        <p:tav tm="100000">
                                          <p:val>
                                            <p:strVal val="#ppt_x"/>
                                          </p:val>
                                        </p:tav>
                                      </p:tavLst>
                                    </p:anim>
                                    <p:anim calcmode="lin" valueType="num">
                                      <p:cBhvr additive="base">
                                        <p:cTn id="12" dur="500" fill="hold"/>
                                        <p:tgtEl>
                                          <p:spTgt spid="22"/>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28678"/>
                                        </p:tgtEl>
                                        <p:attrNameLst>
                                          <p:attrName>style.visibility</p:attrName>
                                        </p:attrNameLst>
                                      </p:cBhvr>
                                      <p:to>
                                        <p:strVal val="visible"/>
                                      </p:to>
                                    </p:set>
                                    <p:anim calcmode="lin" valueType="num">
                                      <p:cBhvr additive="base">
                                        <p:cTn id="15" dur="500" fill="hold"/>
                                        <p:tgtEl>
                                          <p:spTgt spid="28678"/>
                                        </p:tgtEl>
                                        <p:attrNameLst>
                                          <p:attrName>ppt_x</p:attrName>
                                        </p:attrNameLst>
                                      </p:cBhvr>
                                      <p:tavLst>
                                        <p:tav tm="0">
                                          <p:val>
                                            <p:strVal val="0-#ppt_w/2"/>
                                          </p:val>
                                        </p:tav>
                                        <p:tav tm="100000">
                                          <p:val>
                                            <p:strVal val="#ppt_x"/>
                                          </p:val>
                                        </p:tav>
                                      </p:tavLst>
                                    </p:anim>
                                    <p:anim calcmode="lin" valueType="num">
                                      <p:cBhvr additive="base">
                                        <p:cTn id="16" dur="500" fill="hold"/>
                                        <p:tgtEl>
                                          <p:spTgt spid="28678"/>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500" fill="hold"/>
                                        <p:tgtEl>
                                          <p:spTgt spid="6"/>
                                        </p:tgtEl>
                                        <p:attrNameLst>
                                          <p:attrName>ppt_x</p:attrName>
                                        </p:attrNameLst>
                                      </p:cBhvr>
                                      <p:tavLst>
                                        <p:tav tm="0">
                                          <p:val>
                                            <p:strVal val="0-#ppt_w/2"/>
                                          </p:val>
                                        </p:tav>
                                        <p:tav tm="100000">
                                          <p:val>
                                            <p:strVal val="#ppt_x"/>
                                          </p:val>
                                        </p:tav>
                                      </p:tavLst>
                                    </p:anim>
                                    <p:anim calcmode="lin" valueType="num">
                                      <p:cBhvr additive="base">
                                        <p:cTn id="20" dur="500" fill="hold"/>
                                        <p:tgtEl>
                                          <p:spTgt spid="6"/>
                                        </p:tgtEl>
                                        <p:attrNameLst>
                                          <p:attrName>ppt_y</p:attrName>
                                        </p:attrNameLst>
                                      </p:cBhvr>
                                      <p:tavLst>
                                        <p:tav tm="0">
                                          <p:val>
                                            <p:strVal val="#ppt_y"/>
                                          </p:val>
                                        </p:tav>
                                        <p:tav tm="100000">
                                          <p:val>
                                            <p:strVal val="#ppt_y"/>
                                          </p:val>
                                        </p:tav>
                                      </p:tavLst>
                                    </p:anim>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60"/>
                                        </p:tgtEl>
                                        <p:attrNameLst>
                                          <p:attrName>style.visibility</p:attrName>
                                        </p:attrNameLst>
                                      </p:cBhvr>
                                      <p:to>
                                        <p:strVal val="visible"/>
                                      </p:to>
                                    </p:set>
                                    <p:animEffect transition="in" filter="fade">
                                      <p:cBhvr>
                                        <p:cTn id="24" dur="500"/>
                                        <p:tgtEl>
                                          <p:spTgt spid="60"/>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
                                        </p:tgtEl>
                                        <p:attrNameLst>
                                          <p:attrName>style.visibility</p:attrName>
                                        </p:attrNameLst>
                                      </p:cBhvr>
                                      <p:to>
                                        <p:strVal val="visible"/>
                                      </p:to>
                                    </p:set>
                                    <p:animEffect transition="in" filter="fade">
                                      <p:cBhvr>
                                        <p:cTn id="27" dur="500"/>
                                        <p:tgtEl>
                                          <p:spTgt spid="2"/>
                                        </p:tgtEl>
                                      </p:cBhvr>
                                    </p:animEffect>
                                  </p:childTnLst>
                                </p:cTn>
                              </p:par>
                              <p:par>
                                <p:cTn id="28" presetID="42" presetClass="path" presetSubtype="0" accel="34000" decel="66000" fill="hold" grpId="1" nodeType="withEffect">
                                  <p:stCondLst>
                                    <p:cond delay="0"/>
                                  </p:stCondLst>
                                  <p:childTnLst>
                                    <p:animMotion origin="layout" path="M -0.12433 0.00295 L -2.40745E-6 3.61779E-6 " pathEditMode="relative" rAng="0" ptsTypes="AA">
                                      <p:cBhvr>
                                        <p:cTn id="29" dur="1000" fill="hold"/>
                                        <p:tgtEl>
                                          <p:spTgt spid="60"/>
                                        </p:tgtEl>
                                        <p:attrNameLst>
                                          <p:attrName>ppt_x</p:attrName>
                                          <p:attrName>ppt_y</p:attrName>
                                        </p:attrNameLst>
                                      </p:cBhvr>
                                      <p:rCtr x="6216" y="-159"/>
                                    </p:animMotion>
                                  </p:childTnLst>
                                </p:cTn>
                              </p:par>
                              <p:par>
                                <p:cTn id="30" presetID="42" presetClass="path" presetSubtype="0" accel="34000" decel="66000" fill="hold" grpId="1" nodeType="withEffect">
                                  <p:stCondLst>
                                    <p:cond delay="0"/>
                                  </p:stCondLst>
                                  <p:childTnLst>
                                    <p:animMotion origin="layout" path="M -0.12037 0.01203 L 4.70258E-6 3.09578E-6 " pathEditMode="relative" rAng="0" ptsTypes="AA">
                                      <p:cBhvr>
                                        <p:cTn id="31" dur="1000" fill="hold"/>
                                        <p:tgtEl>
                                          <p:spTgt spid="2"/>
                                        </p:tgtEl>
                                        <p:attrNameLst>
                                          <p:attrName>ppt_x</p:attrName>
                                          <p:attrName>ppt_y</p:attrName>
                                        </p:attrNameLst>
                                      </p:cBhvr>
                                      <p:rCtr x="5936" y="-545"/>
                                    </p:animMotion>
                                  </p:childTnLst>
                                </p:cTn>
                              </p:par>
                            </p:childTnLst>
                          </p:cTn>
                        </p:par>
                        <p:par>
                          <p:cTn id="32" fill="hold">
                            <p:stCondLst>
                              <p:cond delay="1500"/>
                            </p:stCondLst>
                            <p:childTnLst>
                              <p:par>
                                <p:cTn id="33" presetID="10" presetClass="entr" presetSubtype="0" fill="hold" grpId="0" nodeType="after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500"/>
                                        <p:tgtEl>
                                          <p:spTgt spid="26"/>
                                        </p:tgtEl>
                                      </p:cBhvr>
                                    </p:animEffect>
                                  </p:childTnLst>
                                </p:cTn>
                              </p:par>
                            </p:childTnLst>
                          </p:cTn>
                        </p:par>
                        <p:par>
                          <p:cTn id="36" fill="hold">
                            <p:stCondLst>
                              <p:cond delay="2000"/>
                            </p:stCondLst>
                            <p:childTnLst>
                              <p:par>
                                <p:cTn id="37" presetID="16" presetClass="entr" presetSubtype="42" fill="hold" grpId="0" nodeType="afterEffect">
                                  <p:stCondLst>
                                    <p:cond delay="0"/>
                                  </p:stCondLst>
                                  <p:childTnLst>
                                    <p:set>
                                      <p:cBhvr>
                                        <p:cTn id="38" dur="1" fill="hold">
                                          <p:stCondLst>
                                            <p:cond delay="0"/>
                                          </p:stCondLst>
                                        </p:cTn>
                                        <p:tgtEl>
                                          <p:spTgt spid="36"/>
                                        </p:tgtEl>
                                        <p:attrNameLst>
                                          <p:attrName>style.visibility</p:attrName>
                                        </p:attrNameLst>
                                      </p:cBhvr>
                                      <p:to>
                                        <p:strVal val="visible"/>
                                      </p:to>
                                    </p:set>
                                    <p:animEffect transition="in" filter="barn(outHorizontal)">
                                      <p:cBhvr>
                                        <p:cTn id="39" dur="500"/>
                                        <p:tgtEl>
                                          <p:spTgt spid="36"/>
                                        </p:tgtEl>
                                      </p:cBhvr>
                                    </p:animEffect>
                                  </p:childTnLst>
                                </p:cTn>
                              </p:par>
                            </p:childTnLst>
                          </p:cTn>
                        </p:par>
                        <p:par>
                          <p:cTn id="40" fill="hold">
                            <p:stCondLst>
                              <p:cond delay="2500"/>
                            </p:stCondLst>
                            <p:childTnLst>
                              <p:par>
                                <p:cTn id="41" presetID="10" presetClass="entr" presetSubtype="0" fill="hold" nodeType="afterEffect">
                                  <p:stCondLst>
                                    <p:cond delay="0"/>
                                  </p:stCondLst>
                                  <p:childTnLst>
                                    <p:set>
                                      <p:cBhvr>
                                        <p:cTn id="42" dur="1" fill="hold">
                                          <p:stCondLst>
                                            <p:cond delay="0"/>
                                          </p:stCondLst>
                                        </p:cTn>
                                        <p:tgtEl>
                                          <p:spTgt spid="4"/>
                                        </p:tgtEl>
                                        <p:attrNameLst>
                                          <p:attrName>style.visibility</p:attrName>
                                        </p:attrNameLst>
                                      </p:cBhvr>
                                      <p:to>
                                        <p:strVal val="visible"/>
                                      </p:to>
                                    </p:set>
                                    <p:animEffect transition="in" filter="fade">
                                      <p:cBhvr>
                                        <p:cTn id="43" dur="500"/>
                                        <p:tgtEl>
                                          <p:spTgt spid="4"/>
                                        </p:tgtEl>
                                      </p:cBhvr>
                                    </p:animEffect>
                                  </p:childTnLst>
                                </p:cTn>
                              </p:par>
                            </p:childTnLst>
                          </p:cTn>
                        </p:par>
                        <p:par>
                          <p:cTn id="44" fill="hold">
                            <p:stCondLst>
                              <p:cond delay="3000"/>
                            </p:stCondLst>
                            <p:childTnLst>
                              <p:par>
                                <p:cTn id="45" presetID="16" presetClass="entr" presetSubtype="26" fill="hold" grpId="0" nodeType="afterEffect">
                                  <p:stCondLst>
                                    <p:cond delay="0"/>
                                  </p:stCondLst>
                                  <p:childTnLst>
                                    <p:set>
                                      <p:cBhvr>
                                        <p:cTn id="46" dur="1" fill="hold">
                                          <p:stCondLst>
                                            <p:cond delay="0"/>
                                          </p:stCondLst>
                                        </p:cTn>
                                        <p:tgtEl>
                                          <p:spTgt spid="37"/>
                                        </p:tgtEl>
                                        <p:attrNameLst>
                                          <p:attrName>style.visibility</p:attrName>
                                        </p:attrNameLst>
                                      </p:cBhvr>
                                      <p:to>
                                        <p:strVal val="visible"/>
                                      </p:to>
                                    </p:set>
                                    <p:animEffect transition="in" filter="barn(inHorizontal)">
                                      <p:cBhvr>
                                        <p:cTn id="47" dur="500"/>
                                        <p:tgtEl>
                                          <p:spTgt spid="37"/>
                                        </p:tgtEl>
                                      </p:cBhvr>
                                    </p:animEffect>
                                  </p:childTnLst>
                                </p:cTn>
                              </p:par>
                            </p:childTnLst>
                          </p:cTn>
                        </p:par>
                        <p:par>
                          <p:cTn id="48" fill="hold">
                            <p:stCondLst>
                              <p:cond delay="3500"/>
                            </p:stCondLst>
                            <p:childTnLst>
                              <p:par>
                                <p:cTn id="49" presetID="10" presetClass="entr" presetSubtype="0" fill="hold" grpId="0" nodeType="afterEffect">
                                  <p:stCondLst>
                                    <p:cond delay="0"/>
                                  </p:stCondLst>
                                  <p:childTnLst>
                                    <p:set>
                                      <p:cBhvr>
                                        <p:cTn id="50" dur="1" fill="hold">
                                          <p:stCondLst>
                                            <p:cond delay="0"/>
                                          </p:stCondLst>
                                        </p:cTn>
                                        <p:tgtEl>
                                          <p:spTgt spid="24"/>
                                        </p:tgtEl>
                                        <p:attrNameLst>
                                          <p:attrName>style.visibility</p:attrName>
                                        </p:attrNameLst>
                                      </p:cBhvr>
                                      <p:to>
                                        <p:strVal val="visible"/>
                                      </p:to>
                                    </p:set>
                                    <p:animEffect transition="in" filter="fade">
                                      <p:cBhvr>
                                        <p:cTn id="51" dur="500"/>
                                        <p:tgtEl>
                                          <p:spTgt spid="24"/>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7"/>
                                        </p:tgtEl>
                                        <p:attrNameLst>
                                          <p:attrName>style.visibility</p:attrName>
                                        </p:attrNameLst>
                                      </p:cBhvr>
                                      <p:to>
                                        <p:strVal val="visible"/>
                                      </p:to>
                                    </p:set>
                                    <p:animEffect transition="in" filter="fade">
                                      <p:cBhvr>
                                        <p:cTn id="54" dur="500"/>
                                        <p:tgtEl>
                                          <p:spTgt spid="17"/>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29"/>
                                        </p:tgtEl>
                                        <p:attrNameLst>
                                          <p:attrName>style.visibility</p:attrName>
                                        </p:attrNameLst>
                                      </p:cBhvr>
                                      <p:to>
                                        <p:strVal val="visible"/>
                                      </p:to>
                                    </p:set>
                                    <p:animEffect transition="in" filter="fade">
                                      <p:cBhvr>
                                        <p:cTn id="5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3" grpId="0"/>
      <p:bldP spid="22" grpId="0"/>
      <p:bldP spid="28678" grpId="0"/>
      <p:bldP spid="17" grpId="0"/>
      <p:bldP spid="24" grpId="0" animBg="1"/>
      <p:bldP spid="36" grpId="0" animBg="1"/>
      <p:bldP spid="26" grpId="0" animBg="1"/>
      <p:bldP spid="37" grpId="0" animBg="1"/>
      <p:bldP spid="2" grpId="0" animBg="1"/>
      <p:bldP spid="2" grpId="1" animBg="1"/>
      <p:bldP spid="60" grpId="0" animBg="1"/>
      <p:bldP spid="60" grpId="1" animBg="1"/>
      <p:bldP spid="29"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p:cNvGraphicFramePr>
            <a:graphicFrameLocks noChangeAspect="1"/>
          </p:cNvGraphicFramePr>
          <p:nvPr>
            <p:custDataLst>
              <p:tags r:id="rId2"/>
            </p:custDataLst>
            <p:extLst/>
          </p:nvPr>
        </p:nvGraphicFramePr>
        <p:xfrm>
          <a:off x="4235" y="3077"/>
          <a:ext cx="1587" cy="1587"/>
        </p:xfrm>
        <a:graphic>
          <a:graphicData uri="http://schemas.openxmlformats.org/presentationml/2006/ole">
            <mc:AlternateContent xmlns:mc="http://schemas.openxmlformats.org/markup-compatibility/2006">
              <mc:Choice xmlns:v="urn:schemas-microsoft-com:vml" Requires="v">
                <p:oleObj spid="_x0000_s33880" name="think-cell Slide" r:id="rId5" imgW="270" imgH="270" progId="TCLayout.ActiveDocument.1">
                  <p:embed/>
                </p:oleObj>
              </mc:Choice>
              <mc:Fallback>
                <p:oleObj name="think-cell Slide" r:id="rId5" imgW="270" imgH="270" progId="TCLayout.ActiveDocument.1">
                  <p:embed/>
                  <p:pic>
                    <p:nvPicPr>
                      <p:cNvPr id="26" name="Object 25"/>
                      <p:cNvPicPr/>
                      <p:nvPr/>
                    </p:nvPicPr>
                    <p:blipFill>
                      <a:blip r:embed="rId6"/>
                      <a:stretch>
                        <a:fillRect/>
                      </a:stretch>
                    </p:blipFill>
                    <p:spPr>
                      <a:xfrm>
                        <a:off x="4235" y="3077"/>
                        <a:ext cx="1587" cy="1587"/>
                      </a:xfrm>
                      <a:prstGeom prst="rect">
                        <a:avLst/>
                      </a:prstGeom>
                    </p:spPr>
                  </p:pic>
                </p:oleObj>
              </mc:Fallback>
            </mc:AlternateContent>
          </a:graphicData>
        </a:graphic>
      </p:graphicFrame>
      <p:sp>
        <p:nvSpPr>
          <p:cNvPr id="55" name="Title 2"/>
          <p:cNvSpPr txBox="1">
            <a:spLocks/>
          </p:cNvSpPr>
          <p:nvPr/>
        </p:nvSpPr>
        <p:spPr>
          <a:xfrm>
            <a:off x="283291" y="163667"/>
            <a:ext cx="11885514" cy="946413"/>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solidFill>
                  <a:schemeClr val="bg2">
                    <a:lumMod val="10000"/>
                  </a:schemeClr>
                </a:solidFill>
              </a:rPr>
              <a:t>Deploy quickly with a hybrid solution</a:t>
            </a:r>
          </a:p>
        </p:txBody>
      </p:sp>
      <p:sp>
        <p:nvSpPr>
          <p:cNvPr id="60" name="Rectangle 59"/>
          <p:cNvSpPr/>
          <p:nvPr/>
        </p:nvSpPr>
        <p:spPr bwMode="auto">
          <a:xfrm>
            <a:off x="8788" y="1131502"/>
            <a:ext cx="12430652" cy="5311774"/>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w="0"/>
              <a:solidFill>
                <a:srgbClr val="000000"/>
              </a:solidFill>
              <a:effectLst>
                <a:outerShdw blurRad="38100" dist="19050" dir="2700000" algn="tl" rotWithShape="0">
                  <a:srgbClr val="000000">
                    <a:alpha val="40000"/>
                  </a:srgbClr>
                </a:outerShdw>
              </a:effectLst>
              <a:uLnTx/>
              <a:uFillTx/>
              <a:latin typeface="Segoe UI Light"/>
              <a:ea typeface="Segoe UI" pitchFamily="34" charset="0"/>
              <a:cs typeface="Segoe UI" pitchFamily="34" charset="0"/>
            </a:endParaRPr>
          </a:p>
        </p:txBody>
      </p:sp>
      <p:cxnSp>
        <p:nvCxnSpPr>
          <p:cNvPr id="61" name="Straight Connector 60"/>
          <p:cNvCxnSpPr/>
          <p:nvPr/>
        </p:nvCxnSpPr>
        <p:spPr>
          <a:xfrm flipV="1">
            <a:off x="542410" y="4021523"/>
            <a:ext cx="6505386" cy="2371"/>
          </a:xfrm>
          <a:prstGeom prst="line">
            <a:avLst/>
          </a:prstGeom>
          <a:ln w="15875">
            <a:solidFill>
              <a:schemeClr val="tx1">
                <a:lumMod val="5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2" name="TextBox 61"/>
          <p:cNvSpPr txBox="1"/>
          <p:nvPr/>
        </p:nvSpPr>
        <p:spPr>
          <a:xfrm>
            <a:off x="2004925" y="5439532"/>
            <a:ext cx="1796562" cy="845781"/>
          </a:xfrm>
          <a:prstGeom prst="rect">
            <a:avLst/>
          </a:prstGeom>
          <a:noFill/>
        </p:spPr>
        <p:txBody>
          <a:bodyPr wrap="square" lIns="182802" tIns="146241" rIns="182802" bIns="146241" rtlCol="0" anchor="ctr">
            <a:noAutofit/>
          </a:bodyPr>
          <a:lstStyle/>
          <a:p>
            <a:pPr algn="ctr" defTabSz="931326" fontAlgn="base">
              <a:lnSpc>
                <a:spcPct val="90000"/>
              </a:lnSpc>
              <a:spcBef>
                <a:spcPct val="0"/>
              </a:spcBef>
              <a:spcAft>
                <a:spcPts val="600"/>
              </a:spcAft>
              <a:defRPr/>
            </a:pPr>
            <a:r>
              <a:rPr lang="en-US" sz="1399" kern="0" dirty="0">
                <a:solidFill>
                  <a:schemeClr val="bg2">
                    <a:lumMod val="10000"/>
                  </a:schemeClr>
                </a:solidFill>
                <a:latin typeface="Segoe UI Semibold" panose="020B0702040204020203" pitchFamily="34" charset="0"/>
                <a:ea typeface="MS PGothic" charset="0"/>
                <a:cs typeface="Segoe UI Semibold" panose="020B0702040204020203" pitchFamily="34" charset="0"/>
              </a:rPr>
              <a:t>SQL Server </a:t>
            </a:r>
            <a:br>
              <a:rPr lang="en-US" sz="1399" kern="0" dirty="0">
                <a:solidFill>
                  <a:schemeClr val="bg2">
                    <a:lumMod val="10000"/>
                  </a:schemeClr>
                </a:solidFill>
                <a:latin typeface="Segoe UI Semibold" panose="020B0702040204020203" pitchFamily="34" charset="0"/>
                <a:ea typeface="MS PGothic" charset="0"/>
                <a:cs typeface="Segoe UI Semibold" panose="020B0702040204020203" pitchFamily="34" charset="0"/>
              </a:rPr>
            </a:br>
            <a:r>
              <a:rPr lang="en-US" sz="1399" kern="0" dirty="0">
                <a:solidFill>
                  <a:schemeClr val="bg2">
                    <a:lumMod val="10000"/>
                  </a:schemeClr>
                </a:solidFill>
                <a:latin typeface="Segoe UI Semibold" panose="020B0702040204020203" pitchFamily="34" charset="0"/>
                <a:ea typeface="MS PGothic" charset="0"/>
                <a:cs typeface="Segoe UI Semibold" panose="020B0702040204020203" pitchFamily="34" charset="0"/>
              </a:rPr>
              <a:t>Analysis Services</a:t>
            </a:r>
          </a:p>
        </p:txBody>
      </p:sp>
      <p:sp>
        <p:nvSpPr>
          <p:cNvPr id="71" name="TextBox 70"/>
          <p:cNvSpPr txBox="1"/>
          <p:nvPr/>
        </p:nvSpPr>
        <p:spPr>
          <a:xfrm>
            <a:off x="-40200" y="1597243"/>
            <a:ext cx="2334211" cy="793195"/>
          </a:xfrm>
          <a:prstGeom prst="rect">
            <a:avLst/>
          </a:prstGeom>
          <a:noFill/>
        </p:spPr>
        <p:txBody>
          <a:bodyPr wrap="square" lIns="182802" tIns="146241" rIns="182802" bIns="146241" rtlCol="0">
            <a:noAutofit/>
          </a:bodyPr>
          <a:lstStyle/>
          <a:p>
            <a:pPr marL="342702" indent="-342702" defTabSz="931326" fontAlgn="base">
              <a:lnSpc>
                <a:spcPct val="90000"/>
              </a:lnSpc>
              <a:spcBef>
                <a:spcPct val="0"/>
              </a:spcBef>
              <a:spcAft>
                <a:spcPts val="600"/>
              </a:spcAft>
              <a:buFont typeface="Wingdings 3" panose="05040102010807070707" pitchFamily="18" charset="2"/>
              <a:buChar char="Æ"/>
              <a:defRPr/>
            </a:pPr>
            <a:endParaRPr lang="en-US" sz="2400" kern="0" dirty="0" err="1">
              <a:gradFill>
                <a:gsLst>
                  <a:gs pos="2917">
                    <a:srgbClr val="000000"/>
                  </a:gs>
                  <a:gs pos="30000">
                    <a:srgbClr val="000000"/>
                  </a:gs>
                </a:gsLst>
                <a:lin ang="5400000" scaled="0"/>
              </a:gradFill>
              <a:ea typeface="MS PGothic" charset="0"/>
            </a:endParaRPr>
          </a:p>
        </p:txBody>
      </p:sp>
      <p:sp>
        <p:nvSpPr>
          <p:cNvPr id="72" name="TextBox 71"/>
          <p:cNvSpPr txBox="1"/>
          <p:nvPr/>
        </p:nvSpPr>
        <p:spPr>
          <a:xfrm>
            <a:off x="-159649" y="1634994"/>
            <a:ext cx="2461654" cy="1330525"/>
          </a:xfrm>
          <a:prstGeom prst="rect">
            <a:avLst/>
          </a:prstGeom>
          <a:noFill/>
        </p:spPr>
        <p:txBody>
          <a:bodyPr wrap="square" lIns="182802" tIns="146241" rIns="182802" bIns="146241" rtlCol="0" anchor="ctr">
            <a:noAutofit/>
          </a:bodyPr>
          <a:lstStyle/>
          <a:p>
            <a:pPr algn="r" defTabSz="931326" fontAlgn="base">
              <a:lnSpc>
                <a:spcPct val="90000"/>
              </a:lnSpc>
              <a:spcBef>
                <a:spcPct val="0"/>
              </a:spcBef>
              <a:spcAft>
                <a:spcPts val="600"/>
              </a:spcAft>
              <a:defRPr/>
            </a:pPr>
            <a:r>
              <a:rPr lang="en-US" sz="1599" kern="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Live Power BI </a:t>
            </a:r>
            <a:br>
              <a:rPr lang="en-US" sz="1599" kern="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599" kern="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reports </a:t>
            </a:r>
            <a:br>
              <a:rPr lang="en-US" sz="1599" kern="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599" kern="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amp; dashboards</a:t>
            </a:r>
          </a:p>
        </p:txBody>
      </p:sp>
      <p:sp>
        <p:nvSpPr>
          <p:cNvPr id="74" name="Freeform 23"/>
          <p:cNvSpPr>
            <a:spLocks noEditPoints="1"/>
          </p:cNvSpPr>
          <p:nvPr/>
        </p:nvSpPr>
        <p:spPr bwMode="black">
          <a:xfrm>
            <a:off x="2623761" y="4986452"/>
            <a:ext cx="553081" cy="541002"/>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noFill/>
          <a:ln w="31750">
            <a:solidFill>
              <a:schemeClr val="tx1">
                <a:lumMod val="50000"/>
              </a:schemeClr>
            </a:solidFill>
          </a:ln>
        </p:spPr>
        <p:txBody>
          <a:bodyPr vert="horz" wrap="square" lIns="82270" tIns="41135" rIns="82270" bIns="41135" numCol="1" anchor="t" anchorCtr="0" compatLnSpc="1">
            <a:prstTxWarp prst="textNoShape">
              <a:avLst/>
            </a:prstTxWarp>
          </a:bodyPr>
          <a:lstStyle/>
          <a:p>
            <a:pPr defTabSz="932205">
              <a:defRPr/>
            </a:pPr>
            <a:endParaRPr lang="en-US" sz="1598" kern="0" dirty="0">
              <a:ln>
                <a:solidFill>
                  <a:srgbClr val="FFFFFF">
                    <a:alpha val="0"/>
                  </a:srgbClr>
                </a:solidFill>
              </a:ln>
              <a:solidFill>
                <a:srgbClr val="000000"/>
              </a:solidFill>
            </a:endParaRPr>
          </a:p>
        </p:txBody>
      </p:sp>
      <p:sp>
        <p:nvSpPr>
          <p:cNvPr id="76" name="Freeform 5"/>
          <p:cNvSpPr>
            <a:spLocks noEditPoints="1"/>
          </p:cNvSpPr>
          <p:nvPr/>
        </p:nvSpPr>
        <p:spPr bwMode="auto">
          <a:xfrm>
            <a:off x="4236341" y="4998766"/>
            <a:ext cx="508166" cy="543426"/>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noFill/>
          <a:ln w="31750">
            <a:solidFill>
              <a:schemeClr val="tx1">
                <a:lumMod val="50000"/>
              </a:schemeClr>
            </a:solidFill>
          </a:ln>
          <a:extLst/>
        </p:spPr>
        <p:txBody>
          <a:bodyPr vert="horz" wrap="square" lIns="89604" tIns="44801" rIns="89604" bIns="44801" numCol="1" anchor="t" anchorCtr="0" compatLnSpc="1">
            <a:prstTxWarp prst="textNoShape">
              <a:avLst/>
            </a:prstTxWarp>
          </a:bodyPr>
          <a:lstStyle/>
          <a:p>
            <a:pPr defTabSz="913841">
              <a:defRPr/>
            </a:pPr>
            <a:endParaRPr lang="en-US" sz="1764" kern="0">
              <a:solidFill>
                <a:srgbClr val="505050"/>
              </a:solidFill>
            </a:endParaRPr>
          </a:p>
        </p:txBody>
      </p:sp>
      <p:sp>
        <p:nvSpPr>
          <p:cNvPr id="77" name="TextBox 76"/>
          <p:cNvSpPr txBox="1"/>
          <p:nvPr/>
        </p:nvSpPr>
        <p:spPr>
          <a:xfrm>
            <a:off x="333147" y="3734579"/>
            <a:ext cx="1761095" cy="194999"/>
          </a:xfrm>
          <a:prstGeom prst="rect">
            <a:avLst/>
          </a:prstGeom>
          <a:noFill/>
        </p:spPr>
        <p:txBody>
          <a:bodyPr wrap="square" lIns="182854" tIns="146283" rIns="182854" bIns="146283" rtlCol="0" anchor="ctr">
            <a:noAutofit/>
          </a:bodyPr>
          <a:lstStyle/>
          <a:p>
            <a:pPr defTabSz="914224">
              <a:lnSpc>
                <a:spcPct val="90000"/>
              </a:lnSpc>
              <a:spcAft>
                <a:spcPts val="600"/>
              </a:spcAft>
              <a:defRPr/>
            </a:pPr>
            <a:r>
              <a:rPr lang="en-US" sz="1199" kern="0" dirty="0">
                <a:gradFill>
                  <a:gsLst>
                    <a:gs pos="2917">
                      <a:srgbClr val="000000"/>
                    </a:gs>
                    <a:gs pos="30000">
                      <a:srgbClr val="000000"/>
                    </a:gs>
                  </a:gsLst>
                  <a:lin ang="5400000" scaled="0"/>
                </a:gradFill>
              </a:rPr>
              <a:t>Cloud</a:t>
            </a:r>
          </a:p>
        </p:txBody>
      </p:sp>
      <p:sp>
        <p:nvSpPr>
          <p:cNvPr id="78" name="TextBox 77"/>
          <p:cNvSpPr txBox="1"/>
          <p:nvPr/>
        </p:nvSpPr>
        <p:spPr>
          <a:xfrm>
            <a:off x="325653" y="4080041"/>
            <a:ext cx="2324624" cy="441152"/>
          </a:xfrm>
          <a:prstGeom prst="rect">
            <a:avLst/>
          </a:prstGeom>
          <a:noFill/>
        </p:spPr>
        <p:txBody>
          <a:bodyPr wrap="square" lIns="182854" tIns="146283" rIns="182854" bIns="146283" rtlCol="0" anchor="ctr">
            <a:noAutofit/>
          </a:bodyPr>
          <a:lstStyle/>
          <a:p>
            <a:pPr defTabSz="914224">
              <a:lnSpc>
                <a:spcPct val="90000"/>
              </a:lnSpc>
              <a:spcAft>
                <a:spcPts val="600"/>
              </a:spcAft>
              <a:defRPr/>
            </a:pPr>
            <a:r>
              <a:rPr lang="en-US" sz="1199" kern="0" dirty="0">
                <a:gradFill>
                  <a:gsLst>
                    <a:gs pos="2917">
                      <a:srgbClr val="000000"/>
                    </a:gs>
                    <a:gs pos="30000">
                      <a:srgbClr val="000000"/>
                    </a:gs>
                  </a:gsLst>
                  <a:lin ang="5400000" scaled="0"/>
                </a:gradFill>
              </a:rPr>
              <a:t>On premises </a:t>
            </a:r>
            <a:br>
              <a:rPr lang="en-US" sz="1199" kern="0" dirty="0">
                <a:gradFill>
                  <a:gsLst>
                    <a:gs pos="2917">
                      <a:srgbClr val="000000"/>
                    </a:gs>
                    <a:gs pos="30000">
                      <a:srgbClr val="000000"/>
                    </a:gs>
                  </a:gsLst>
                  <a:lin ang="5400000" scaled="0"/>
                </a:gradFill>
              </a:rPr>
            </a:br>
            <a:r>
              <a:rPr lang="en-US" sz="1199" kern="0" dirty="0">
                <a:gradFill>
                  <a:gsLst>
                    <a:gs pos="2917">
                      <a:srgbClr val="000000"/>
                    </a:gs>
                    <a:gs pos="30000">
                      <a:srgbClr val="000000"/>
                    </a:gs>
                  </a:gsLst>
                  <a:lin ang="5400000" scaled="0"/>
                </a:gradFill>
              </a:rPr>
              <a:t>or Hosted data</a:t>
            </a:r>
          </a:p>
        </p:txBody>
      </p:sp>
      <p:sp>
        <p:nvSpPr>
          <p:cNvPr id="79" name="TextBox 78"/>
          <p:cNvSpPr txBox="1"/>
          <p:nvPr/>
        </p:nvSpPr>
        <p:spPr>
          <a:xfrm>
            <a:off x="2989743" y="5354245"/>
            <a:ext cx="3059610" cy="845781"/>
          </a:xfrm>
          <a:prstGeom prst="rect">
            <a:avLst/>
          </a:prstGeom>
          <a:noFill/>
        </p:spPr>
        <p:txBody>
          <a:bodyPr wrap="square" lIns="182802" tIns="146241" rIns="182802" bIns="146241" rtlCol="0" anchor="ctr">
            <a:noAutofit/>
          </a:bodyPr>
          <a:lstStyle/>
          <a:p>
            <a:pPr algn="ctr" defTabSz="931326" fontAlgn="base">
              <a:lnSpc>
                <a:spcPct val="90000"/>
              </a:lnSpc>
              <a:spcBef>
                <a:spcPct val="0"/>
              </a:spcBef>
              <a:spcAft>
                <a:spcPts val="600"/>
              </a:spcAft>
              <a:defRPr/>
            </a:pPr>
            <a:r>
              <a:rPr lang="en-US" sz="1399" kern="0" dirty="0">
                <a:solidFill>
                  <a:schemeClr val="bg2">
                    <a:lumMod val="10000"/>
                  </a:schemeClr>
                </a:solidFill>
                <a:latin typeface="Segoe UI Semibold" panose="020B0702040204020203" pitchFamily="34" charset="0"/>
                <a:ea typeface="MS PGothic" charset="0"/>
                <a:cs typeface="Segoe UI Semibold" panose="020B0702040204020203" pitchFamily="34" charset="0"/>
              </a:rPr>
              <a:t>Data Source</a:t>
            </a:r>
          </a:p>
        </p:txBody>
      </p:sp>
      <p:sp>
        <p:nvSpPr>
          <p:cNvPr id="81" name="Freeform 5"/>
          <p:cNvSpPr>
            <a:spLocks noEditPoints="1"/>
          </p:cNvSpPr>
          <p:nvPr/>
        </p:nvSpPr>
        <p:spPr bwMode="auto">
          <a:xfrm>
            <a:off x="4296680" y="4439193"/>
            <a:ext cx="387489" cy="387637"/>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chemeClr val="bg2">
              <a:lumMod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809016" lvl="1" indent="-342702" algn="ctr" defTabSz="931935">
              <a:lnSpc>
                <a:spcPct val="90000"/>
              </a:lnSpc>
              <a:buFont typeface="Wingdings 3" panose="05040102010807070707" pitchFamily="18" charset="2"/>
              <a:buChar char="Æ"/>
              <a:defRPr/>
            </a:pPr>
            <a:endParaRPr lang="en-US" sz="2000" b="1" kern="0" dirty="0">
              <a:solidFill>
                <a:srgbClr val="FFFFFF"/>
              </a:solidFill>
              <a:latin typeface="Segoe UI Light"/>
              <a:ea typeface="Segoe UI" pitchFamily="34" charset="0"/>
              <a:cs typeface="Segoe UI" pitchFamily="34" charset="0"/>
            </a:endParaRPr>
          </a:p>
        </p:txBody>
      </p:sp>
      <p:sp>
        <p:nvSpPr>
          <p:cNvPr id="83" name="Freeform 5"/>
          <p:cNvSpPr>
            <a:spLocks noEditPoints="1"/>
          </p:cNvSpPr>
          <p:nvPr/>
        </p:nvSpPr>
        <p:spPr bwMode="auto">
          <a:xfrm>
            <a:off x="2720791" y="4429230"/>
            <a:ext cx="387489" cy="387637"/>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chemeClr val="bg2">
              <a:lumMod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84" name="Rectangle 83"/>
          <p:cNvSpPr/>
          <p:nvPr/>
        </p:nvSpPr>
        <p:spPr bwMode="auto">
          <a:xfrm>
            <a:off x="8441197" y="2746930"/>
            <a:ext cx="4150152" cy="213131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45700" rIns="0" bIns="45700" numCol="1" spcCol="0" rtlCol="0" fromWordArt="0" anchor="t" anchorCtr="0" forceAA="0" compatLnSpc="1">
            <a:prstTxWarp prst="textNoShape">
              <a:avLst/>
            </a:prstTxWarp>
            <a:spAutoFit/>
          </a:bodyPr>
          <a:lstStyle/>
          <a:p>
            <a:pPr marL="53954" defTabSz="931597" fontAlgn="base">
              <a:lnSpc>
                <a:spcPts val="2100"/>
              </a:lnSpc>
              <a:spcAft>
                <a:spcPts val="600"/>
              </a:spcAft>
              <a:buClr>
                <a:srgbClr val="FFFFFF"/>
              </a:buClr>
              <a:defRPr/>
            </a:pPr>
            <a:r>
              <a:rPr lang="en-US" sz="1600" kern="0" dirty="0">
                <a:ln>
                  <a:solidFill>
                    <a:srgbClr val="FFFFFF">
                      <a:alpha val="0"/>
                    </a:srgbClr>
                  </a:solidFill>
                </a:ln>
                <a:solidFill>
                  <a:schemeClr val="tx2">
                    <a:lumMod val="10000"/>
                  </a:schemeClr>
                </a:solidFill>
                <a:latin typeface="Segoe UI"/>
                <a:ea typeface="Segoe UI" pitchFamily="34" charset="0"/>
                <a:cs typeface="Segoe UI" pitchFamily="34" charset="0"/>
              </a:rPr>
              <a:t>Scheduled refresh</a:t>
            </a:r>
            <a:br>
              <a:rPr lang="en-US" sz="1800" kern="0" dirty="0">
                <a:ln>
                  <a:solidFill>
                    <a:srgbClr val="FFFFFF">
                      <a:alpha val="0"/>
                    </a:srgbClr>
                  </a:solidFill>
                </a:ln>
                <a:solidFill>
                  <a:schemeClr val="tx2">
                    <a:lumMod val="10000"/>
                  </a:schemeClr>
                </a:solidFill>
                <a:latin typeface="Segoe UI"/>
                <a:ea typeface="Segoe UI" pitchFamily="34" charset="0"/>
                <a:cs typeface="Segoe UI" pitchFamily="34" charset="0"/>
              </a:rPr>
            </a:br>
            <a:br>
              <a:rPr lang="en-US" sz="1600" kern="0" dirty="0">
                <a:ln>
                  <a:solidFill>
                    <a:srgbClr val="FFFFFF">
                      <a:alpha val="0"/>
                    </a:srgbClr>
                  </a:solidFill>
                </a:ln>
                <a:solidFill>
                  <a:schemeClr val="tx2">
                    <a:lumMod val="10000"/>
                  </a:schemeClr>
                </a:solidFill>
                <a:latin typeface="Segoe UI"/>
                <a:ea typeface="Segoe UI" pitchFamily="34" charset="0"/>
                <a:cs typeface="Segoe UI" pitchFamily="34" charset="0"/>
              </a:rPr>
            </a:br>
            <a:r>
              <a:rPr lang="en-US" sz="1600" kern="0" dirty="0">
                <a:ln>
                  <a:solidFill>
                    <a:srgbClr val="FFFFFF">
                      <a:alpha val="0"/>
                    </a:srgbClr>
                  </a:solidFill>
                </a:ln>
                <a:solidFill>
                  <a:schemeClr val="tx2">
                    <a:lumMod val="10000"/>
                  </a:schemeClr>
                </a:solidFill>
                <a:latin typeface="Segoe UI"/>
                <a:ea typeface="Segoe UI" pitchFamily="34" charset="0"/>
                <a:cs typeface="Segoe UI" pitchFamily="34" charset="0"/>
              </a:rPr>
              <a:t>Live connection</a:t>
            </a:r>
            <a:br>
              <a:rPr lang="en-US" sz="2000" kern="0" dirty="0">
                <a:ln>
                  <a:solidFill>
                    <a:srgbClr val="FFFFFF">
                      <a:alpha val="0"/>
                    </a:srgbClr>
                  </a:solidFill>
                </a:ln>
                <a:solidFill>
                  <a:schemeClr val="tx2">
                    <a:lumMod val="10000"/>
                  </a:schemeClr>
                </a:solidFill>
                <a:latin typeface="Segoe UI"/>
                <a:ea typeface="Segoe UI" pitchFamily="34" charset="0"/>
                <a:cs typeface="Segoe UI" pitchFamily="34" charset="0"/>
              </a:rPr>
            </a:br>
            <a:endParaRPr lang="en-US" sz="2000" kern="0" dirty="0">
              <a:ln>
                <a:solidFill>
                  <a:srgbClr val="FFFFFF">
                    <a:alpha val="0"/>
                  </a:srgbClr>
                </a:solidFill>
              </a:ln>
              <a:solidFill>
                <a:schemeClr val="tx2">
                  <a:lumMod val="10000"/>
                </a:schemeClr>
              </a:solidFill>
              <a:latin typeface="Segoe UI"/>
              <a:ea typeface="Segoe UI" pitchFamily="34" charset="0"/>
              <a:cs typeface="Segoe UI" pitchFamily="34" charset="0"/>
            </a:endParaRPr>
          </a:p>
          <a:p>
            <a:pPr marL="53954" defTabSz="931597" fontAlgn="base">
              <a:lnSpc>
                <a:spcPts val="2100"/>
              </a:lnSpc>
              <a:spcAft>
                <a:spcPts val="600"/>
              </a:spcAft>
              <a:buClr>
                <a:srgbClr val="FFFFFF"/>
              </a:buClr>
              <a:defRPr/>
            </a:pPr>
            <a:br>
              <a:rPr lang="en-US" sz="2000" kern="0" dirty="0">
                <a:ln>
                  <a:solidFill>
                    <a:srgbClr val="FFFFFF">
                      <a:alpha val="0"/>
                    </a:srgbClr>
                  </a:solidFill>
                </a:ln>
                <a:solidFill>
                  <a:schemeClr val="tx2">
                    <a:lumMod val="10000"/>
                  </a:schemeClr>
                </a:solidFill>
                <a:latin typeface="Segoe UI"/>
                <a:ea typeface="Segoe UI" pitchFamily="34" charset="0"/>
                <a:cs typeface="Segoe UI" pitchFamily="34" charset="0"/>
              </a:rPr>
            </a:br>
            <a:endParaRPr lang="en-US" sz="2000" kern="0" dirty="0">
              <a:ln>
                <a:solidFill>
                  <a:srgbClr val="FFFFFF">
                    <a:alpha val="0"/>
                  </a:srgbClr>
                </a:solidFill>
              </a:ln>
              <a:solidFill>
                <a:schemeClr val="tx2">
                  <a:lumMod val="10000"/>
                </a:schemeClr>
              </a:solidFill>
              <a:latin typeface="Segoe UI"/>
              <a:ea typeface="Segoe UI" pitchFamily="34" charset="0"/>
              <a:cs typeface="Segoe UI" pitchFamily="34" charset="0"/>
            </a:endParaRPr>
          </a:p>
          <a:p>
            <a:pPr marL="53954" defTabSz="931597" fontAlgn="base">
              <a:lnSpc>
                <a:spcPts val="2100"/>
              </a:lnSpc>
              <a:spcAft>
                <a:spcPts val="600"/>
              </a:spcAft>
              <a:buClr>
                <a:srgbClr val="FFFFFF"/>
              </a:buClr>
              <a:defRPr/>
            </a:pPr>
            <a:r>
              <a:rPr lang="en-US" sz="1600" kern="0" dirty="0">
                <a:ln>
                  <a:solidFill>
                    <a:srgbClr val="FFFFFF">
                      <a:alpha val="0"/>
                    </a:srgbClr>
                  </a:solidFill>
                </a:ln>
                <a:solidFill>
                  <a:schemeClr val="tx2">
                    <a:lumMod val="10000"/>
                  </a:schemeClr>
                </a:solidFill>
                <a:latin typeface="Segoe UI"/>
                <a:ea typeface="Segoe UI" pitchFamily="34" charset="0"/>
                <a:cs typeface="Segoe UI" pitchFamily="34" charset="0"/>
              </a:rPr>
              <a:t>Tabular and multidimensional</a:t>
            </a:r>
          </a:p>
        </p:txBody>
      </p:sp>
      <p:grpSp>
        <p:nvGrpSpPr>
          <p:cNvPr id="88" name="Group 87"/>
          <p:cNvGrpSpPr/>
          <p:nvPr/>
        </p:nvGrpSpPr>
        <p:grpSpPr>
          <a:xfrm>
            <a:off x="8043015" y="2738891"/>
            <a:ext cx="384467" cy="384467"/>
            <a:chOff x="8431377" y="-766784"/>
            <a:chExt cx="457200" cy="457200"/>
          </a:xfrm>
          <a:solidFill>
            <a:schemeClr val="bg2">
              <a:lumMod val="10000"/>
            </a:schemeClr>
          </a:solidFill>
        </p:grpSpPr>
        <p:sp>
          <p:nvSpPr>
            <p:cNvPr id="89"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kern="0" dirty="0">
                <a:solidFill>
                  <a:srgbClr val="505050"/>
                </a:solidFill>
              </a:endParaRPr>
            </a:p>
          </p:txBody>
        </p:sp>
        <p:sp>
          <p:nvSpPr>
            <p:cNvPr id="90"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kern="0" dirty="0">
                <a:solidFill>
                  <a:srgbClr val="505050"/>
                </a:solidFill>
              </a:endParaRPr>
            </a:p>
          </p:txBody>
        </p:sp>
      </p:grpSp>
      <p:sp>
        <p:nvSpPr>
          <p:cNvPr id="4" name="Rectangle 3"/>
          <p:cNvSpPr/>
          <p:nvPr/>
        </p:nvSpPr>
        <p:spPr>
          <a:xfrm>
            <a:off x="7889780" y="2027522"/>
            <a:ext cx="6216650" cy="900246"/>
          </a:xfrm>
          <a:prstGeom prst="rect">
            <a:avLst/>
          </a:prstGeom>
        </p:spPr>
        <p:txBody>
          <a:bodyPr>
            <a:spAutoFit/>
          </a:bodyPr>
          <a:lstStyle/>
          <a:p>
            <a:pPr marL="53954" defTabSz="931597" fontAlgn="base">
              <a:lnSpc>
                <a:spcPts val="2100"/>
              </a:lnSpc>
              <a:spcAft>
                <a:spcPts val="500"/>
              </a:spcAft>
              <a:buClr>
                <a:srgbClr val="FFFFFF"/>
              </a:buClr>
              <a:defRPr/>
            </a:pPr>
            <a:r>
              <a:rPr lang="en-US" sz="2000" kern="0" dirty="0">
                <a:ln>
                  <a:solidFill>
                    <a:srgbClr val="FFFFFF">
                      <a:alpha val="0"/>
                    </a:srgbClr>
                  </a:solidFill>
                </a:ln>
                <a:solidFill>
                  <a:schemeClr val="tx2">
                    <a:lumMod val="10000"/>
                  </a:schemeClr>
                </a:solidFill>
                <a:latin typeface="Segoe UI Semibold" panose="020B0702040204020203" pitchFamily="34" charset="0"/>
                <a:ea typeface="Segoe UI" pitchFamily="34" charset="0"/>
                <a:cs typeface="Segoe UI Semibold" panose="020B0702040204020203" pitchFamily="34" charset="0"/>
              </a:rPr>
              <a:t>Access on-premises data </a:t>
            </a:r>
            <a:br>
              <a:rPr lang="en-US" sz="2000" kern="0" dirty="0">
                <a:ln>
                  <a:solidFill>
                    <a:srgbClr val="FFFFFF">
                      <a:alpha val="0"/>
                    </a:srgbClr>
                  </a:solidFill>
                </a:ln>
                <a:solidFill>
                  <a:schemeClr val="tx2">
                    <a:lumMod val="10000"/>
                  </a:schemeClr>
                </a:solidFill>
                <a:latin typeface="Segoe UI Semibold" panose="020B0702040204020203" pitchFamily="34" charset="0"/>
                <a:ea typeface="Segoe UI" pitchFamily="34" charset="0"/>
                <a:cs typeface="Segoe UI Semibold" panose="020B0702040204020203" pitchFamily="34" charset="0"/>
              </a:rPr>
            </a:br>
            <a:r>
              <a:rPr lang="en-US" sz="2000" kern="0" dirty="0">
                <a:ln>
                  <a:solidFill>
                    <a:srgbClr val="FFFFFF">
                      <a:alpha val="0"/>
                    </a:srgbClr>
                  </a:solidFill>
                </a:ln>
                <a:solidFill>
                  <a:schemeClr val="tx2">
                    <a:lumMod val="10000"/>
                  </a:schemeClr>
                </a:solidFill>
                <a:latin typeface="Segoe UI Semibold" panose="020B0702040204020203" pitchFamily="34" charset="0"/>
                <a:ea typeface="Segoe UI" pitchFamily="34" charset="0"/>
                <a:cs typeface="Segoe UI Semibold" panose="020B0702040204020203" pitchFamily="34" charset="0"/>
              </a:rPr>
              <a:t>any way you like</a:t>
            </a:r>
            <a:br>
              <a:rPr lang="en-US" sz="1800" kern="0" dirty="0">
                <a:ln>
                  <a:solidFill>
                    <a:srgbClr val="FFFFFF">
                      <a:alpha val="0"/>
                    </a:srgbClr>
                  </a:solidFill>
                </a:ln>
                <a:solidFill>
                  <a:schemeClr val="tx2">
                    <a:lumMod val="10000"/>
                  </a:schemeClr>
                </a:solidFill>
                <a:ea typeface="Segoe UI" pitchFamily="34" charset="0"/>
                <a:cs typeface="Segoe UI" pitchFamily="34" charset="0"/>
              </a:rPr>
            </a:br>
            <a:endParaRPr lang="en-US" sz="1800" kern="0" dirty="0">
              <a:ln>
                <a:solidFill>
                  <a:srgbClr val="FFFFFF">
                    <a:alpha val="0"/>
                  </a:srgbClr>
                </a:solidFill>
              </a:ln>
              <a:solidFill>
                <a:schemeClr val="tx2">
                  <a:lumMod val="10000"/>
                </a:schemeClr>
              </a:solidFill>
              <a:ea typeface="Segoe UI" pitchFamily="34" charset="0"/>
              <a:cs typeface="Segoe UI" pitchFamily="34" charset="0"/>
            </a:endParaRPr>
          </a:p>
        </p:txBody>
      </p:sp>
      <p:sp>
        <p:nvSpPr>
          <p:cNvPr id="5" name="Rectangle 4"/>
          <p:cNvSpPr/>
          <p:nvPr/>
        </p:nvSpPr>
        <p:spPr>
          <a:xfrm>
            <a:off x="7913902" y="3782160"/>
            <a:ext cx="6216650" cy="707886"/>
          </a:xfrm>
          <a:prstGeom prst="rect">
            <a:avLst/>
          </a:prstGeom>
        </p:spPr>
        <p:txBody>
          <a:bodyPr>
            <a:spAutoFit/>
          </a:bodyPr>
          <a:lstStyle/>
          <a:p>
            <a:pPr marL="53954" defTabSz="931597" fontAlgn="base">
              <a:lnSpc>
                <a:spcPts val="2100"/>
              </a:lnSpc>
              <a:spcAft>
                <a:spcPts val="600"/>
              </a:spcAft>
              <a:buClr>
                <a:srgbClr val="FFFFFF"/>
              </a:buClr>
              <a:defRPr/>
            </a:pPr>
            <a:r>
              <a:rPr lang="en-US" sz="2000" kern="0" dirty="0">
                <a:ln>
                  <a:solidFill>
                    <a:srgbClr val="FFFFFF">
                      <a:alpha val="0"/>
                    </a:srgbClr>
                  </a:solidFill>
                </a:ln>
                <a:solidFill>
                  <a:schemeClr val="tx2">
                    <a:lumMod val="10000"/>
                  </a:schemeClr>
                </a:solidFill>
                <a:latin typeface="Segoe UI Semibold" panose="020B0702040204020203" pitchFamily="34" charset="0"/>
                <a:ea typeface="Segoe UI" pitchFamily="34" charset="0"/>
                <a:cs typeface="Segoe UI Semibold" panose="020B0702040204020203" pitchFamily="34" charset="0"/>
              </a:rPr>
              <a:t>Connect to on-premises SQL </a:t>
            </a:r>
          </a:p>
          <a:p>
            <a:pPr marL="53954" defTabSz="931597" fontAlgn="base">
              <a:lnSpc>
                <a:spcPts val="2100"/>
              </a:lnSpc>
              <a:spcAft>
                <a:spcPts val="600"/>
              </a:spcAft>
              <a:buClr>
                <a:srgbClr val="FFFFFF"/>
              </a:buClr>
              <a:defRPr/>
            </a:pPr>
            <a:r>
              <a:rPr lang="en-US" sz="2000" kern="0" dirty="0">
                <a:ln>
                  <a:solidFill>
                    <a:srgbClr val="FFFFFF">
                      <a:alpha val="0"/>
                    </a:srgbClr>
                  </a:solidFill>
                </a:ln>
                <a:solidFill>
                  <a:schemeClr val="tx2">
                    <a:lumMod val="10000"/>
                  </a:schemeClr>
                </a:solidFill>
                <a:latin typeface="Segoe UI Semibold" panose="020B0702040204020203" pitchFamily="34" charset="0"/>
                <a:ea typeface="Segoe UI" pitchFamily="34" charset="0"/>
                <a:cs typeface="Segoe UI Semibold" panose="020B0702040204020203" pitchFamily="34" charset="0"/>
              </a:rPr>
              <a:t>Server Analysis Services models</a:t>
            </a:r>
            <a:endParaRPr lang="en-US" sz="1600" kern="0" dirty="0">
              <a:ln>
                <a:solidFill>
                  <a:srgbClr val="FFFFFF">
                    <a:alpha val="0"/>
                  </a:srgbClr>
                </a:solidFill>
              </a:ln>
              <a:solidFill>
                <a:schemeClr val="tx2">
                  <a:lumMod val="10000"/>
                </a:schemeClr>
              </a:solidFill>
              <a:latin typeface="Segoe UI Semibold" panose="020B0702040204020203" pitchFamily="34" charset="0"/>
              <a:ea typeface="Segoe UI" pitchFamily="34" charset="0"/>
              <a:cs typeface="Segoe UI Semibold" panose="020B0702040204020203" pitchFamily="34" charset="0"/>
            </a:endParaRPr>
          </a:p>
        </p:txBody>
      </p:sp>
      <p:sp>
        <p:nvSpPr>
          <p:cNvPr id="56" name="Freeform 55"/>
          <p:cNvSpPr>
            <a:spLocks/>
          </p:cNvSpPr>
          <p:nvPr/>
        </p:nvSpPr>
        <p:spPr bwMode="auto">
          <a:xfrm>
            <a:off x="4897808" y="2202478"/>
            <a:ext cx="1282224" cy="800224"/>
          </a:xfrm>
          <a:custGeom>
            <a:avLst/>
            <a:gdLst>
              <a:gd name="T0" fmla="*/ 884 w 1350"/>
              <a:gd name="T1" fmla="*/ 0 h 841"/>
              <a:gd name="T2" fmla="*/ 648 w 1350"/>
              <a:gd name="T3" fmla="*/ 135 h 841"/>
              <a:gd name="T4" fmla="*/ 542 w 1350"/>
              <a:gd name="T5" fmla="*/ 114 h 841"/>
              <a:gd name="T6" fmla="*/ 352 w 1350"/>
              <a:gd name="T7" fmla="*/ 189 h 841"/>
              <a:gd name="T8" fmla="*/ 286 w 1350"/>
              <a:gd name="T9" fmla="*/ 287 h 841"/>
              <a:gd name="T10" fmla="*/ 274 w 1350"/>
              <a:gd name="T11" fmla="*/ 287 h 841"/>
              <a:gd name="T12" fmla="*/ 82 w 1350"/>
              <a:gd name="T13" fmla="*/ 369 h 841"/>
              <a:gd name="T14" fmla="*/ 0 w 1350"/>
              <a:gd name="T15" fmla="*/ 563 h 841"/>
              <a:gd name="T16" fmla="*/ 82 w 1350"/>
              <a:gd name="T17" fmla="*/ 758 h 841"/>
              <a:gd name="T18" fmla="*/ 274 w 1350"/>
              <a:gd name="T19" fmla="*/ 841 h 841"/>
              <a:gd name="T20" fmla="*/ 1076 w 1350"/>
              <a:gd name="T21" fmla="*/ 841 h 841"/>
              <a:gd name="T22" fmla="*/ 1272 w 1350"/>
              <a:gd name="T23" fmla="*/ 758 h 841"/>
              <a:gd name="T24" fmla="*/ 1350 w 1350"/>
              <a:gd name="T25" fmla="*/ 563 h 841"/>
              <a:gd name="T26" fmla="*/ 1272 w 1350"/>
              <a:gd name="T27" fmla="*/ 370 h 841"/>
              <a:gd name="T28" fmla="*/ 1152 w 1350"/>
              <a:gd name="T29" fmla="*/ 297 h 841"/>
              <a:gd name="T30" fmla="*/ 1152 w 1350"/>
              <a:gd name="T31" fmla="*/ 277 h 841"/>
              <a:gd name="T32" fmla="*/ 1076 w 1350"/>
              <a:gd name="T33" fmla="*/ 84 h 841"/>
              <a:gd name="T34" fmla="*/ 884 w 1350"/>
              <a:gd name="T35" fmla="*/ 0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0" h="841">
                <a:moveTo>
                  <a:pt x="884" y="0"/>
                </a:moveTo>
                <a:cubicBezTo>
                  <a:pt x="786" y="0"/>
                  <a:pt x="698" y="54"/>
                  <a:pt x="648" y="135"/>
                </a:cubicBezTo>
                <a:cubicBezTo>
                  <a:pt x="616" y="121"/>
                  <a:pt x="579" y="114"/>
                  <a:pt x="542" y="114"/>
                </a:cubicBezTo>
                <a:cubicBezTo>
                  <a:pt x="470" y="114"/>
                  <a:pt x="403" y="141"/>
                  <a:pt x="352" y="189"/>
                </a:cubicBezTo>
                <a:cubicBezTo>
                  <a:pt x="323" y="217"/>
                  <a:pt x="301" y="250"/>
                  <a:pt x="286" y="287"/>
                </a:cubicBezTo>
                <a:cubicBezTo>
                  <a:pt x="282" y="287"/>
                  <a:pt x="278" y="287"/>
                  <a:pt x="274" y="287"/>
                </a:cubicBezTo>
                <a:cubicBezTo>
                  <a:pt x="203" y="287"/>
                  <a:pt x="134" y="316"/>
                  <a:pt x="82" y="369"/>
                </a:cubicBezTo>
                <a:cubicBezTo>
                  <a:pt x="30" y="421"/>
                  <a:pt x="0" y="490"/>
                  <a:pt x="0" y="563"/>
                </a:cubicBezTo>
                <a:cubicBezTo>
                  <a:pt x="0" y="636"/>
                  <a:pt x="30" y="705"/>
                  <a:pt x="82" y="758"/>
                </a:cubicBezTo>
                <a:cubicBezTo>
                  <a:pt x="134" y="812"/>
                  <a:pt x="203" y="841"/>
                  <a:pt x="274" y="841"/>
                </a:cubicBezTo>
                <a:cubicBezTo>
                  <a:pt x="1076" y="841"/>
                  <a:pt x="1076" y="841"/>
                  <a:pt x="1076" y="841"/>
                </a:cubicBezTo>
                <a:cubicBezTo>
                  <a:pt x="1151" y="841"/>
                  <a:pt x="1220" y="812"/>
                  <a:pt x="1272" y="758"/>
                </a:cubicBezTo>
                <a:cubicBezTo>
                  <a:pt x="1322" y="705"/>
                  <a:pt x="1350" y="636"/>
                  <a:pt x="1350" y="563"/>
                </a:cubicBezTo>
                <a:cubicBezTo>
                  <a:pt x="1350" y="490"/>
                  <a:pt x="1322" y="421"/>
                  <a:pt x="1272" y="370"/>
                </a:cubicBezTo>
                <a:cubicBezTo>
                  <a:pt x="1238" y="334"/>
                  <a:pt x="1197" y="310"/>
                  <a:pt x="1152" y="297"/>
                </a:cubicBezTo>
                <a:cubicBezTo>
                  <a:pt x="1152" y="291"/>
                  <a:pt x="1152" y="284"/>
                  <a:pt x="1152" y="277"/>
                </a:cubicBezTo>
                <a:cubicBezTo>
                  <a:pt x="1152" y="205"/>
                  <a:pt x="1125" y="136"/>
                  <a:pt x="1076" y="84"/>
                </a:cubicBezTo>
                <a:cubicBezTo>
                  <a:pt x="1025" y="30"/>
                  <a:pt x="956" y="0"/>
                  <a:pt x="884" y="0"/>
                </a:cubicBezTo>
                <a:close/>
              </a:path>
            </a:pathLst>
          </a:custGeom>
          <a:noFill/>
          <a:ln w="254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pic>
        <p:nvPicPr>
          <p:cNvPr id="70" name="Picture 69"/>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2342629" y="1606562"/>
            <a:ext cx="2618929" cy="1473148"/>
          </a:xfrm>
          <a:prstGeom prst="rect">
            <a:avLst/>
          </a:prstGeom>
          <a:ln>
            <a:noFill/>
          </a:ln>
          <a:effectLst>
            <a:outerShdw blurRad="292100" dist="139700" dir="2700000" algn="tl" rotWithShape="0">
              <a:srgbClr val="333333">
                <a:alpha val="65000"/>
              </a:srgbClr>
            </a:outerShdw>
          </a:effectLst>
        </p:spPr>
      </p:pic>
      <p:sp>
        <p:nvSpPr>
          <p:cNvPr id="97" name="Freeform 96"/>
          <p:cNvSpPr>
            <a:spLocks/>
          </p:cNvSpPr>
          <p:nvPr/>
        </p:nvSpPr>
        <p:spPr bwMode="auto">
          <a:xfrm>
            <a:off x="5422792" y="1487198"/>
            <a:ext cx="961179" cy="599863"/>
          </a:xfrm>
          <a:custGeom>
            <a:avLst/>
            <a:gdLst>
              <a:gd name="T0" fmla="*/ 884 w 1350"/>
              <a:gd name="T1" fmla="*/ 0 h 841"/>
              <a:gd name="T2" fmla="*/ 648 w 1350"/>
              <a:gd name="T3" fmla="*/ 135 h 841"/>
              <a:gd name="T4" fmla="*/ 542 w 1350"/>
              <a:gd name="T5" fmla="*/ 114 h 841"/>
              <a:gd name="T6" fmla="*/ 352 w 1350"/>
              <a:gd name="T7" fmla="*/ 189 h 841"/>
              <a:gd name="T8" fmla="*/ 286 w 1350"/>
              <a:gd name="T9" fmla="*/ 287 h 841"/>
              <a:gd name="T10" fmla="*/ 274 w 1350"/>
              <a:gd name="T11" fmla="*/ 287 h 841"/>
              <a:gd name="T12" fmla="*/ 82 w 1350"/>
              <a:gd name="T13" fmla="*/ 369 h 841"/>
              <a:gd name="T14" fmla="*/ 0 w 1350"/>
              <a:gd name="T15" fmla="*/ 563 h 841"/>
              <a:gd name="T16" fmla="*/ 82 w 1350"/>
              <a:gd name="T17" fmla="*/ 758 h 841"/>
              <a:gd name="T18" fmla="*/ 274 w 1350"/>
              <a:gd name="T19" fmla="*/ 841 h 841"/>
              <a:gd name="T20" fmla="*/ 1076 w 1350"/>
              <a:gd name="T21" fmla="*/ 841 h 841"/>
              <a:gd name="T22" fmla="*/ 1272 w 1350"/>
              <a:gd name="T23" fmla="*/ 758 h 841"/>
              <a:gd name="T24" fmla="*/ 1350 w 1350"/>
              <a:gd name="T25" fmla="*/ 563 h 841"/>
              <a:gd name="T26" fmla="*/ 1272 w 1350"/>
              <a:gd name="T27" fmla="*/ 370 h 841"/>
              <a:gd name="T28" fmla="*/ 1152 w 1350"/>
              <a:gd name="T29" fmla="*/ 297 h 841"/>
              <a:gd name="T30" fmla="*/ 1152 w 1350"/>
              <a:gd name="T31" fmla="*/ 277 h 841"/>
              <a:gd name="T32" fmla="*/ 1076 w 1350"/>
              <a:gd name="T33" fmla="*/ 84 h 841"/>
              <a:gd name="T34" fmla="*/ 884 w 1350"/>
              <a:gd name="T35" fmla="*/ 0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0" h="841">
                <a:moveTo>
                  <a:pt x="884" y="0"/>
                </a:moveTo>
                <a:cubicBezTo>
                  <a:pt x="786" y="0"/>
                  <a:pt x="698" y="54"/>
                  <a:pt x="648" y="135"/>
                </a:cubicBezTo>
                <a:cubicBezTo>
                  <a:pt x="616" y="121"/>
                  <a:pt x="579" y="114"/>
                  <a:pt x="542" y="114"/>
                </a:cubicBezTo>
                <a:cubicBezTo>
                  <a:pt x="470" y="114"/>
                  <a:pt x="403" y="141"/>
                  <a:pt x="352" y="189"/>
                </a:cubicBezTo>
                <a:cubicBezTo>
                  <a:pt x="323" y="217"/>
                  <a:pt x="301" y="250"/>
                  <a:pt x="286" y="287"/>
                </a:cubicBezTo>
                <a:cubicBezTo>
                  <a:pt x="282" y="287"/>
                  <a:pt x="278" y="287"/>
                  <a:pt x="274" y="287"/>
                </a:cubicBezTo>
                <a:cubicBezTo>
                  <a:pt x="203" y="287"/>
                  <a:pt x="134" y="316"/>
                  <a:pt x="82" y="369"/>
                </a:cubicBezTo>
                <a:cubicBezTo>
                  <a:pt x="30" y="421"/>
                  <a:pt x="0" y="490"/>
                  <a:pt x="0" y="563"/>
                </a:cubicBezTo>
                <a:cubicBezTo>
                  <a:pt x="0" y="636"/>
                  <a:pt x="30" y="705"/>
                  <a:pt x="82" y="758"/>
                </a:cubicBezTo>
                <a:cubicBezTo>
                  <a:pt x="134" y="812"/>
                  <a:pt x="203" y="841"/>
                  <a:pt x="274" y="841"/>
                </a:cubicBezTo>
                <a:cubicBezTo>
                  <a:pt x="1076" y="841"/>
                  <a:pt x="1076" y="841"/>
                  <a:pt x="1076" y="841"/>
                </a:cubicBezTo>
                <a:cubicBezTo>
                  <a:pt x="1151" y="841"/>
                  <a:pt x="1220" y="812"/>
                  <a:pt x="1272" y="758"/>
                </a:cubicBezTo>
                <a:cubicBezTo>
                  <a:pt x="1322" y="705"/>
                  <a:pt x="1350" y="636"/>
                  <a:pt x="1350" y="563"/>
                </a:cubicBezTo>
                <a:cubicBezTo>
                  <a:pt x="1350" y="490"/>
                  <a:pt x="1322" y="421"/>
                  <a:pt x="1272" y="370"/>
                </a:cubicBezTo>
                <a:cubicBezTo>
                  <a:pt x="1238" y="334"/>
                  <a:pt x="1197" y="310"/>
                  <a:pt x="1152" y="297"/>
                </a:cubicBezTo>
                <a:cubicBezTo>
                  <a:pt x="1152" y="291"/>
                  <a:pt x="1152" y="284"/>
                  <a:pt x="1152" y="277"/>
                </a:cubicBezTo>
                <a:cubicBezTo>
                  <a:pt x="1152" y="205"/>
                  <a:pt x="1125" y="136"/>
                  <a:pt x="1076" y="84"/>
                </a:cubicBezTo>
                <a:cubicBezTo>
                  <a:pt x="1025" y="30"/>
                  <a:pt x="956" y="0"/>
                  <a:pt x="884" y="0"/>
                </a:cubicBezTo>
                <a:close/>
              </a:path>
            </a:pathLst>
          </a:custGeom>
          <a:noFill/>
          <a:ln w="254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 name="Rectangle 5"/>
          <p:cNvSpPr/>
          <p:nvPr/>
        </p:nvSpPr>
        <p:spPr bwMode="auto">
          <a:xfrm>
            <a:off x="2367715" y="3656166"/>
            <a:ext cx="2618929" cy="703720"/>
          </a:xfrm>
          <a:prstGeom prst="rect">
            <a:avLst/>
          </a:prstGeom>
          <a:solidFill>
            <a:schemeClr val="bg1"/>
          </a:solidFill>
          <a:ln>
            <a:solidFill>
              <a:schemeClr val="tx1">
                <a:lumMod val="50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0" name="Group 169"/>
          <p:cNvGrpSpPr>
            <a:grpSpLocks noChangeAspect="1"/>
          </p:cNvGrpSpPr>
          <p:nvPr/>
        </p:nvGrpSpPr>
        <p:grpSpPr>
          <a:xfrm>
            <a:off x="2621404" y="3801778"/>
            <a:ext cx="508520" cy="411293"/>
            <a:chOff x="9381981" y="5575169"/>
            <a:chExt cx="768944" cy="621923"/>
          </a:xfrm>
        </p:grpSpPr>
        <p:grpSp>
          <p:nvGrpSpPr>
            <p:cNvPr id="171" name="Group 170"/>
            <p:cNvGrpSpPr/>
            <p:nvPr/>
          </p:nvGrpSpPr>
          <p:grpSpPr>
            <a:xfrm>
              <a:off x="9381981" y="5575169"/>
              <a:ext cx="606592" cy="594929"/>
              <a:chOff x="6690125" y="5110423"/>
              <a:chExt cx="606592" cy="594929"/>
            </a:xfrm>
          </p:grpSpPr>
          <p:grpSp>
            <p:nvGrpSpPr>
              <p:cNvPr id="177" name="Group 176"/>
              <p:cNvGrpSpPr>
                <a:grpSpLocks noChangeAspect="1"/>
              </p:cNvGrpSpPr>
              <p:nvPr/>
            </p:nvGrpSpPr>
            <p:grpSpPr>
              <a:xfrm>
                <a:off x="6690125" y="5110423"/>
                <a:ext cx="464903" cy="594929"/>
                <a:chOff x="5809277" y="1674658"/>
                <a:chExt cx="3316029" cy="4226967"/>
              </a:xfrm>
              <a:solidFill>
                <a:srgbClr val="FF8C00"/>
              </a:solidFill>
            </p:grpSpPr>
            <p:sp>
              <p:nvSpPr>
                <p:cNvPr id="179" name="Oval 178"/>
                <p:cNvSpPr/>
                <p:nvPr/>
              </p:nvSpPr>
              <p:spPr>
                <a:xfrm>
                  <a:off x="6881217" y="1674658"/>
                  <a:ext cx="2210082" cy="2210082"/>
                </a:xfrm>
                <a:prstGeom prst="ellipse">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0791" eaLnBrk="1" fontAlgn="auto" latinLnBrk="0" hangingPunct="1">
                    <a:lnSpc>
                      <a:spcPct val="100000"/>
                    </a:lnSpc>
                    <a:spcBef>
                      <a:spcPts val="0"/>
                    </a:spcBef>
                    <a:spcAft>
                      <a:spcPts val="0"/>
                    </a:spcAft>
                    <a:buClrTx/>
                    <a:buSzTx/>
                    <a:buFontTx/>
                    <a:buNone/>
                    <a:tabLst/>
                    <a:defRPr/>
                  </a:pPr>
                  <a:endParaRPr kumimoji="0" lang="en-IN" sz="1873" b="1" i="0" u="none" strike="noStrike" kern="0" cap="none" spc="0" normalizeH="0" baseline="0" noProof="0" dirty="0">
                    <a:ln>
                      <a:noFill/>
                    </a:ln>
                    <a:solidFill>
                      <a:prstClr val="white"/>
                    </a:solidFill>
                    <a:effectLst/>
                    <a:uLnTx/>
                    <a:uFillTx/>
                    <a:latin typeface="Segoe UI"/>
                  </a:endParaRPr>
                </a:p>
              </p:txBody>
            </p:sp>
            <p:sp>
              <p:nvSpPr>
                <p:cNvPr id="180" name="Freeform 179"/>
                <p:cNvSpPr/>
                <p:nvPr/>
              </p:nvSpPr>
              <p:spPr>
                <a:xfrm>
                  <a:off x="5809277" y="3984174"/>
                  <a:ext cx="3316029" cy="1917451"/>
                </a:xfrm>
                <a:custGeom>
                  <a:avLst/>
                  <a:gdLst>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258008 w 3331029"/>
                    <a:gd name="connsiteY15" fmla="*/ 1716833 h 1912775"/>
                    <a:gd name="connsiteX16" fmla="*/ 2164702 w 3331029"/>
                    <a:gd name="connsiteY16" fmla="*/ 1782147 h 1912775"/>
                    <a:gd name="connsiteX17" fmla="*/ 1968760 w 3331029"/>
                    <a:gd name="connsiteY17" fmla="*/ 1446245 h 1912775"/>
                    <a:gd name="connsiteX18" fmla="*/ 1688841 w 3331029"/>
                    <a:gd name="connsiteY18" fmla="*/ 886408 h 1912775"/>
                    <a:gd name="connsiteX19" fmla="*/ 1558213 w 3331029"/>
                    <a:gd name="connsiteY19" fmla="*/ 457200 h 1912775"/>
                    <a:gd name="connsiteX20" fmla="*/ 1418253 w 3331029"/>
                    <a:gd name="connsiteY20"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164702 w 3331029"/>
                    <a:gd name="connsiteY15" fmla="*/ 1782147 h 1912775"/>
                    <a:gd name="connsiteX16" fmla="*/ 1968760 w 3331029"/>
                    <a:gd name="connsiteY16" fmla="*/ 1446245 h 1912775"/>
                    <a:gd name="connsiteX17" fmla="*/ 1688841 w 3331029"/>
                    <a:gd name="connsiteY17" fmla="*/ 886408 h 1912775"/>
                    <a:gd name="connsiteX18" fmla="*/ 1558213 w 3331029"/>
                    <a:gd name="connsiteY18" fmla="*/ 457200 h 1912775"/>
                    <a:gd name="connsiteX19" fmla="*/ 1418253 w 3331029"/>
                    <a:gd name="connsiteY19"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164702 w 3331029"/>
                    <a:gd name="connsiteY14" fmla="*/ 1782147 h 1912775"/>
                    <a:gd name="connsiteX15" fmla="*/ 1968760 w 3331029"/>
                    <a:gd name="connsiteY15" fmla="*/ 1446245 h 1912775"/>
                    <a:gd name="connsiteX16" fmla="*/ 1688841 w 3331029"/>
                    <a:gd name="connsiteY16" fmla="*/ 886408 h 1912775"/>
                    <a:gd name="connsiteX17" fmla="*/ 1558213 w 3331029"/>
                    <a:gd name="connsiteY17" fmla="*/ 457200 h 1912775"/>
                    <a:gd name="connsiteX18" fmla="*/ 1418253 w 3331029"/>
                    <a:gd name="connsiteY18"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558213 w 3331029"/>
                    <a:gd name="connsiteY16" fmla="*/ 457200 h 1912775"/>
                    <a:gd name="connsiteX17" fmla="*/ 1418253 w 3331029"/>
                    <a:gd name="connsiteY17"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418253 w 3331029"/>
                    <a:gd name="connsiteY16"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418253 w 3331029"/>
                    <a:gd name="connsiteY15"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36914 w 3331029"/>
                    <a:gd name="connsiteY0" fmla="*/ 0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36914 w 3331029"/>
                    <a:gd name="connsiteY14" fmla="*/ 0 h 1912775"/>
                    <a:gd name="connsiteX0" fmla="*/ 1436914 w 3331029"/>
                    <a:gd name="connsiteY0" fmla="*/ 0 h 1912775"/>
                    <a:gd name="connsiteX1" fmla="*/ 223935 w 3331029"/>
                    <a:gd name="connsiteY1" fmla="*/ 699796 h 1912775"/>
                    <a:gd name="connsiteX2" fmla="*/ 130629 w 3331029"/>
                    <a:gd name="connsiteY2" fmla="*/ 989045 h 1912775"/>
                    <a:gd name="connsiteX3" fmla="*/ 0 w 3331029"/>
                    <a:gd name="connsiteY3" fmla="*/ 1614196 h 1912775"/>
                    <a:gd name="connsiteX4" fmla="*/ 746449 w 3331029"/>
                    <a:gd name="connsiteY4" fmla="*/ 1828800 h 1912775"/>
                    <a:gd name="connsiteX5" fmla="*/ 1735494 w 3331029"/>
                    <a:gd name="connsiteY5" fmla="*/ 1912775 h 1912775"/>
                    <a:gd name="connsiteX6" fmla="*/ 2948474 w 3331029"/>
                    <a:gd name="connsiteY6" fmla="*/ 1884784 h 1912775"/>
                    <a:gd name="connsiteX7" fmla="*/ 2901821 w 3331029"/>
                    <a:gd name="connsiteY7" fmla="*/ 1772816 h 1912775"/>
                    <a:gd name="connsiteX8" fmla="*/ 3247053 w 3331029"/>
                    <a:gd name="connsiteY8" fmla="*/ 783771 h 1912775"/>
                    <a:gd name="connsiteX9" fmla="*/ 3331029 w 3331029"/>
                    <a:gd name="connsiteY9" fmla="*/ 513184 h 1912775"/>
                    <a:gd name="connsiteX10" fmla="*/ 3331029 w 3331029"/>
                    <a:gd name="connsiteY10" fmla="*/ 158620 h 1912775"/>
                    <a:gd name="connsiteX11" fmla="*/ 2911151 w 3331029"/>
                    <a:gd name="connsiteY11" fmla="*/ 0 h 1912775"/>
                    <a:gd name="connsiteX12" fmla="*/ 2164702 w 3331029"/>
                    <a:gd name="connsiteY12" fmla="*/ 1782147 h 1912775"/>
                    <a:gd name="connsiteX13" fmla="*/ 1436914 w 3331029"/>
                    <a:gd name="connsiteY13" fmla="*/ 0 h 1912775"/>
                    <a:gd name="connsiteX0" fmla="*/ 1436914 w 3331029"/>
                    <a:gd name="connsiteY0" fmla="*/ 0 h 1912775"/>
                    <a:gd name="connsiteX1" fmla="*/ 130629 w 3331029"/>
                    <a:gd name="connsiteY1" fmla="*/ 989045 h 1912775"/>
                    <a:gd name="connsiteX2" fmla="*/ 0 w 3331029"/>
                    <a:gd name="connsiteY2" fmla="*/ 1614196 h 1912775"/>
                    <a:gd name="connsiteX3" fmla="*/ 746449 w 3331029"/>
                    <a:gd name="connsiteY3" fmla="*/ 1828800 h 1912775"/>
                    <a:gd name="connsiteX4" fmla="*/ 1735494 w 3331029"/>
                    <a:gd name="connsiteY4" fmla="*/ 1912775 h 1912775"/>
                    <a:gd name="connsiteX5" fmla="*/ 2948474 w 3331029"/>
                    <a:gd name="connsiteY5" fmla="*/ 1884784 h 1912775"/>
                    <a:gd name="connsiteX6" fmla="*/ 2901821 w 3331029"/>
                    <a:gd name="connsiteY6" fmla="*/ 1772816 h 1912775"/>
                    <a:gd name="connsiteX7" fmla="*/ 3247053 w 3331029"/>
                    <a:gd name="connsiteY7" fmla="*/ 783771 h 1912775"/>
                    <a:gd name="connsiteX8" fmla="*/ 3331029 w 3331029"/>
                    <a:gd name="connsiteY8" fmla="*/ 513184 h 1912775"/>
                    <a:gd name="connsiteX9" fmla="*/ 3331029 w 3331029"/>
                    <a:gd name="connsiteY9" fmla="*/ 158620 h 1912775"/>
                    <a:gd name="connsiteX10" fmla="*/ 2911151 w 3331029"/>
                    <a:gd name="connsiteY10" fmla="*/ 0 h 1912775"/>
                    <a:gd name="connsiteX11" fmla="*/ 2164702 w 3331029"/>
                    <a:gd name="connsiteY11" fmla="*/ 1782147 h 1912775"/>
                    <a:gd name="connsiteX12" fmla="*/ 1436914 w 3331029"/>
                    <a:gd name="connsiteY12"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1735494 w 3331029"/>
                    <a:gd name="connsiteY2" fmla="*/ 1912775 h 1912775"/>
                    <a:gd name="connsiteX3" fmla="*/ 2948474 w 3331029"/>
                    <a:gd name="connsiteY3" fmla="*/ 1884784 h 1912775"/>
                    <a:gd name="connsiteX4" fmla="*/ 2901821 w 3331029"/>
                    <a:gd name="connsiteY4" fmla="*/ 1772816 h 1912775"/>
                    <a:gd name="connsiteX5" fmla="*/ 3247053 w 3331029"/>
                    <a:gd name="connsiteY5" fmla="*/ 783771 h 1912775"/>
                    <a:gd name="connsiteX6" fmla="*/ 3331029 w 3331029"/>
                    <a:gd name="connsiteY6" fmla="*/ 513184 h 1912775"/>
                    <a:gd name="connsiteX7" fmla="*/ 3331029 w 3331029"/>
                    <a:gd name="connsiteY7" fmla="*/ 158620 h 1912775"/>
                    <a:gd name="connsiteX8" fmla="*/ 2911151 w 3331029"/>
                    <a:gd name="connsiteY8" fmla="*/ 0 h 1912775"/>
                    <a:gd name="connsiteX9" fmla="*/ 2164702 w 3331029"/>
                    <a:gd name="connsiteY9" fmla="*/ 1782147 h 1912775"/>
                    <a:gd name="connsiteX10" fmla="*/ 1436914 w 3331029"/>
                    <a:gd name="connsiteY10" fmla="*/ 0 h 1912775"/>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247053 w 3331029"/>
                    <a:gd name="connsiteY4" fmla="*/ 783771 h 1915295"/>
                    <a:gd name="connsiteX5" fmla="*/ 3331029 w 3331029"/>
                    <a:gd name="connsiteY5" fmla="*/ 513184 h 1915295"/>
                    <a:gd name="connsiteX6" fmla="*/ 3331029 w 3331029"/>
                    <a:gd name="connsiteY6" fmla="*/ 158620 h 1915295"/>
                    <a:gd name="connsiteX7" fmla="*/ 2911151 w 3331029"/>
                    <a:gd name="connsiteY7" fmla="*/ 0 h 1915295"/>
                    <a:gd name="connsiteX8" fmla="*/ 2164702 w 3331029"/>
                    <a:gd name="connsiteY8" fmla="*/ 1782147 h 1915295"/>
                    <a:gd name="connsiteX9" fmla="*/ 1436914 w 3331029"/>
                    <a:gd name="connsiteY9"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14689 w 3308804"/>
                    <a:gd name="connsiteY0" fmla="*/ 0 h 1917453"/>
                    <a:gd name="connsiteX1" fmla="*/ 0 w 3308804"/>
                    <a:gd name="connsiteY1" fmla="*/ 1623721 h 1917453"/>
                    <a:gd name="connsiteX2" fmla="*/ 2926249 w 3308804"/>
                    <a:gd name="connsiteY2" fmla="*/ 1884784 h 1917453"/>
                    <a:gd name="connsiteX3" fmla="*/ 2879596 w 3308804"/>
                    <a:gd name="connsiteY3" fmla="*/ 1772816 h 1917453"/>
                    <a:gd name="connsiteX4" fmla="*/ 3308804 w 3308804"/>
                    <a:gd name="connsiteY4" fmla="*/ 513184 h 1917453"/>
                    <a:gd name="connsiteX5" fmla="*/ 3308804 w 3308804"/>
                    <a:gd name="connsiteY5" fmla="*/ 158620 h 1917453"/>
                    <a:gd name="connsiteX6" fmla="*/ 2888926 w 3308804"/>
                    <a:gd name="connsiteY6" fmla="*/ 0 h 1917453"/>
                    <a:gd name="connsiteX7" fmla="*/ 2142477 w 3308804"/>
                    <a:gd name="connsiteY7" fmla="*/ 1782147 h 1917453"/>
                    <a:gd name="connsiteX8" fmla="*/ 1414689 w 3308804"/>
                    <a:gd name="connsiteY8" fmla="*/ 0 h 1917453"/>
                    <a:gd name="connsiteX0" fmla="*/ 1417845 w 3311960"/>
                    <a:gd name="connsiteY0" fmla="*/ 0 h 1917453"/>
                    <a:gd name="connsiteX1" fmla="*/ 3156 w 3311960"/>
                    <a:gd name="connsiteY1" fmla="*/ 1623721 h 1917453"/>
                    <a:gd name="connsiteX2" fmla="*/ 2929405 w 3311960"/>
                    <a:gd name="connsiteY2" fmla="*/ 1884784 h 1917453"/>
                    <a:gd name="connsiteX3" fmla="*/ 2882752 w 3311960"/>
                    <a:gd name="connsiteY3" fmla="*/ 1772816 h 1917453"/>
                    <a:gd name="connsiteX4" fmla="*/ 3311960 w 3311960"/>
                    <a:gd name="connsiteY4" fmla="*/ 513184 h 1917453"/>
                    <a:gd name="connsiteX5" fmla="*/ 3311960 w 3311960"/>
                    <a:gd name="connsiteY5" fmla="*/ 158620 h 1917453"/>
                    <a:gd name="connsiteX6" fmla="*/ 2892082 w 3311960"/>
                    <a:gd name="connsiteY6" fmla="*/ 0 h 1917453"/>
                    <a:gd name="connsiteX7" fmla="*/ 2145633 w 3311960"/>
                    <a:gd name="connsiteY7" fmla="*/ 1782147 h 1917453"/>
                    <a:gd name="connsiteX8" fmla="*/ 1417845 w 3311960"/>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16029" h="1917453">
                      <a:moveTo>
                        <a:pt x="1421914" y="0"/>
                      </a:moveTo>
                      <a:cubicBezTo>
                        <a:pt x="-316689" y="435428"/>
                        <a:pt x="45908" y="1617501"/>
                        <a:pt x="7225" y="1623721"/>
                      </a:cubicBezTo>
                      <a:cubicBezTo>
                        <a:pt x="868946" y="1956513"/>
                        <a:pt x="1941319" y="1943878"/>
                        <a:pt x="2933474" y="1884784"/>
                      </a:cubicBezTo>
                      <a:lnTo>
                        <a:pt x="2886821" y="1772816"/>
                      </a:lnTo>
                      <a:lnTo>
                        <a:pt x="3316029" y="513184"/>
                      </a:lnTo>
                      <a:lnTo>
                        <a:pt x="3316029" y="158620"/>
                      </a:lnTo>
                      <a:lnTo>
                        <a:pt x="2896151" y="0"/>
                      </a:lnTo>
                      <a:cubicBezTo>
                        <a:pt x="2731310" y="584719"/>
                        <a:pt x="2473163" y="1374710"/>
                        <a:pt x="2149702" y="1782147"/>
                      </a:cubicBezTo>
                      <a:cubicBezTo>
                        <a:pt x="1826241" y="1377820"/>
                        <a:pt x="1568094" y="572278"/>
                        <a:pt x="1421914" y="0"/>
                      </a:cubicBezTo>
                      <a:close/>
                    </a:path>
                  </a:pathLst>
                </a:cu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0791" eaLnBrk="1" fontAlgn="auto" latinLnBrk="0" hangingPunct="1">
                    <a:lnSpc>
                      <a:spcPct val="100000"/>
                    </a:lnSpc>
                    <a:spcBef>
                      <a:spcPts val="0"/>
                    </a:spcBef>
                    <a:spcAft>
                      <a:spcPts val="0"/>
                    </a:spcAft>
                    <a:buClrTx/>
                    <a:buSzTx/>
                    <a:buFontTx/>
                    <a:buNone/>
                    <a:tabLst/>
                    <a:defRPr/>
                  </a:pPr>
                  <a:endParaRPr kumimoji="0" lang="en-IN" sz="1873" b="1" i="0" u="none" strike="noStrike" kern="0" cap="none" spc="0" normalizeH="0" baseline="0" noProof="0" dirty="0">
                    <a:ln>
                      <a:noFill/>
                    </a:ln>
                    <a:solidFill>
                      <a:prstClr val="white"/>
                    </a:solidFill>
                    <a:effectLst/>
                    <a:uLnTx/>
                    <a:uFillTx/>
                    <a:latin typeface="Segoe UI"/>
                  </a:endParaRPr>
                </a:p>
              </p:txBody>
            </p:sp>
            <p:sp>
              <p:nvSpPr>
                <p:cNvPr id="181" name="Freeform 180"/>
                <p:cNvSpPr/>
                <p:nvPr/>
              </p:nvSpPr>
              <p:spPr>
                <a:xfrm>
                  <a:off x="7726733" y="4266376"/>
                  <a:ext cx="426245" cy="1117204"/>
                </a:xfrm>
                <a:custGeom>
                  <a:avLst/>
                  <a:gdLst>
                    <a:gd name="connsiteX0" fmla="*/ 73823 w 426246"/>
                    <a:gd name="connsiteY0" fmla="*/ 402431 h 1117201"/>
                    <a:gd name="connsiteX1" fmla="*/ 352424 w 426246"/>
                    <a:gd name="connsiteY1" fmla="*/ 402431 h 1117201"/>
                    <a:gd name="connsiteX2" fmla="*/ 426246 w 426246"/>
                    <a:gd name="connsiteY2" fmla="*/ 726281 h 1117201"/>
                    <a:gd name="connsiteX3" fmla="*/ 426245 w 426246"/>
                    <a:gd name="connsiteY3" fmla="*/ 726281 h 1117201"/>
                    <a:gd name="connsiteX4" fmla="*/ 213123 w 426246"/>
                    <a:gd name="connsiteY4" fmla="*/ 1117201 h 1117201"/>
                    <a:gd name="connsiteX5" fmla="*/ 0 w 426246"/>
                    <a:gd name="connsiteY5" fmla="*/ 726281 h 1117201"/>
                    <a:gd name="connsiteX6" fmla="*/ 1 w 426246"/>
                    <a:gd name="connsiteY6" fmla="*/ 726281 h 1117201"/>
                    <a:gd name="connsiteX7" fmla="*/ 46437 w 426246"/>
                    <a:gd name="connsiteY7" fmla="*/ 0 h 1117201"/>
                    <a:gd name="connsiteX8" fmla="*/ 379811 w 426246"/>
                    <a:gd name="connsiteY8" fmla="*/ 0 h 1117201"/>
                    <a:gd name="connsiteX9" fmla="*/ 426246 w 426246"/>
                    <a:gd name="connsiteY9" fmla="*/ 46435 h 1117201"/>
                    <a:gd name="connsiteX10" fmla="*/ 358380 w 426246"/>
                    <a:gd name="connsiteY10" fmla="*/ 335756 h 1117201"/>
                    <a:gd name="connsiteX11" fmla="*/ 65488 w 426246"/>
                    <a:gd name="connsiteY11" fmla="*/ 335756 h 1117201"/>
                    <a:gd name="connsiteX12" fmla="*/ 2 w 426246"/>
                    <a:gd name="connsiteY12" fmla="*/ 46435 h 1117201"/>
                    <a:gd name="connsiteX13" fmla="*/ 46437 w 426246"/>
                    <a:gd name="connsiteY13" fmla="*/ 0 h 111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246" h="1117201">
                      <a:moveTo>
                        <a:pt x="73823" y="402431"/>
                      </a:moveTo>
                      <a:lnTo>
                        <a:pt x="352424" y="402431"/>
                      </a:lnTo>
                      <a:lnTo>
                        <a:pt x="426246" y="726281"/>
                      </a:lnTo>
                      <a:lnTo>
                        <a:pt x="426245" y="726281"/>
                      </a:lnTo>
                      <a:lnTo>
                        <a:pt x="213123" y="1117201"/>
                      </a:lnTo>
                      <a:lnTo>
                        <a:pt x="0" y="726281"/>
                      </a:lnTo>
                      <a:lnTo>
                        <a:pt x="1" y="726281"/>
                      </a:lnTo>
                      <a:close/>
                      <a:moveTo>
                        <a:pt x="46437" y="0"/>
                      </a:moveTo>
                      <a:lnTo>
                        <a:pt x="379811" y="0"/>
                      </a:lnTo>
                      <a:cubicBezTo>
                        <a:pt x="405456" y="0"/>
                        <a:pt x="426246" y="20790"/>
                        <a:pt x="426246" y="46435"/>
                      </a:cubicBezTo>
                      <a:lnTo>
                        <a:pt x="358380" y="335756"/>
                      </a:lnTo>
                      <a:lnTo>
                        <a:pt x="65488" y="335756"/>
                      </a:lnTo>
                      <a:cubicBezTo>
                        <a:pt x="49813" y="273249"/>
                        <a:pt x="2" y="102394"/>
                        <a:pt x="2" y="46435"/>
                      </a:cubicBezTo>
                      <a:cubicBezTo>
                        <a:pt x="2" y="20790"/>
                        <a:pt x="20792" y="0"/>
                        <a:pt x="46437" y="0"/>
                      </a:cubicBezTo>
                      <a:close/>
                    </a:path>
                  </a:pathLst>
                </a:cu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0791" eaLnBrk="1" fontAlgn="auto" latinLnBrk="0" hangingPunct="1">
                    <a:lnSpc>
                      <a:spcPct val="100000"/>
                    </a:lnSpc>
                    <a:spcBef>
                      <a:spcPts val="0"/>
                    </a:spcBef>
                    <a:spcAft>
                      <a:spcPts val="0"/>
                    </a:spcAft>
                    <a:buClrTx/>
                    <a:buSzTx/>
                    <a:buFontTx/>
                    <a:buNone/>
                    <a:tabLst/>
                    <a:defRPr/>
                  </a:pPr>
                  <a:endParaRPr kumimoji="0" lang="en-IN" sz="1873" b="1" i="0" u="none" strike="noStrike" kern="0" cap="none" spc="0" normalizeH="0" baseline="0" noProof="0" dirty="0">
                    <a:ln>
                      <a:noFill/>
                    </a:ln>
                    <a:solidFill>
                      <a:prstClr val="white"/>
                    </a:solidFill>
                    <a:effectLst/>
                    <a:uLnTx/>
                    <a:uFillTx/>
                    <a:latin typeface="Segoe UI"/>
                  </a:endParaRPr>
                </a:p>
              </p:txBody>
            </p:sp>
            <p:sp>
              <p:nvSpPr>
                <p:cNvPr id="182" name="Freeform 181"/>
                <p:cNvSpPr/>
                <p:nvPr/>
              </p:nvSpPr>
              <p:spPr>
                <a:xfrm>
                  <a:off x="7089322" y="2425771"/>
                  <a:ext cx="1793873" cy="629817"/>
                </a:xfrm>
                <a:custGeom>
                  <a:avLst/>
                  <a:gdLst>
                    <a:gd name="connsiteX0" fmla="*/ 1199486 w 1793873"/>
                    <a:gd name="connsiteY0" fmla="*/ 158945 h 629817"/>
                    <a:gd name="connsiteX1" fmla="*/ 1199486 w 1793873"/>
                    <a:gd name="connsiteY1" fmla="*/ 508195 h 629817"/>
                    <a:gd name="connsiteX2" fmla="*/ 1637636 w 1793873"/>
                    <a:gd name="connsiteY2" fmla="*/ 508195 h 629817"/>
                    <a:gd name="connsiteX3" fmla="*/ 1637636 w 1793873"/>
                    <a:gd name="connsiteY3" fmla="*/ 158945 h 629817"/>
                    <a:gd name="connsiteX4" fmla="*/ 151165 w 1793873"/>
                    <a:gd name="connsiteY4" fmla="*/ 158945 h 629817"/>
                    <a:gd name="connsiteX5" fmla="*/ 151165 w 1793873"/>
                    <a:gd name="connsiteY5" fmla="*/ 508195 h 629817"/>
                    <a:gd name="connsiteX6" fmla="*/ 589315 w 1793873"/>
                    <a:gd name="connsiteY6" fmla="*/ 508195 h 629817"/>
                    <a:gd name="connsiteX7" fmla="*/ 589315 w 1793873"/>
                    <a:gd name="connsiteY7" fmla="*/ 158945 h 629817"/>
                    <a:gd name="connsiteX8" fmla="*/ 170284 w 1793873"/>
                    <a:gd name="connsiteY8" fmla="*/ 0 h 629817"/>
                    <a:gd name="connsiteX9" fmla="*/ 571500 w 1793873"/>
                    <a:gd name="connsiteY9" fmla="*/ 0 h 629817"/>
                    <a:gd name="connsiteX10" fmla="*/ 580706 w 1793873"/>
                    <a:gd name="connsiteY10" fmla="*/ 1859 h 629817"/>
                    <a:gd name="connsiteX11" fmla="*/ 580706 w 1793873"/>
                    <a:gd name="connsiteY11" fmla="*/ 0 h 629817"/>
                    <a:gd name="connsiteX12" fmla="*/ 1222373 w 1793873"/>
                    <a:gd name="connsiteY12" fmla="*/ 0 h 629817"/>
                    <a:gd name="connsiteX13" fmla="*/ 1257524 w 1793873"/>
                    <a:gd name="connsiteY13" fmla="*/ 0 h 629817"/>
                    <a:gd name="connsiteX14" fmla="*/ 1623589 w 1793873"/>
                    <a:gd name="connsiteY14" fmla="*/ 0 h 629817"/>
                    <a:gd name="connsiteX15" fmla="*/ 1793873 w 1793873"/>
                    <a:gd name="connsiteY15" fmla="*/ 170284 h 629817"/>
                    <a:gd name="connsiteX16" fmla="*/ 1793873 w 1793873"/>
                    <a:gd name="connsiteY16" fmla="*/ 459533 h 629817"/>
                    <a:gd name="connsiteX17" fmla="*/ 1623589 w 1793873"/>
                    <a:gd name="connsiteY17" fmla="*/ 629817 h 629817"/>
                    <a:gd name="connsiteX18" fmla="*/ 1222373 w 1793873"/>
                    <a:gd name="connsiteY18" fmla="*/ 629817 h 629817"/>
                    <a:gd name="connsiteX19" fmla="*/ 1052089 w 1793873"/>
                    <a:gd name="connsiteY19" fmla="*/ 459533 h 629817"/>
                    <a:gd name="connsiteX20" fmla="*/ 1052089 w 1793873"/>
                    <a:gd name="connsiteY20" fmla="*/ 269867 h 629817"/>
                    <a:gd name="connsiteX21" fmla="*/ 1019448 w 1793873"/>
                    <a:gd name="connsiteY21" fmla="*/ 238597 h 629817"/>
                    <a:gd name="connsiteX22" fmla="*/ 772480 w 1793873"/>
                    <a:gd name="connsiteY22" fmla="*/ 239651 h 629817"/>
                    <a:gd name="connsiteX23" fmla="*/ 741784 w 1793873"/>
                    <a:gd name="connsiteY23" fmla="*/ 272720 h 629817"/>
                    <a:gd name="connsiteX24" fmla="*/ 741784 w 1793873"/>
                    <a:gd name="connsiteY24" fmla="*/ 459533 h 629817"/>
                    <a:gd name="connsiteX25" fmla="*/ 571500 w 1793873"/>
                    <a:gd name="connsiteY25" fmla="*/ 629817 h 629817"/>
                    <a:gd name="connsiteX26" fmla="*/ 170284 w 1793873"/>
                    <a:gd name="connsiteY26" fmla="*/ 629817 h 629817"/>
                    <a:gd name="connsiteX27" fmla="*/ 0 w 1793873"/>
                    <a:gd name="connsiteY27" fmla="*/ 459533 h 629817"/>
                    <a:gd name="connsiteX28" fmla="*/ 0 w 1793873"/>
                    <a:gd name="connsiteY28" fmla="*/ 170284 h 629817"/>
                    <a:gd name="connsiteX29" fmla="*/ 170284 w 1793873"/>
                    <a:gd name="connsiteY29" fmla="*/ 0 h 62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793873" h="629817">
                      <a:moveTo>
                        <a:pt x="1199486" y="158945"/>
                      </a:moveTo>
                      <a:lnTo>
                        <a:pt x="1199486" y="508195"/>
                      </a:lnTo>
                      <a:lnTo>
                        <a:pt x="1637636" y="508195"/>
                      </a:lnTo>
                      <a:lnTo>
                        <a:pt x="1637636" y="158945"/>
                      </a:lnTo>
                      <a:close/>
                      <a:moveTo>
                        <a:pt x="151165" y="158945"/>
                      </a:moveTo>
                      <a:lnTo>
                        <a:pt x="151165" y="508195"/>
                      </a:lnTo>
                      <a:lnTo>
                        <a:pt x="589315" y="508195"/>
                      </a:lnTo>
                      <a:lnTo>
                        <a:pt x="589315" y="158945"/>
                      </a:lnTo>
                      <a:close/>
                      <a:moveTo>
                        <a:pt x="170284" y="0"/>
                      </a:moveTo>
                      <a:lnTo>
                        <a:pt x="571500" y="0"/>
                      </a:lnTo>
                      <a:lnTo>
                        <a:pt x="580706" y="1859"/>
                      </a:lnTo>
                      <a:lnTo>
                        <a:pt x="580706" y="0"/>
                      </a:lnTo>
                      <a:lnTo>
                        <a:pt x="1222373" y="0"/>
                      </a:lnTo>
                      <a:lnTo>
                        <a:pt x="1257524" y="0"/>
                      </a:lnTo>
                      <a:lnTo>
                        <a:pt x="1623589" y="0"/>
                      </a:lnTo>
                      <a:cubicBezTo>
                        <a:pt x="1717634" y="0"/>
                        <a:pt x="1793873" y="76239"/>
                        <a:pt x="1793873" y="170284"/>
                      </a:cubicBezTo>
                      <a:lnTo>
                        <a:pt x="1793873" y="459533"/>
                      </a:lnTo>
                      <a:cubicBezTo>
                        <a:pt x="1793873" y="553578"/>
                        <a:pt x="1717634" y="629817"/>
                        <a:pt x="1623589" y="629817"/>
                      </a:cubicBezTo>
                      <a:lnTo>
                        <a:pt x="1222373" y="629817"/>
                      </a:lnTo>
                      <a:cubicBezTo>
                        <a:pt x="1128328" y="629817"/>
                        <a:pt x="1052089" y="553578"/>
                        <a:pt x="1052089" y="459533"/>
                      </a:cubicBezTo>
                      <a:lnTo>
                        <a:pt x="1052089" y="269867"/>
                      </a:lnTo>
                      <a:lnTo>
                        <a:pt x="1019448" y="238597"/>
                      </a:lnTo>
                      <a:cubicBezTo>
                        <a:pt x="940178" y="175104"/>
                        <a:pt x="842604" y="178661"/>
                        <a:pt x="772480" y="239651"/>
                      </a:cubicBezTo>
                      <a:lnTo>
                        <a:pt x="741784" y="272720"/>
                      </a:lnTo>
                      <a:lnTo>
                        <a:pt x="741784" y="459533"/>
                      </a:lnTo>
                      <a:cubicBezTo>
                        <a:pt x="741784" y="553578"/>
                        <a:pt x="665545" y="629817"/>
                        <a:pt x="571500" y="629817"/>
                      </a:cubicBezTo>
                      <a:lnTo>
                        <a:pt x="170284" y="629817"/>
                      </a:lnTo>
                      <a:cubicBezTo>
                        <a:pt x="76239" y="629817"/>
                        <a:pt x="0" y="553578"/>
                        <a:pt x="0" y="459533"/>
                      </a:cubicBezTo>
                      <a:lnTo>
                        <a:pt x="0" y="170284"/>
                      </a:lnTo>
                      <a:cubicBezTo>
                        <a:pt x="0" y="76239"/>
                        <a:pt x="76239" y="0"/>
                        <a:pt x="17028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0791" eaLnBrk="1" fontAlgn="auto" latinLnBrk="0" hangingPunct="1">
                    <a:lnSpc>
                      <a:spcPct val="100000"/>
                    </a:lnSpc>
                    <a:spcBef>
                      <a:spcPts val="0"/>
                    </a:spcBef>
                    <a:spcAft>
                      <a:spcPts val="0"/>
                    </a:spcAft>
                    <a:buClrTx/>
                    <a:buSzTx/>
                    <a:buFontTx/>
                    <a:buNone/>
                    <a:tabLst/>
                    <a:defRPr/>
                  </a:pPr>
                  <a:endParaRPr kumimoji="0" lang="en-IN" sz="1873" b="1" i="0" u="none" strike="noStrike" kern="0" cap="none" spc="0" normalizeH="0" baseline="0" noProof="0">
                    <a:ln>
                      <a:noFill/>
                    </a:ln>
                    <a:solidFill>
                      <a:prstClr val="white"/>
                    </a:solidFill>
                    <a:effectLst/>
                    <a:uLnTx/>
                    <a:uFillTx/>
                    <a:latin typeface="Segoe UI"/>
                  </a:endParaRPr>
                </a:p>
              </p:txBody>
            </p:sp>
          </p:grpSp>
          <p:sp>
            <p:nvSpPr>
              <p:cNvPr id="178" name="Freeform 177"/>
              <p:cNvSpPr/>
              <p:nvPr/>
            </p:nvSpPr>
            <p:spPr>
              <a:xfrm flipH="1">
                <a:off x="6831814" y="5435478"/>
                <a:ext cx="464903" cy="269874"/>
              </a:xfrm>
              <a:custGeom>
                <a:avLst/>
                <a:gdLst>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258008 w 3331029"/>
                  <a:gd name="connsiteY15" fmla="*/ 1716833 h 1912775"/>
                  <a:gd name="connsiteX16" fmla="*/ 2164702 w 3331029"/>
                  <a:gd name="connsiteY16" fmla="*/ 1782147 h 1912775"/>
                  <a:gd name="connsiteX17" fmla="*/ 1968760 w 3331029"/>
                  <a:gd name="connsiteY17" fmla="*/ 1446245 h 1912775"/>
                  <a:gd name="connsiteX18" fmla="*/ 1688841 w 3331029"/>
                  <a:gd name="connsiteY18" fmla="*/ 886408 h 1912775"/>
                  <a:gd name="connsiteX19" fmla="*/ 1558213 w 3331029"/>
                  <a:gd name="connsiteY19" fmla="*/ 457200 h 1912775"/>
                  <a:gd name="connsiteX20" fmla="*/ 1418253 w 3331029"/>
                  <a:gd name="connsiteY20"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164702 w 3331029"/>
                  <a:gd name="connsiteY15" fmla="*/ 1782147 h 1912775"/>
                  <a:gd name="connsiteX16" fmla="*/ 1968760 w 3331029"/>
                  <a:gd name="connsiteY16" fmla="*/ 1446245 h 1912775"/>
                  <a:gd name="connsiteX17" fmla="*/ 1688841 w 3331029"/>
                  <a:gd name="connsiteY17" fmla="*/ 886408 h 1912775"/>
                  <a:gd name="connsiteX18" fmla="*/ 1558213 w 3331029"/>
                  <a:gd name="connsiteY18" fmla="*/ 457200 h 1912775"/>
                  <a:gd name="connsiteX19" fmla="*/ 1418253 w 3331029"/>
                  <a:gd name="connsiteY19"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164702 w 3331029"/>
                  <a:gd name="connsiteY14" fmla="*/ 1782147 h 1912775"/>
                  <a:gd name="connsiteX15" fmla="*/ 1968760 w 3331029"/>
                  <a:gd name="connsiteY15" fmla="*/ 1446245 h 1912775"/>
                  <a:gd name="connsiteX16" fmla="*/ 1688841 w 3331029"/>
                  <a:gd name="connsiteY16" fmla="*/ 886408 h 1912775"/>
                  <a:gd name="connsiteX17" fmla="*/ 1558213 w 3331029"/>
                  <a:gd name="connsiteY17" fmla="*/ 457200 h 1912775"/>
                  <a:gd name="connsiteX18" fmla="*/ 1418253 w 3331029"/>
                  <a:gd name="connsiteY18"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558213 w 3331029"/>
                  <a:gd name="connsiteY16" fmla="*/ 457200 h 1912775"/>
                  <a:gd name="connsiteX17" fmla="*/ 1418253 w 3331029"/>
                  <a:gd name="connsiteY17"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418253 w 3331029"/>
                  <a:gd name="connsiteY16"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418253 w 3331029"/>
                  <a:gd name="connsiteY15"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36914 w 3331029"/>
                  <a:gd name="connsiteY0" fmla="*/ 0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36914 w 3331029"/>
                  <a:gd name="connsiteY14" fmla="*/ 0 h 1912775"/>
                  <a:gd name="connsiteX0" fmla="*/ 1436914 w 3331029"/>
                  <a:gd name="connsiteY0" fmla="*/ 0 h 1912775"/>
                  <a:gd name="connsiteX1" fmla="*/ 223935 w 3331029"/>
                  <a:gd name="connsiteY1" fmla="*/ 699796 h 1912775"/>
                  <a:gd name="connsiteX2" fmla="*/ 130629 w 3331029"/>
                  <a:gd name="connsiteY2" fmla="*/ 989045 h 1912775"/>
                  <a:gd name="connsiteX3" fmla="*/ 0 w 3331029"/>
                  <a:gd name="connsiteY3" fmla="*/ 1614196 h 1912775"/>
                  <a:gd name="connsiteX4" fmla="*/ 746449 w 3331029"/>
                  <a:gd name="connsiteY4" fmla="*/ 1828800 h 1912775"/>
                  <a:gd name="connsiteX5" fmla="*/ 1735494 w 3331029"/>
                  <a:gd name="connsiteY5" fmla="*/ 1912775 h 1912775"/>
                  <a:gd name="connsiteX6" fmla="*/ 2948474 w 3331029"/>
                  <a:gd name="connsiteY6" fmla="*/ 1884784 h 1912775"/>
                  <a:gd name="connsiteX7" fmla="*/ 2901821 w 3331029"/>
                  <a:gd name="connsiteY7" fmla="*/ 1772816 h 1912775"/>
                  <a:gd name="connsiteX8" fmla="*/ 3247053 w 3331029"/>
                  <a:gd name="connsiteY8" fmla="*/ 783771 h 1912775"/>
                  <a:gd name="connsiteX9" fmla="*/ 3331029 w 3331029"/>
                  <a:gd name="connsiteY9" fmla="*/ 513184 h 1912775"/>
                  <a:gd name="connsiteX10" fmla="*/ 3331029 w 3331029"/>
                  <a:gd name="connsiteY10" fmla="*/ 158620 h 1912775"/>
                  <a:gd name="connsiteX11" fmla="*/ 2911151 w 3331029"/>
                  <a:gd name="connsiteY11" fmla="*/ 0 h 1912775"/>
                  <a:gd name="connsiteX12" fmla="*/ 2164702 w 3331029"/>
                  <a:gd name="connsiteY12" fmla="*/ 1782147 h 1912775"/>
                  <a:gd name="connsiteX13" fmla="*/ 1436914 w 3331029"/>
                  <a:gd name="connsiteY13" fmla="*/ 0 h 1912775"/>
                  <a:gd name="connsiteX0" fmla="*/ 1436914 w 3331029"/>
                  <a:gd name="connsiteY0" fmla="*/ 0 h 1912775"/>
                  <a:gd name="connsiteX1" fmla="*/ 130629 w 3331029"/>
                  <a:gd name="connsiteY1" fmla="*/ 989045 h 1912775"/>
                  <a:gd name="connsiteX2" fmla="*/ 0 w 3331029"/>
                  <a:gd name="connsiteY2" fmla="*/ 1614196 h 1912775"/>
                  <a:gd name="connsiteX3" fmla="*/ 746449 w 3331029"/>
                  <a:gd name="connsiteY3" fmla="*/ 1828800 h 1912775"/>
                  <a:gd name="connsiteX4" fmla="*/ 1735494 w 3331029"/>
                  <a:gd name="connsiteY4" fmla="*/ 1912775 h 1912775"/>
                  <a:gd name="connsiteX5" fmla="*/ 2948474 w 3331029"/>
                  <a:gd name="connsiteY5" fmla="*/ 1884784 h 1912775"/>
                  <a:gd name="connsiteX6" fmla="*/ 2901821 w 3331029"/>
                  <a:gd name="connsiteY6" fmla="*/ 1772816 h 1912775"/>
                  <a:gd name="connsiteX7" fmla="*/ 3247053 w 3331029"/>
                  <a:gd name="connsiteY7" fmla="*/ 783771 h 1912775"/>
                  <a:gd name="connsiteX8" fmla="*/ 3331029 w 3331029"/>
                  <a:gd name="connsiteY8" fmla="*/ 513184 h 1912775"/>
                  <a:gd name="connsiteX9" fmla="*/ 3331029 w 3331029"/>
                  <a:gd name="connsiteY9" fmla="*/ 158620 h 1912775"/>
                  <a:gd name="connsiteX10" fmla="*/ 2911151 w 3331029"/>
                  <a:gd name="connsiteY10" fmla="*/ 0 h 1912775"/>
                  <a:gd name="connsiteX11" fmla="*/ 2164702 w 3331029"/>
                  <a:gd name="connsiteY11" fmla="*/ 1782147 h 1912775"/>
                  <a:gd name="connsiteX12" fmla="*/ 1436914 w 3331029"/>
                  <a:gd name="connsiteY12"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1735494 w 3331029"/>
                  <a:gd name="connsiteY2" fmla="*/ 1912775 h 1912775"/>
                  <a:gd name="connsiteX3" fmla="*/ 2948474 w 3331029"/>
                  <a:gd name="connsiteY3" fmla="*/ 1884784 h 1912775"/>
                  <a:gd name="connsiteX4" fmla="*/ 2901821 w 3331029"/>
                  <a:gd name="connsiteY4" fmla="*/ 1772816 h 1912775"/>
                  <a:gd name="connsiteX5" fmla="*/ 3247053 w 3331029"/>
                  <a:gd name="connsiteY5" fmla="*/ 783771 h 1912775"/>
                  <a:gd name="connsiteX6" fmla="*/ 3331029 w 3331029"/>
                  <a:gd name="connsiteY6" fmla="*/ 513184 h 1912775"/>
                  <a:gd name="connsiteX7" fmla="*/ 3331029 w 3331029"/>
                  <a:gd name="connsiteY7" fmla="*/ 158620 h 1912775"/>
                  <a:gd name="connsiteX8" fmla="*/ 2911151 w 3331029"/>
                  <a:gd name="connsiteY8" fmla="*/ 0 h 1912775"/>
                  <a:gd name="connsiteX9" fmla="*/ 2164702 w 3331029"/>
                  <a:gd name="connsiteY9" fmla="*/ 1782147 h 1912775"/>
                  <a:gd name="connsiteX10" fmla="*/ 1436914 w 3331029"/>
                  <a:gd name="connsiteY10" fmla="*/ 0 h 1912775"/>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247053 w 3331029"/>
                  <a:gd name="connsiteY4" fmla="*/ 783771 h 1915295"/>
                  <a:gd name="connsiteX5" fmla="*/ 3331029 w 3331029"/>
                  <a:gd name="connsiteY5" fmla="*/ 513184 h 1915295"/>
                  <a:gd name="connsiteX6" fmla="*/ 3331029 w 3331029"/>
                  <a:gd name="connsiteY6" fmla="*/ 158620 h 1915295"/>
                  <a:gd name="connsiteX7" fmla="*/ 2911151 w 3331029"/>
                  <a:gd name="connsiteY7" fmla="*/ 0 h 1915295"/>
                  <a:gd name="connsiteX8" fmla="*/ 2164702 w 3331029"/>
                  <a:gd name="connsiteY8" fmla="*/ 1782147 h 1915295"/>
                  <a:gd name="connsiteX9" fmla="*/ 1436914 w 3331029"/>
                  <a:gd name="connsiteY9"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14689 w 3308804"/>
                  <a:gd name="connsiteY0" fmla="*/ 0 h 1917453"/>
                  <a:gd name="connsiteX1" fmla="*/ 0 w 3308804"/>
                  <a:gd name="connsiteY1" fmla="*/ 1623721 h 1917453"/>
                  <a:gd name="connsiteX2" fmla="*/ 2926249 w 3308804"/>
                  <a:gd name="connsiteY2" fmla="*/ 1884784 h 1917453"/>
                  <a:gd name="connsiteX3" fmla="*/ 2879596 w 3308804"/>
                  <a:gd name="connsiteY3" fmla="*/ 1772816 h 1917453"/>
                  <a:gd name="connsiteX4" fmla="*/ 3308804 w 3308804"/>
                  <a:gd name="connsiteY4" fmla="*/ 513184 h 1917453"/>
                  <a:gd name="connsiteX5" fmla="*/ 3308804 w 3308804"/>
                  <a:gd name="connsiteY5" fmla="*/ 158620 h 1917453"/>
                  <a:gd name="connsiteX6" fmla="*/ 2888926 w 3308804"/>
                  <a:gd name="connsiteY6" fmla="*/ 0 h 1917453"/>
                  <a:gd name="connsiteX7" fmla="*/ 2142477 w 3308804"/>
                  <a:gd name="connsiteY7" fmla="*/ 1782147 h 1917453"/>
                  <a:gd name="connsiteX8" fmla="*/ 1414689 w 3308804"/>
                  <a:gd name="connsiteY8" fmla="*/ 0 h 1917453"/>
                  <a:gd name="connsiteX0" fmla="*/ 1417845 w 3311960"/>
                  <a:gd name="connsiteY0" fmla="*/ 0 h 1917453"/>
                  <a:gd name="connsiteX1" fmla="*/ 3156 w 3311960"/>
                  <a:gd name="connsiteY1" fmla="*/ 1623721 h 1917453"/>
                  <a:gd name="connsiteX2" fmla="*/ 2929405 w 3311960"/>
                  <a:gd name="connsiteY2" fmla="*/ 1884784 h 1917453"/>
                  <a:gd name="connsiteX3" fmla="*/ 2882752 w 3311960"/>
                  <a:gd name="connsiteY3" fmla="*/ 1772816 h 1917453"/>
                  <a:gd name="connsiteX4" fmla="*/ 3311960 w 3311960"/>
                  <a:gd name="connsiteY4" fmla="*/ 513184 h 1917453"/>
                  <a:gd name="connsiteX5" fmla="*/ 3311960 w 3311960"/>
                  <a:gd name="connsiteY5" fmla="*/ 158620 h 1917453"/>
                  <a:gd name="connsiteX6" fmla="*/ 2892082 w 3311960"/>
                  <a:gd name="connsiteY6" fmla="*/ 0 h 1917453"/>
                  <a:gd name="connsiteX7" fmla="*/ 2145633 w 3311960"/>
                  <a:gd name="connsiteY7" fmla="*/ 1782147 h 1917453"/>
                  <a:gd name="connsiteX8" fmla="*/ 1417845 w 3311960"/>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16029" h="1917453">
                    <a:moveTo>
                      <a:pt x="1421914" y="0"/>
                    </a:moveTo>
                    <a:cubicBezTo>
                      <a:pt x="-316689" y="435428"/>
                      <a:pt x="45908" y="1617501"/>
                      <a:pt x="7225" y="1623721"/>
                    </a:cubicBezTo>
                    <a:cubicBezTo>
                      <a:pt x="868946" y="1956513"/>
                      <a:pt x="1941319" y="1943878"/>
                      <a:pt x="2933474" y="1884784"/>
                    </a:cubicBezTo>
                    <a:lnTo>
                      <a:pt x="2886821" y="1772816"/>
                    </a:lnTo>
                    <a:lnTo>
                      <a:pt x="3316029" y="513184"/>
                    </a:lnTo>
                    <a:lnTo>
                      <a:pt x="3316029" y="158620"/>
                    </a:lnTo>
                    <a:lnTo>
                      <a:pt x="2896151" y="0"/>
                    </a:lnTo>
                    <a:cubicBezTo>
                      <a:pt x="2731310" y="584719"/>
                      <a:pt x="2473163" y="1374710"/>
                      <a:pt x="2149702" y="1782147"/>
                    </a:cubicBezTo>
                    <a:cubicBezTo>
                      <a:pt x="1826241" y="1377820"/>
                      <a:pt x="1568094" y="572278"/>
                      <a:pt x="1421914" y="0"/>
                    </a:cubicBezTo>
                    <a:close/>
                  </a:path>
                </a:pathLst>
              </a:cu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0791" eaLnBrk="1" fontAlgn="auto" latinLnBrk="0" hangingPunct="1">
                  <a:lnSpc>
                    <a:spcPct val="100000"/>
                  </a:lnSpc>
                  <a:spcBef>
                    <a:spcPts val="0"/>
                  </a:spcBef>
                  <a:spcAft>
                    <a:spcPts val="0"/>
                  </a:spcAft>
                  <a:buClrTx/>
                  <a:buSzTx/>
                  <a:buFontTx/>
                  <a:buNone/>
                  <a:tabLst/>
                  <a:defRPr/>
                </a:pPr>
                <a:endParaRPr kumimoji="0" lang="en-IN" sz="1873" b="1" i="0" u="none" strike="noStrike" kern="0" cap="none" spc="0" normalizeH="0" baseline="0" noProof="0" dirty="0">
                  <a:ln>
                    <a:noFill/>
                  </a:ln>
                  <a:solidFill>
                    <a:prstClr val="white"/>
                  </a:solidFill>
                  <a:effectLst/>
                  <a:uLnTx/>
                  <a:uFillTx/>
                  <a:latin typeface="Segoe UI"/>
                </a:endParaRPr>
              </a:p>
            </p:txBody>
          </p:sp>
        </p:grpSp>
        <p:grpSp>
          <p:nvGrpSpPr>
            <p:cNvPr id="172" name="Group 171"/>
            <p:cNvGrpSpPr/>
            <p:nvPr/>
          </p:nvGrpSpPr>
          <p:grpSpPr>
            <a:xfrm>
              <a:off x="9873487" y="5820260"/>
              <a:ext cx="277438" cy="376832"/>
              <a:chOff x="1008694" y="2356398"/>
              <a:chExt cx="277438" cy="376832"/>
            </a:xfrm>
          </p:grpSpPr>
          <p:sp>
            <p:nvSpPr>
              <p:cNvPr id="173" name="Rectangle 172"/>
              <p:cNvSpPr/>
              <p:nvPr/>
            </p:nvSpPr>
            <p:spPr bwMode="auto">
              <a:xfrm>
                <a:off x="1008694" y="2372698"/>
                <a:ext cx="277438" cy="31718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349724" marR="0" lvl="0" indent="-349724" algn="ctr" defTabSz="951028"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40" b="1" i="0" u="none" strike="noStrike" kern="0" cap="none" spc="0" normalizeH="0" baseline="0" noProof="0" dirty="0" err="1">
                  <a:ln>
                    <a:noFill/>
                  </a:ln>
                  <a:solidFill>
                    <a:srgbClr val="FFFFFF"/>
                  </a:solidFill>
                  <a:effectLst/>
                  <a:uLnTx/>
                  <a:uFillTx/>
                  <a:latin typeface="Segoe UI Light"/>
                  <a:ea typeface="Segoe UI" pitchFamily="34" charset="0"/>
                  <a:cs typeface="Segoe UI" pitchFamily="34" charset="0"/>
                </a:endParaRPr>
              </a:p>
            </p:txBody>
          </p:sp>
          <p:grpSp>
            <p:nvGrpSpPr>
              <p:cNvPr id="174" name="Group 173"/>
              <p:cNvGrpSpPr/>
              <p:nvPr/>
            </p:nvGrpSpPr>
            <p:grpSpPr>
              <a:xfrm>
                <a:off x="1008694" y="2356398"/>
                <a:ext cx="277438" cy="376832"/>
                <a:chOff x="5617016" y="4216783"/>
                <a:chExt cx="277438" cy="376832"/>
              </a:xfrm>
            </p:grpSpPr>
            <p:sp>
              <p:nvSpPr>
                <p:cNvPr id="175" name="Freeform 9"/>
                <p:cNvSpPr>
                  <a:spLocks noChangeAspect="1" noEditPoints="1"/>
                </p:cNvSpPr>
                <p:nvPr/>
              </p:nvSpPr>
              <p:spPr bwMode="black">
                <a:xfrm flipH="1">
                  <a:off x="5617016" y="4216783"/>
                  <a:ext cx="277438" cy="376832"/>
                </a:xfrm>
                <a:custGeom>
                  <a:avLst/>
                  <a:gdLst>
                    <a:gd name="T0" fmla="*/ 124 w 133"/>
                    <a:gd name="T1" fmla="*/ 0 h 182"/>
                    <a:gd name="T2" fmla="*/ 8 w 133"/>
                    <a:gd name="T3" fmla="*/ 0 h 182"/>
                    <a:gd name="T4" fmla="*/ 0 w 133"/>
                    <a:gd name="T5" fmla="*/ 8 h 182"/>
                    <a:gd name="T6" fmla="*/ 0 w 133"/>
                    <a:gd name="T7" fmla="*/ 173 h 182"/>
                    <a:gd name="T8" fmla="*/ 8 w 133"/>
                    <a:gd name="T9" fmla="*/ 182 h 182"/>
                    <a:gd name="T10" fmla="*/ 124 w 133"/>
                    <a:gd name="T11" fmla="*/ 182 h 182"/>
                    <a:gd name="T12" fmla="*/ 133 w 133"/>
                    <a:gd name="T13" fmla="*/ 173 h 182"/>
                    <a:gd name="T14" fmla="*/ 133 w 133"/>
                    <a:gd name="T15" fmla="*/ 8 h 182"/>
                    <a:gd name="T16" fmla="*/ 124 w 133"/>
                    <a:gd name="T17" fmla="*/ 0 h 182"/>
                    <a:gd name="T18" fmla="*/ 123 w 133"/>
                    <a:gd name="T19" fmla="*/ 160 h 182"/>
                    <a:gd name="T20" fmla="*/ 10 w 133"/>
                    <a:gd name="T21" fmla="*/ 160 h 182"/>
                    <a:gd name="T22" fmla="*/ 10 w 133"/>
                    <a:gd name="T23" fmla="*/ 10 h 182"/>
                    <a:gd name="T24" fmla="*/ 123 w 133"/>
                    <a:gd name="T25" fmla="*/ 10 h 182"/>
                    <a:gd name="T26" fmla="*/ 123 w 133"/>
                    <a:gd name="T27" fmla="*/ 16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182">
                      <a:moveTo>
                        <a:pt x="124" y="0"/>
                      </a:moveTo>
                      <a:cubicBezTo>
                        <a:pt x="8" y="0"/>
                        <a:pt x="8" y="0"/>
                        <a:pt x="8" y="0"/>
                      </a:cubicBezTo>
                      <a:cubicBezTo>
                        <a:pt x="3" y="0"/>
                        <a:pt x="0" y="4"/>
                        <a:pt x="0" y="8"/>
                      </a:cubicBezTo>
                      <a:cubicBezTo>
                        <a:pt x="0" y="173"/>
                        <a:pt x="0" y="173"/>
                        <a:pt x="0" y="173"/>
                      </a:cubicBezTo>
                      <a:cubicBezTo>
                        <a:pt x="0" y="178"/>
                        <a:pt x="3" y="182"/>
                        <a:pt x="8" y="182"/>
                      </a:cubicBezTo>
                      <a:cubicBezTo>
                        <a:pt x="124" y="182"/>
                        <a:pt x="124" y="182"/>
                        <a:pt x="124" y="182"/>
                      </a:cubicBezTo>
                      <a:cubicBezTo>
                        <a:pt x="129" y="182"/>
                        <a:pt x="133" y="178"/>
                        <a:pt x="133" y="173"/>
                      </a:cubicBezTo>
                      <a:cubicBezTo>
                        <a:pt x="133" y="8"/>
                        <a:pt x="133" y="8"/>
                        <a:pt x="133" y="8"/>
                      </a:cubicBezTo>
                      <a:cubicBezTo>
                        <a:pt x="133" y="4"/>
                        <a:pt x="129" y="0"/>
                        <a:pt x="124" y="0"/>
                      </a:cubicBezTo>
                      <a:close/>
                      <a:moveTo>
                        <a:pt x="123" y="160"/>
                      </a:moveTo>
                      <a:cubicBezTo>
                        <a:pt x="10" y="160"/>
                        <a:pt x="10" y="160"/>
                        <a:pt x="10" y="160"/>
                      </a:cubicBezTo>
                      <a:cubicBezTo>
                        <a:pt x="10" y="10"/>
                        <a:pt x="10" y="10"/>
                        <a:pt x="10" y="10"/>
                      </a:cubicBezTo>
                      <a:cubicBezTo>
                        <a:pt x="123" y="10"/>
                        <a:pt x="123" y="10"/>
                        <a:pt x="123" y="10"/>
                      </a:cubicBezTo>
                      <a:lnTo>
                        <a:pt x="123" y="160"/>
                      </a:lnTo>
                      <a:close/>
                    </a:path>
                  </a:pathLst>
                </a:cu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6" name="Freeform 33"/>
                <p:cNvSpPr>
                  <a:spLocks noChangeAspect="1" noEditPoints="1"/>
                </p:cNvSpPr>
                <p:nvPr/>
              </p:nvSpPr>
              <p:spPr bwMode="black">
                <a:xfrm>
                  <a:off x="5661142" y="4321168"/>
                  <a:ext cx="189187" cy="134572"/>
                </a:xfrm>
                <a:custGeom>
                  <a:avLst/>
                  <a:gdLst>
                    <a:gd name="T0" fmla="*/ 0 w 1871"/>
                    <a:gd name="T1" fmla="*/ 1139 h 1330"/>
                    <a:gd name="T2" fmla="*/ 1871 w 1871"/>
                    <a:gd name="T3" fmla="*/ 1139 h 1330"/>
                    <a:gd name="T4" fmla="*/ 1871 w 1871"/>
                    <a:gd name="T5" fmla="*/ 1330 h 1330"/>
                    <a:gd name="T6" fmla="*/ 0 w 1871"/>
                    <a:gd name="T7" fmla="*/ 1330 h 1330"/>
                    <a:gd name="T8" fmla="*/ 0 w 1871"/>
                    <a:gd name="T9" fmla="*/ 1139 h 1330"/>
                    <a:gd name="T10" fmla="*/ 1870 w 1871"/>
                    <a:gd name="T11" fmla="*/ 0 h 1330"/>
                    <a:gd name="T12" fmla="*/ 1829 w 1871"/>
                    <a:gd name="T13" fmla="*/ 312 h 1330"/>
                    <a:gd name="T14" fmla="*/ 1766 w 1871"/>
                    <a:gd name="T15" fmla="*/ 249 h 1330"/>
                    <a:gd name="T16" fmla="*/ 1118 w 1871"/>
                    <a:gd name="T17" fmla="*/ 897 h 1330"/>
                    <a:gd name="T18" fmla="*/ 1115 w 1871"/>
                    <a:gd name="T19" fmla="*/ 894 h 1330"/>
                    <a:gd name="T20" fmla="*/ 1112 w 1871"/>
                    <a:gd name="T21" fmla="*/ 897 h 1330"/>
                    <a:gd name="T22" fmla="*/ 951 w 1871"/>
                    <a:gd name="T23" fmla="*/ 736 h 1330"/>
                    <a:gd name="T24" fmla="*/ 951 w 1871"/>
                    <a:gd name="T25" fmla="*/ 737 h 1330"/>
                    <a:gd name="T26" fmla="*/ 710 w 1871"/>
                    <a:gd name="T27" fmla="*/ 496 h 1330"/>
                    <a:gd name="T28" fmla="*/ 175 w 1871"/>
                    <a:gd name="T29" fmla="*/ 1032 h 1330"/>
                    <a:gd name="T30" fmla="*/ 171 w 1871"/>
                    <a:gd name="T31" fmla="*/ 1037 h 1330"/>
                    <a:gd name="T32" fmla="*/ 166 w 1871"/>
                    <a:gd name="T33" fmla="*/ 1041 h 1330"/>
                    <a:gd name="T34" fmla="*/ 161 w 1871"/>
                    <a:gd name="T35" fmla="*/ 1046 h 1330"/>
                    <a:gd name="T36" fmla="*/ 160 w 1871"/>
                    <a:gd name="T37" fmla="*/ 1045 h 1330"/>
                    <a:gd name="T38" fmla="*/ 140 w 1871"/>
                    <a:gd name="T39" fmla="*/ 1059 h 1330"/>
                    <a:gd name="T40" fmla="*/ 101 w 1871"/>
                    <a:gd name="T41" fmla="*/ 1066 h 1330"/>
                    <a:gd name="T42" fmla="*/ 1 w 1871"/>
                    <a:gd name="T43" fmla="*/ 967 h 1330"/>
                    <a:gd name="T44" fmla="*/ 9 w 1871"/>
                    <a:gd name="T45" fmla="*/ 928 h 1330"/>
                    <a:gd name="T46" fmla="*/ 23 w 1871"/>
                    <a:gd name="T47" fmla="*/ 908 h 1330"/>
                    <a:gd name="T48" fmla="*/ 19 w 1871"/>
                    <a:gd name="T49" fmla="*/ 905 h 1330"/>
                    <a:gd name="T50" fmla="*/ 707 w 1871"/>
                    <a:gd name="T51" fmla="*/ 217 h 1330"/>
                    <a:gd name="T52" fmla="*/ 710 w 1871"/>
                    <a:gd name="T53" fmla="*/ 220 h 1330"/>
                    <a:gd name="T54" fmla="*/ 713 w 1871"/>
                    <a:gd name="T55" fmla="*/ 217 h 1330"/>
                    <a:gd name="T56" fmla="*/ 874 w 1871"/>
                    <a:gd name="T57" fmla="*/ 378 h 1330"/>
                    <a:gd name="T58" fmla="*/ 874 w 1871"/>
                    <a:gd name="T59" fmla="*/ 377 h 1330"/>
                    <a:gd name="T60" fmla="*/ 1115 w 1871"/>
                    <a:gd name="T61" fmla="*/ 618 h 1330"/>
                    <a:gd name="T62" fmla="*/ 1625 w 1871"/>
                    <a:gd name="T63" fmla="*/ 108 h 1330"/>
                    <a:gd name="T64" fmla="*/ 1558 w 1871"/>
                    <a:gd name="T65" fmla="*/ 41 h 1330"/>
                    <a:gd name="T66" fmla="*/ 1870 w 1871"/>
                    <a:gd name="T67" fmla="*/ 0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71" h="1330">
                      <a:moveTo>
                        <a:pt x="0" y="1139"/>
                      </a:moveTo>
                      <a:cubicBezTo>
                        <a:pt x="1871" y="1139"/>
                        <a:pt x="1871" y="1139"/>
                        <a:pt x="1871" y="1139"/>
                      </a:cubicBezTo>
                      <a:cubicBezTo>
                        <a:pt x="1871" y="1330"/>
                        <a:pt x="1871" y="1330"/>
                        <a:pt x="1871" y="1330"/>
                      </a:cubicBezTo>
                      <a:cubicBezTo>
                        <a:pt x="0" y="1330"/>
                        <a:pt x="0" y="1330"/>
                        <a:pt x="0" y="1330"/>
                      </a:cubicBezTo>
                      <a:cubicBezTo>
                        <a:pt x="0" y="1139"/>
                        <a:pt x="0" y="1139"/>
                        <a:pt x="0" y="1139"/>
                      </a:cubicBezTo>
                      <a:close/>
                      <a:moveTo>
                        <a:pt x="1870" y="0"/>
                      </a:moveTo>
                      <a:cubicBezTo>
                        <a:pt x="1829" y="312"/>
                        <a:pt x="1829" y="312"/>
                        <a:pt x="1829" y="312"/>
                      </a:cubicBezTo>
                      <a:cubicBezTo>
                        <a:pt x="1766" y="249"/>
                        <a:pt x="1766" y="249"/>
                        <a:pt x="1766" y="249"/>
                      </a:cubicBezTo>
                      <a:cubicBezTo>
                        <a:pt x="1118" y="897"/>
                        <a:pt x="1118" y="897"/>
                        <a:pt x="1118" y="897"/>
                      </a:cubicBezTo>
                      <a:cubicBezTo>
                        <a:pt x="1115" y="894"/>
                        <a:pt x="1115" y="894"/>
                        <a:pt x="1115" y="894"/>
                      </a:cubicBezTo>
                      <a:cubicBezTo>
                        <a:pt x="1112" y="897"/>
                        <a:pt x="1112" y="897"/>
                        <a:pt x="1112" y="897"/>
                      </a:cubicBezTo>
                      <a:cubicBezTo>
                        <a:pt x="951" y="736"/>
                        <a:pt x="951" y="736"/>
                        <a:pt x="951" y="736"/>
                      </a:cubicBezTo>
                      <a:cubicBezTo>
                        <a:pt x="951" y="737"/>
                        <a:pt x="951" y="737"/>
                        <a:pt x="951" y="737"/>
                      </a:cubicBezTo>
                      <a:cubicBezTo>
                        <a:pt x="710" y="496"/>
                        <a:pt x="710" y="496"/>
                        <a:pt x="710" y="496"/>
                      </a:cubicBezTo>
                      <a:cubicBezTo>
                        <a:pt x="175" y="1032"/>
                        <a:pt x="175" y="1032"/>
                        <a:pt x="175" y="1032"/>
                      </a:cubicBezTo>
                      <a:cubicBezTo>
                        <a:pt x="171" y="1037"/>
                        <a:pt x="171" y="1037"/>
                        <a:pt x="171" y="1037"/>
                      </a:cubicBezTo>
                      <a:cubicBezTo>
                        <a:pt x="166" y="1041"/>
                        <a:pt x="166" y="1041"/>
                        <a:pt x="166" y="1041"/>
                      </a:cubicBezTo>
                      <a:cubicBezTo>
                        <a:pt x="161" y="1046"/>
                        <a:pt x="161" y="1046"/>
                        <a:pt x="161" y="1046"/>
                      </a:cubicBezTo>
                      <a:cubicBezTo>
                        <a:pt x="160" y="1045"/>
                        <a:pt x="160" y="1045"/>
                        <a:pt x="160" y="1045"/>
                      </a:cubicBezTo>
                      <a:cubicBezTo>
                        <a:pt x="140" y="1059"/>
                        <a:pt x="140" y="1059"/>
                        <a:pt x="140" y="1059"/>
                      </a:cubicBezTo>
                      <a:cubicBezTo>
                        <a:pt x="128" y="1064"/>
                        <a:pt x="115" y="1066"/>
                        <a:pt x="101" y="1066"/>
                      </a:cubicBezTo>
                      <a:cubicBezTo>
                        <a:pt x="46" y="1066"/>
                        <a:pt x="1" y="1022"/>
                        <a:pt x="1" y="967"/>
                      </a:cubicBezTo>
                      <a:cubicBezTo>
                        <a:pt x="1" y="953"/>
                        <a:pt x="4" y="940"/>
                        <a:pt x="9" y="928"/>
                      </a:cubicBezTo>
                      <a:cubicBezTo>
                        <a:pt x="23" y="908"/>
                        <a:pt x="23" y="908"/>
                        <a:pt x="23" y="908"/>
                      </a:cubicBezTo>
                      <a:cubicBezTo>
                        <a:pt x="19" y="905"/>
                        <a:pt x="19" y="905"/>
                        <a:pt x="19" y="905"/>
                      </a:cubicBezTo>
                      <a:cubicBezTo>
                        <a:pt x="707" y="217"/>
                        <a:pt x="707" y="217"/>
                        <a:pt x="707" y="217"/>
                      </a:cubicBezTo>
                      <a:cubicBezTo>
                        <a:pt x="710" y="220"/>
                        <a:pt x="710" y="220"/>
                        <a:pt x="710" y="220"/>
                      </a:cubicBezTo>
                      <a:cubicBezTo>
                        <a:pt x="713" y="217"/>
                        <a:pt x="713" y="217"/>
                        <a:pt x="713" y="217"/>
                      </a:cubicBezTo>
                      <a:cubicBezTo>
                        <a:pt x="874" y="378"/>
                        <a:pt x="874" y="378"/>
                        <a:pt x="874" y="378"/>
                      </a:cubicBezTo>
                      <a:cubicBezTo>
                        <a:pt x="874" y="377"/>
                        <a:pt x="874" y="377"/>
                        <a:pt x="874" y="377"/>
                      </a:cubicBezTo>
                      <a:cubicBezTo>
                        <a:pt x="1115" y="618"/>
                        <a:pt x="1115" y="618"/>
                        <a:pt x="1115" y="618"/>
                      </a:cubicBezTo>
                      <a:cubicBezTo>
                        <a:pt x="1625" y="108"/>
                        <a:pt x="1625" y="108"/>
                        <a:pt x="1625" y="108"/>
                      </a:cubicBezTo>
                      <a:cubicBezTo>
                        <a:pt x="1558" y="41"/>
                        <a:pt x="1558" y="41"/>
                        <a:pt x="1558" y="41"/>
                      </a:cubicBezTo>
                      <a:cubicBezTo>
                        <a:pt x="1870" y="0"/>
                        <a:pt x="1870" y="0"/>
                        <a:pt x="1870" y="0"/>
                      </a:cubicBezTo>
                      <a:close/>
                    </a:path>
                  </a:pathLst>
                </a:custGeom>
                <a:solidFill>
                  <a:schemeClr val="tx1">
                    <a:lumMod val="50000"/>
                  </a:schemeClr>
                </a:solidFill>
                <a:ln>
                  <a:noFill/>
                </a:ln>
              </p:spPr>
              <p:txBody>
                <a:bodyPr vert="horz" wrap="square" lIns="93260" tIns="46630" rIns="93260" bIns="46630" numCol="1" anchor="t" anchorCtr="0" compatLnSpc="1">
                  <a:prstTxWarp prst="textNoShape">
                    <a:avLst/>
                  </a:prstTxWarp>
                </a:bodyPr>
                <a:lstStyle/>
                <a:p>
                  <a:pPr marL="0" marR="0" lvl="0" indent="0" defTabSz="950407"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dirty="0">
                    <a:ln>
                      <a:noFill/>
                    </a:ln>
                    <a:solidFill>
                      <a:srgbClr val="000000"/>
                    </a:solidFill>
                    <a:effectLst/>
                    <a:uLnTx/>
                    <a:uFillTx/>
                    <a:latin typeface="Segoe UI" charset="0"/>
                    <a:ea typeface="MS PGothic" charset="0"/>
                  </a:endParaRPr>
                </a:p>
              </p:txBody>
            </p:sp>
          </p:grpSp>
        </p:grpSp>
      </p:grpSp>
      <p:sp>
        <p:nvSpPr>
          <p:cNvPr id="150" name="Rectangle 149"/>
          <p:cNvSpPr/>
          <p:nvPr/>
        </p:nvSpPr>
        <p:spPr bwMode="auto">
          <a:xfrm>
            <a:off x="2575992" y="3614468"/>
            <a:ext cx="2321853" cy="807842"/>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9195" rIns="93260" bIns="149195" numCol="1" spcCol="0" rtlCol="0" fromWordArt="0" anchor="ctr" anchorCtr="0" forceAA="0" compatLnSpc="1">
            <a:prstTxWarp prst="textNoShape">
              <a:avLst/>
            </a:prstTxWarp>
            <a:noAutofit/>
          </a:bodyPr>
          <a:lstStyle/>
          <a:p>
            <a:pPr marL="0" marR="0" lvl="0" indent="0" defTabSz="949859" eaLnBrk="1" fontAlgn="base" latinLnBrk="0" hangingPunct="1">
              <a:lnSpc>
                <a:spcPct val="90000"/>
              </a:lnSpc>
              <a:spcBef>
                <a:spcPct val="0"/>
              </a:spcBef>
              <a:spcAft>
                <a:spcPts val="612"/>
              </a:spcAft>
              <a:buClrTx/>
              <a:buSzTx/>
              <a:buFontTx/>
              <a:buNone/>
              <a:tabLst/>
              <a:defRPr/>
            </a:pPr>
            <a:r>
              <a:rPr kumimoji="0" lang="en-US" sz="1224" b="0" i="0" u="none" strike="noStrike" kern="0" cap="none" spc="0" normalizeH="0" baseline="0" noProof="0" dirty="0">
                <a:ln>
                  <a:noFill/>
                </a:ln>
                <a:gradFill>
                  <a:gsLst>
                    <a:gs pos="72566">
                      <a:srgbClr val="505050"/>
                    </a:gs>
                    <a:gs pos="43000">
                      <a:srgbClr val="505050"/>
                    </a:gs>
                  </a:gsLst>
                  <a:lin ang="5400000" scaled="0"/>
                </a:gradFill>
                <a:effectLst/>
                <a:uLnTx/>
                <a:uFillTx/>
                <a:latin typeface="Segoe UI Semibold" panose="020B0702040204020203" pitchFamily="34" charset="0"/>
                <a:cs typeface="Segoe UI Semibold" panose="020B0702040204020203" pitchFamily="34" charset="0"/>
              </a:rPr>
              <a:t>Live connection or</a:t>
            </a:r>
          </a:p>
          <a:p>
            <a:pPr marL="0" marR="0" lvl="0" indent="0" defTabSz="949859" eaLnBrk="1" fontAlgn="base" latinLnBrk="0" hangingPunct="1">
              <a:lnSpc>
                <a:spcPct val="90000"/>
              </a:lnSpc>
              <a:spcBef>
                <a:spcPct val="0"/>
              </a:spcBef>
              <a:spcAft>
                <a:spcPts val="612"/>
              </a:spcAft>
              <a:buClrTx/>
              <a:buSzTx/>
              <a:buFontTx/>
              <a:buNone/>
              <a:tabLst/>
              <a:defRPr/>
            </a:pPr>
            <a:r>
              <a:rPr kumimoji="0" lang="en-US" sz="1224" b="0" i="0" u="none" strike="noStrike" kern="0" cap="none" spc="0" normalizeH="0" baseline="0" noProof="0" dirty="0">
                <a:ln>
                  <a:noFill/>
                </a:ln>
                <a:gradFill>
                  <a:gsLst>
                    <a:gs pos="72566">
                      <a:srgbClr val="505050"/>
                    </a:gs>
                    <a:gs pos="43000">
                      <a:srgbClr val="505050"/>
                    </a:gs>
                  </a:gsLst>
                  <a:lin ang="5400000" scaled="0"/>
                </a:gradFill>
                <a:effectLst/>
                <a:uLnTx/>
                <a:uFillTx/>
                <a:latin typeface="Segoe UI Semibold" panose="020B0702040204020203" pitchFamily="34" charset="0"/>
                <a:cs typeface="Segoe UI Semibold" panose="020B0702040204020203" pitchFamily="34" charset="0"/>
              </a:rPr>
              <a:t>scheduled refresh</a:t>
            </a:r>
          </a:p>
        </p:txBody>
      </p:sp>
      <p:sp>
        <p:nvSpPr>
          <p:cNvPr id="99" name="Freeform 5"/>
          <p:cNvSpPr>
            <a:spLocks noEditPoints="1"/>
          </p:cNvSpPr>
          <p:nvPr/>
        </p:nvSpPr>
        <p:spPr bwMode="auto">
          <a:xfrm>
            <a:off x="3455577" y="3164321"/>
            <a:ext cx="387489" cy="387637"/>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chemeClr val="bg2">
              <a:lumMod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grpSp>
        <p:nvGrpSpPr>
          <p:cNvPr id="100" name="Group 99"/>
          <p:cNvGrpSpPr/>
          <p:nvPr/>
        </p:nvGrpSpPr>
        <p:grpSpPr>
          <a:xfrm>
            <a:off x="8035323" y="3271699"/>
            <a:ext cx="384467" cy="384467"/>
            <a:chOff x="8431377" y="-766784"/>
            <a:chExt cx="457200" cy="457200"/>
          </a:xfrm>
          <a:solidFill>
            <a:schemeClr val="bg2">
              <a:lumMod val="10000"/>
            </a:schemeClr>
          </a:solidFill>
        </p:grpSpPr>
        <p:sp>
          <p:nvSpPr>
            <p:cNvPr id="101"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kern="0" dirty="0">
                <a:solidFill>
                  <a:srgbClr val="505050"/>
                </a:solidFill>
              </a:endParaRPr>
            </a:p>
          </p:txBody>
        </p:sp>
        <p:sp>
          <p:nvSpPr>
            <p:cNvPr id="102"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kern="0" dirty="0">
                <a:solidFill>
                  <a:srgbClr val="505050"/>
                </a:solidFill>
              </a:endParaRPr>
            </a:p>
          </p:txBody>
        </p:sp>
      </p:grpSp>
      <p:grpSp>
        <p:nvGrpSpPr>
          <p:cNvPr id="103" name="Group 102"/>
          <p:cNvGrpSpPr/>
          <p:nvPr/>
        </p:nvGrpSpPr>
        <p:grpSpPr>
          <a:xfrm>
            <a:off x="8018230" y="4476919"/>
            <a:ext cx="384467" cy="384467"/>
            <a:chOff x="8431377" y="-766784"/>
            <a:chExt cx="457200" cy="457200"/>
          </a:xfrm>
          <a:solidFill>
            <a:schemeClr val="bg2">
              <a:lumMod val="10000"/>
            </a:schemeClr>
          </a:solidFill>
        </p:grpSpPr>
        <p:sp>
          <p:nvSpPr>
            <p:cNvPr id="104"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kern="0" dirty="0">
                <a:solidFill>
                  <a:srgbClr val="505050"/>
                </a:solidFill>
              </a:endParaRPr>
            </a:p>
          </p:txBody>
        </p:sp>
        <p:sp>
          <p:nvSpPr>
            <p:cNvPr id="105"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kern="0" dirty="0">
                <a:solidFill>
                  <a:srgbClr val="505050"/>
                </a:solidFill>
              </a:endParaRPr>
            </a:p>
          </p:txBody>
        </p:sp>
      </p:grpSp>
    </p:spTree>
    <p:extLst>
      <p:ext uri="{BB962C8B-B14F-4D97-AF65-F5344CB8AC3E}">
        <p14:creationId xmlns:p14="http://schemas.microsoft.com/office/powerpoint/2010/main" val="13939637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8"/>
                                        </p:tgtEl>
                                        <p:attrNameLst>
                                          <p:attrName>style.visibility</p:attrName>
                                        </p:attrNameLst>
                                      </p:cBhvr>
                                      <p:to>
                                        <p:strVal val="visible"/>
                                      </p:to>
                                    </p:set>
                                    <p:animEffect transition="in" filter="fade">
                                      <p:cBhvr>
                                        <p:cTn id="7" dur="500"/>
                                        <p:tgtEl>
                                          <p:spTgt spid="88"/>
                                        </p:tgtEl>
                                      </p:cBhvr>
                                    </p:animEffect>
                                  </p:childTnLst>
                                </p:cTn>
                              </p:par>
                              <p:par>
                                <p:cTn id="8" presetID="42" presetClass="path" presetSubtype="0" accel="50000" decel="50000" fill="hold" nodeType="withEffect">
                                  <p:stCondLst>
                                    <p:cond delay="0"/>
                                  </p:stCondLst>
                                  <p:childTnLst>
                                    <p:animMotion origin="layout" path="M -0.03817 -0.00249 L 1.91218E-6 -4.12619E-6 " pathEditMode="relative" rAng="0" ptsTypes="AA">
                                      <p:cBhvr>
                                        <p:cTn id="9" dur="500" fill="hold"/>
                                        <p:tgtEl>
                                          <p:spTgt spid="88"/>
                                        </p:tgtEl>
                                        <p:attrNameLst>
                                          <p:attrName>ppt_x</p:attrName>
                                          <p:attrName>ppt_y</p:attrName>
                                        </p:attrNameLst>
                                      </p:cBhvr>
                                      <p:rCtr x="1902" y="113"/>
                                    </p:animMotion>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100"/>
                                        </p:tgtEl>
                                        <p:attrNameLst>
                                          <p:attrName>style.visibility</p:attrName>
                                        </p:attrNameLst>
                                      </p:cBhvr>
                                      <p:to>
                                        <p:strVal val="visible"/>
                                      </p:to>
                                    </p:set>
                                    <p:animEffect transition="in" filter="fade">
                                      <p:cBhvr>
                                        <p:cTn id="13" dur="500"/>
                                        <p:tgtEl>
                                          <p:spTgt spid="100"/>
                                        </p:tgtEl>
                                      </p:cBhvr>
                                    </p:animEffect>
                                  </p:childTnLst>
                                </p:cTn>
                              </p:par>
                              <p:par>
                                <p:cTn id="14" presetID="42" presetClass="path" presetSubtype="0" accel="50000" decel="50000" fill="hold" nodeType="withEffect">
                                  <p:stCondLst>
                                    <p:cond delay="0"/>
                                  </p:stCondLst>
                                  <p:childTnLst>
                                    <p:animMotion origin="layout" path="M -0.03817 -0.00249 L 1.55731E-7 -3.77213E-6 " pathEditMode="relative" rAng="0" ptsTypes="AA">
                                      <p:cBhvr>
                                        <p:cTn id="15" dur="500" fill="hold"/>
                                        <p:tgtEl>
                                          <p:spTgt spid="100"/>
                                        </p:tgtEl>
                                        <p:attrNameLst>
                                          <p:attrName>ppt_x</p:attrName>
                                          <p:attrName>ppt_y</p:attrName>
                                        </p:attrNameLst>
                                      </p:cBhvr>
                                      <p:rCtr x="1902" y="113"/>
                                    </p:animMotion>
                                  </p:childTnLst>
                                </p:cTn>
                              </p:par>
                            </p:childTnLst>
                          </p:cTn>
                        </p:par>
                        <p:par>
                          <p:cTn id="16" fill="hold">
                            <p:stCondLst>
                              <p:cond delay="1000"/>
                            </p:stCondLst>
                            <p:childTnLst>
                              <p:par>
                                <p:cTn id="17" presetID="10" presetClass="entr" presetSubtype="0" fill="hold" nodeType="afterEffect">
                                  <p:stCondLst>
                                    <p:cond delay="0"/>
                                  </p:stCondLst>
                                  <p:childTnLst>
                                    <p:set>
                                      <p:cBhvr>
                                        <p:cTn id="18" dur="1" fill="hold">
                                          <p:stCondLst>
                                            <p:cond delay="0"/>
                                          </p:stCondLst>
                                        </p:cTn>
                                        <p:tgtEl>
                                          <p:spTgt spid="103"/>
                                        </p:tgtEl>
                                        <p:attrNameLst>
                                          <p:attrName>style.visibility</p:attrName>
                                        </p:attrNameLst>
                                      </p:cBhvr>
                                      <p:to>
                                        <p:strVal val="visible"/>
                                      </p:to>
                                    </p:set>
                                    <p:animEffect transition="in" filter="fade">
                                      <p:cBhvr>
                                        <p:cTn id="19" dur="500"/>
                                        <p:tgtEl>
                                          <p:spTgt spid="103"/>
                                        </p:tgtEl>
                                      </p:cBhvr>
                                    </p:animEffect>
                                  </p:childTnLst>
                                </p:cTn>
                              </p:par>
                              <p:par>
                                <p:cTn id="20" presetID="42" presetClass="path" presetSubtype="0" accel="50000" decel="50000" fill="hold" nodeType="withEffect">
                                  <p:stCondLst>
                                    <p:cond delay="0"/>
                                  </p:stCondLst>
                                  <p:childTnLst>
                                    <p:animMotion origin="layout" path="M -0.03817 -0.0025 L 3.64054E-6 1.13482E-6 " pathEditMode="relative" rAng="0" ptsTypes="AA">
                                      <p:cBhvr>
                                        <p:cTn id="21" dur="500" fill="hold"/>
                                        <p:tgtEl>
                                          <p:spTgt spid="103"/>
                                        </p:tgtEl>
                                        <p:attrNameLst>
                                          <p:attrName>ppt_x</p:attrName>
                                          <p:attrName>ppt_y</p:attrName>
                                        </p:attrNameLst>
                                      </p:cBhvr>
                                      <p:rCtr x="1902" y="11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0" y="6440061"/>
            <a:ext cx="12436475" cy="554464"/>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Title 11"/>
          <p:cNvSpPr>
            <a:spLocks noGrp="1"/>
          </p:cNvSpPr>
          <p:nvPr>
            <p:ph type="title"/>
          </p:nvPr>
        </p:nvSpPr>
        <p:spPr>
          <a:xfrm>
            <a:off x="275164" y="297352"/>
            <a:ext cx="11479021" cy="917445"/>
          </a:xfrm>
        </p:spPr>
        <p:txBody>
          <a:bodyPr/>
          <a:lstStyle/>
          <a:p>
            <a:r>
              <a:rPr lang="en-US" dirty="0">
                <a:solidFill>
                  <a:schemeClr val="tx2">
                    <a:lumMod val="10000"/>
                  </a:schemeClr>
                </a:solidFill>
              </a:rPr>
              <a:t>Customer IT budget allocations in 2015</a:t>
            </a:r>
            <a:r>
              <a:rPr lang="en-US" baseline="30000" dirty="0">
                <a:solidFill>
                  <a:schemeClr val="tx2">
                    <a:lumMod val="10000"/>
                  </a:schemeClr>
                </a:solidFill>
              </a:rPr>
              <a:t>*</a:t>
            </a:r>
            <a:endParaRPr lang="en-US" dirty="0">
              <a:solidFill>
                <a:schemeClr val="tx2">
                  <a:lumMod val="10000"/>
                </a:schemeClr>
              </a:solidFill>
            </a:endParaRPr>
          </a:p>
        </p:txBody>
      </p:sp>
      <p:sp>
        <p:nvSpPr>
          <p:cNvPr id="104" name="Rectangle 103"/>
          <p:cNvSpPr/>
          <p:nvPr/>
        </p:nvSpPr>
        <p:spPr>
          <a:xfrm>
            <a:off x="275164" y="6604273"/>
            <a:ext cx="5107608" cy="365176"/>
          </a:xfrm>
          <a:prstGeom prst="rect">
            <a:avLst/>
          </a:prstGeom>
          <a:noFill/>
        </p:spPr>
        <p:txBody>
          <a:bodyPr wrap="square" lIns="182854" tIns="146283" rIns="182854" bIns="146283" rtlCol="0" anchor="b" anchorCtr="0">
            <a:noAutofit/>
          </a:bodyPr>
          <a:lstStyle/>
          <a:p>
            <a:pPr>
              <a:lnSpc>
                <a:spcPct val="90000"/>
              </a:lnSpc>
              <a:spcAft>
                <a:spcPts val="400"/>
              </a:spcAft>
            </a:pPr>
            <a:r>
              <a:rPr lang="en-US" sz="800" dirty="0">
                <a:solidFill>
                  <a:schemeClr val="tx1">
                    <a:lumMod val="60000"/>
                    <a:lumOff val="40000"/>
                  </a:schemeClr>
                </a:solidFill>
              </a:rPr>
              <a:t>Source:</a:t>
            </a:r>
          </a:p>
          <a:p>
            <a:pPr>
              <a:lnSpc>
                <a:spcPct val="90000"/>
              </a:lnSpc>
              <a:spcAft>
                <a:spcPts val="400"/>
              </a:spcAft>
            </a:pPr>
            <a:r>
              <a:rPr lang="en-US" sz="800" dirty="0">
                <a:solidFill>
                  <a:schemeClr val="tx1">
                    <a:lumMod val="60000"/>
                    <a:lumOff val="40000"/>
                  </a:schemeClr>
                </a:solidFill>
              </a:rPr>
              <a:t>*451 Research, 2014. Hosting and Cloud Study 2014 Hosting and Cloud Go Mainstream</a:t>
            </a:r>
          </a:p>
        </p:txBody>
      </p:sp>
      <p:grpSp>
        <p:nvGrpSpPr>
          <p:cNvPr id="6" name="Group 5"/>
          <p:cNvGrpSpPr/>
          <p:nvPr/>
        </p:nvGrpSpPr>
        <p:grpSpPr>
          <a:xfrm>
            <a:off x="4124756" y="1681513"/>
            <a:ext cx="1917176" cy="4758548"/>
            <a:chOff x="2009897" y="1465235"/>
            <a:chExt cx="1917176" cy="4758548"/>
          </a:xfrm>
        </p:grpSpPr>
        <p:sp>
          <p:nvSpPr>
            <p:cNvPr id="33" name="Rectangle 32"/>
            <p:cNvSpPr/>
            <p:nvPr/>
          </p:nvSpPr>
          <p:spPr bwMode="auto">
            <a:xfrm>
              <a:off x="2009898" y="1465235"/>
              <a:ext cx="1917173" cy="112571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19" tIns="146255" rIns="182819" bIns="146255"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869966"/>
              <a:endParaRPr lang="en-US" sz="3000" dirty="0">
                <a:solidFill>
                  <a:srgbClr val="FFFFFF"/>
                </a:solidFill>
              </a:endParaRPr>
            </a:p>
          </p:txBody>
        </p:sp>
        <p:sp>
          <p:nvSpPr>
            <p:cNvPr id="34" name="Rectangle 33"/>
            <p:cNvSpPr/>
            <p:nvPr/>
          </p:nvSpPr>
          <p:spPr bwMode="auto">
            <a:xfrm>
              <a:off x="2009899" y="2592384"/>
              <a:ext cx="1917173" cy="71494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19" tIns="146255" rIns="182819" bIns="146255"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869966"/>
              <a:endParaRPr lang="en-US" sz="3000" dirty="0">
                <a:solidFill>
                  <a:srgbClr val="FFFFFF"/>
                </a:solidFill>
              </a:endParaRPr>
            </a:p>
          </p:txBody>
        </p:sp>
        <p:sp>
          <p:nvSpPr>
            <p:cNvPr id="35" name="Rectangle 34"/>
            <p:cNvSpPr/>
            <p:nvPr/>
          </p:nvSpPr>
          <p:spPr bwMode="auto">
            <a:xfrm>
              <a:off x="2009900" y="3307326"/>
              <a:ext cx="1917173" cy="1335265"/>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19" tIns="146255" rIns="182819" bIns="146255"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869966"/>
              <a:endParaRPr lang="en-US" sz="3000" dirty="0">
                <a:solidFill>
                  <a:srgbClr val="FFFFFF"/>
                </a:solidFill>
              </a:endParaRPr>
            </a:p>
          </p:txBody>
        </p:sp>
        <p:sp>
          <p:nvSpPr>
            <p:cNvPr id="36" name="Rectangle 35"/>
            <p:cNvSpPr/>
            <p:nvPr/>
          </p:nvSpPr>
          <p:spPr bwMode="auto">
            <a:xfrm>
              <a:off x="2009900" y="4642592"/>
              <a:ext cx="1917173" cy="1000861"/>
            </a:xfrm>
            <a:prstGeom prst="rect">
              <a:avLst/>
            </a:pr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19" tIns="146255" rIns="182819" bIns="146255"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869966"/>
              <a:endParaRPr lang="en-US" sz="3000" dirty="0">
                <a:solidFill>
                  <a:srgbClr val="FFFFFF"/>
                </a:solidFill>
              </a:endParaRPr>
            </a:p>
          </p:txBody>
        </p:sp>
        <p:sp>
          <p:nvSpPr>
            <p:cNvPr id="37" name="Rectangle 36"/>
            <p:cNvSpPr/>
            <p:nvPr/>
          </p:nvSpPr>
          <p:spPr bwMode="auto">
            <a:xfrm>
              <a:off x="2009897" y="5643453"/>
              <a:ext cx="1917173" cy="580330"/>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19" tIns="146255" rIns="182819" bIns="146255"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869966"/>
              <a:endParaRPr lang="en-US" sz="1000" dirty="0">
                <a:solidFill>
                  <a:srgbClr val="FFFFFF"/>
                </a:solidFill>
              </a:endParaRPr>
            </a:p>
          </p:txBody>
        </p:sp>
      </p:grpSp>
      <p:sp>
        <p:nvSpPr>
          <p:cNvPr id="31" name="Rectangle 30"/>
          <p:cNvSpPr/>
          <p:nvPr/>
        </p:nvSpPr>
        <p:spPr bwMode="auto">
          <a:xfrm>
            <a:off x="6394545" y="3440570"/>
            <a:ext cx="1917173" cy="2999492"/>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19" tIns="146255" rIns="182819" bIns="146255"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869799">
              <a:spcAft>
                <a:spcPts val="560"/>
              </a:spcAft>
            </a:pPr>
            <a:endParaRPr lang="en-US" sz="3000" dirty="0">
              <a:solidFill>
                <a:srgbClr val="FFFFFF"/>
              </a:solidFill>
            </a:endParaRPr>
          </a:p>
        </p:txBody>
      </p:sp>
      <p:sp>
        <p:nvSpPr>
          <p:cNvPr id="13" name="TextBox 12"/>
          <p:cNvSpPr txBox="1"/>
          <p:nvPr/>
        </p:nvSpPr>
        <p:spPr>
          <a:xfrm>
            <a:off x="2600958" y="5853004"/>
            <a:ext cx="1552727" cy="544722"/>
          </a:xfrm>
          <a:prstGeom prst="rect">
            <a:avLst/>
          </a:prstGeom>
          <a:noFill/>
        </p:spPr>
        <p:txBody>
          <a:bodyPr wrap="square" lIns="182854" tIns="146283" rIns="182854" bIns="146283" rtlCol="0">
            <a:spAutoFit/>
          </a:bodyPr>
          <a:lstStyle/>
          <a:p>
            <a:pPr algn="r">
              <a:lnSpc>
                <a:spcPct val="90000"/>
              </a:lnSpc>
              <a:spcAft>
                <a:spcPts val="600"/>
              </a:spcAft>
            </a:pPr>
            <a:r>
              <a:rPr lang="en-US" sz="1800" dirty="0">
                <a:solidFill>
                  <a:schemeClr val="tx1">
                    <a:lumMod val="50000"/>
                  </a:schemeClr>
                </a:solidFill>
                <a:latin typeface="Segoe UI Light" panose="020B0502040204020203" pitchFamily="34" charset="0"/>
                <a:ea typeface="Segoe UI" panose="020B0502040204020203" pitchFamily="34" charset="0"/>
                <a:cs typeface="Segoe UI Light" panose="020B0502040204020203" pitchFamily="34" charset="0"/>
              </a:rPr>
              <a:t>Colocation</a:t>
            </a:r>
          </a:p>
        </p:txBody>
      </p:sp>
      <p:sp>
        <p:nvSpPr>
          <p:cNvPr id="14" name="TextBox 13"/>
          <p:cNvSpPr txBox="1"/>
          <p:nvPr/>
        </p:nvSpPr>
        <p:spPr>
          <a:xfrm>
            <a:off x="1490498" y="5086939"/>
            <a:ext cx="2663187" cy="544722"/>
          </a:xfrm>
          <a:prstGeom prst="rect">
            <a:avLst/>
          </a:prstGeom>
          <a:noFill/>
        </p:spPr>
        <p:txBody>
          <a:bodyPr wrap="square" lIns="182854" tIns="146283" rIns="182854" bIns="146283" rtlCol="0">
            <a:spAutoFit/>
          </a:bodyPr>
          <a:lstStyle/>
          <a:p>
            <a:pPr algn="r">
              <a:lnSpc>
                <a:spcPct val="90000"/>
              </a:lnSpc>
              <a:spcAft>
                <a:spcPts val="600"/>
              </a:spcAft>
            </a:pPr>
            <a:r>
              <a:rPr lang="en-US" sz="1800" dirty="0">
                <a:solidFill>
                  <a:schemeClr val="tx1">
                    <a:lumMod val="50000"/>
                  </a:schemeClr>
                </a:solidFill>
                <a:latin typeface="Segoe UI Light" panose="020B0502040204020203" pitchFamily="34" charset="0"/>
                <a:ea typeface="Segoe UI" panose="020B0502040204020203" pitchFamily="34" charset="0"/>
                <a:cs typeface="Segoe UI Light" panose="020B0502040204020203" pitchFamily="34" charset="0"/>
              </a:rPr>
              <a:t>Outsourcing Services</a:t>
            </a:r>
          </a:p>
        </p:txBody>
      </p:sp>
      <p:sp>
        <p:nvSpPr>
          <p:cNvPr id="15" name="TextBox 14"/>
          <p:cNvSpPr txBox="1"/>
          <p:nvPr/>
        </p:nvSpPr>
        <p:spPr>
          <a:xfrm>
            <a:off x="1490498" y="3791190"/>
            <a:ext cx="2663187" cy="794021"/>
          </a:xfrm>
          <a:prstGeom prst="rect">
            <a:avLst/>
          </a:prstGeom>
          <a:noFill/>
        </p:spPr>
        <p:txBody>
          <a:bodyPr wrap="square" lIns="182854" tIns="146283" rIns="182854" bIns="146283" rtlCol="0">
            <a:spAutoFit/>
          </a:bodyPr>
          <a:lstStyle/>
          <a:p>
            <a:pPr algn="r">
              <a:lnSpc>
                <a:spcPct val="90000"/>
              </a:lnSpc>
              <a:spcAft>
                <a:spcPts val="600"/>
              </a:spcAft>
            </a:pPr>
            <a:r>
              <a:rPr lang="en-US" sz="1800" dirty="0">
                <a:solidFill>
                  <a:schemeClr val="tx1">
                    <a:lumMod val="50000"/>
                  </a:schemeClr>
                </a:solidFill>
                <a:latin typeface="Segoe UI Light" panose="020B0502040204020203" pitchFamily="34" charset="0"/>
                <a:ea typeface="Segoe UI" panose="020B0502040204020203" pitchFamily="34" charset="0"/>
                <a:cs typeface="Segoe UI Light" panose="020B0502040204020203" pitchFamily="34" charset="0"/>
              </a:rPr>
              <a:t>Hosted Infrastructure Services (IaaS)</a:t>
            </a:r>
          </a:p>
        </p:txBody>
      </p:sp>
      <p:sp>
        <p:nvSpPr>
          <p:cNvPr id="16" name="TextBox 15"/>
          <p:cNvSpPr txBox="1"/>
          <p:nvPr/>
        </p:nvSpPr>
        <p:spPr>
          <a:xfrm>
            <a:off x="1490498" y="2895847"/>
            <a:ext cx="2663187" cy="544722"/>
          </a:xfrm>
          <a:prstGeom prst="rect">
            <a:avLst/>
          </a:prstGeom>
          <a:noFill/>
        </p:spPr>
        <p:txBody>
          <a:bodyPr wrap="square" lIns="182854" tIns="146283" rIns="182854" bIns="146283" rtlCol="0">
            <a:spAutoFit/>
          </a:bodyPr>
          <a:lstStyle/>
          <a:p>
            <a:pPr algn="r">
              <a:lnSpc>
                <a:spcPct val="90000"/>
              </a:lnSpc>
              <a:spcAft>
                <a:spcPts val="600"/>
              </a:spcAft>
            </a:pPr>
            <a:r>
              <a:rPr lang="en-US" sz="1800" dirty="0">
                <a:solidFill>
                  <a:schemeClr val="tx1">
                    <a:lumMod val="50000"/>
                  </a:schemeClr>
                </a:solidFill>
                <a:latin typeface="Segoe UI Light" panose="020B0502040204020203" pitchFamily="34" charset="0"/>
                <a:ea typeface="Segoe UI" panose="020B0502040204020203" pitchFamily="34" charset="0"/>
                <a:cs typeface="Segoe UI Light" panose="020B0502040204020203" pitchFamily="34" charset="0"/>
              </a:rPr>
              <a:t>PaaS</a:t>
            </a:r>
          </a:p>
        </p:txBody>
      </p:sp>
      <p:sp>
        <p:nvSpPr>
          <p:cNvPr id="17" name="TextBox 16"/>
          <p:cNvSpPr txBox="1"/>
          <p:nvPr/>
        </p:nvSpPr>
        <p:spPr>
          <a:xfrm>
            <a:off x="1490498" y="1969525"/>
            <a:ext cx="2663187" cy="544722"/>
          </a:xfrm>
          <a:prstGeom prst="rect">
            <a:avLst/>
          </a:prstGeom>
          <a:noFill/>
        </p:spPr>
        <p:txBody>
          <a:bodyPr wrap="square" lIns="182854" tIns="146283" rIns="182854" bIns="146283" rtlCol="0">
            <a:spAutoFit/>
          </a:bodyPr>
          <a:lstStyle/>
          <a:p>
            <a:pPr algn="r">
              <a:lnSpc>
                <a:spcPct val="90000"/>
              </a:lnSpc>
              <a:spcAft>
                <a:spcPts val="600"/>
              </a:spcAft>
            </a:pPr>
            <a:r>
              <a:rPr lang="en-US" sz="1800" dirty="0">
                <a:solidFill>
                  <a:schemeClr val="tx1">
                    <a:lumMod val="50000"/>
                  </a:schemeClr>
                </a:solidFill>
                <a:latin typeface="Segoe UI Light" panose="020B0502040204020203" pitchFamily="34" charset="0"/>
                <a:ea typeface="Segoe UI" panose="020B0502040204020203" pitchFamily="34" charset="0"/>
                <a:cs typeface="Segoe UI Light" panose="020B0502040204020203" pitchFamily="34" charset="0"/>
              </a:rPr>
              <a:t>SaaS</a:t>
            </a:r>
          </a:p>
        </p:txBody>
      </p:sp>
      <p:sp>
        <p:nvSpPr>
          <p:cNvPr id="18" name="TextBox 17"/>
          <p:cNvSpPr txBox="1"/>
          <p:nvPr/>
        </p:nvSpPr>
        <p:spPr>
          <a:xfrm>
            <a:off x="8322027" y="4431132"/>
            <a:ext cx="2269792" cy="1292619"/>
          </a:xfrm>
          <a:prstGeom prst="rect">
            <a:avLst/>
          </a:prstGeom>
          <a:noFill/>
        </p:spPr>
        <p:txBody>
          <a:bodyPr wrap="square" lIns="182854" tIns="146283" rIns="182854" bIns="146283" rtlCol="0">
            <a:spAutoFit/>
          </a:bodyPr>
          <a:lstStyle/>
          <a:p>
            <a:pPr>
              <a:lnSpc>
                <a:spcPct val="90000"/>
              </a:lnSpc>
              <a:spcAft>
                <a:spcPts val="600"/>
              </a:spcAft>
            </a:pPr>
            <a:r>
              <a:rPr lang="en-US" sz="1800" dirty="0">
                <a:solidFill>
                  <a:schemeClr val="tx1">
                    <a:lumMod val="50000"/>
                  </a:schemeClr>
                </a:solidFill>
                <a:latin typeface="Segoe UI Light" panose="020B0502040204020203" pitchFamily="34" charset="0"/>
                <a:ea typeface="Segoe UI" panose="020B0502040204020203" pitchFamily="34" charset="0"/>
                <a:cs typeface="Segoe UI Light" panose="020B0502040204020203" pitchFamily="34" charset="0"/>
              </a:rPr>
              <a:t>In datacenters or sites your organization operates</a:t>
            </a:r>
          </a:p>
        </p:txBody>
      </p:sp>
      <p:sp>
        <p:nvSpPr>
          <p:cNvPr id="19" name="TextBox 18"/>
          <p:cNvSpPr txBox="1"/>
          <p:nvPr/>
        </p:nvSpPr>
        <p:spPr>
          <a:xfrm>
            <a:off x="4610456" y="2819338"/>
            <a:ext cx="945774" cy="683222"/>
          </a:xfrm>
          <a:prstGeom prst="rect">
            <a:avLst/>
          </a:prstGeom>
          <a:noFill/>
        </p:spPr>
        <p:txBody>
          <a:bodyPr wrap="square" lIns="182854" tIns="146283" rIns="182854" bIns="146283" rtlCol="0" anchor="ctr">
            <a:spAutoFit/>
          </a:bodyPr>
          <a:lstStyle/>
          <a:p>
            <a:pPr algn="ctr">
              <a:lnSpc>
                <a:spcPct val="90000"/>
              </a:lnSpc>
              <a:spcAft>
                <a:spcPts val="600"/>
              </a:spcAft>
            </a:pPr>
            <a:r>
              <a:rPr lang="en-US" sz="2800" dirty="0">
                <a:solidFill>
                  <a:schemeClr val="tx2">
                    <a:lumMod val="10000"/>
                  </a:schemeClr>
                </a:solidFill>
                <a:latin typeface="Segoe UI Light" panose="020B0502040204020203" pitchFamily="34" charset="0"/>
                <a:ea typeface="Segoe UI" panose="020B0502040204020203" pitchFamily="34" charset="0"/>
                <a:cs typeface="Segoe UI Light" panose="020B0502040204020203" pitchFamily="34" charset="0"/>
              </a:rPr>
              <a:t>9%</a:t>
            </a:r>
          </a:p>
        </p:txBody>
      </p:sp>
      <p:sp>
        <p:nvSpPr>
          <p:cNvPr id="20" name="TextBox 19"/>
          <p:cNvSpPr txBox="1"/>
          <p:nvPr/>
        </p:nvSpPr>
        <p:spPr>
          <a:xfrm>
            <a:off x="4466277" y="3831440"/>
            <a:ext cx="1234132" cy="683222"/>
          </a:xfrm>
          <a:prstGeom prst="rect">
            <a:avLst/>
          </a:prstGeom>
          <a:noFill/>
        </p:spPr>
        <p:txBody>
          <a:bodyPr wrap="square" lIns="182854" tIns="146283" rIns="182854" bIns="146283" rtlCol="0" anchor="ctr">
            <a:spAutoFit/>
          </a:bodyPr>
          <a:lstStyle/>
          <a:p>
            <a:pPr algn="ctr">
              <a:lnSpc>
                <a:spcPct val="90000"/>
              </a:lnSpc>
              <a:spcAft>
                <a:spcPts val="600"/>
              </a:spcAft>
            </a:pPr>
            <a:r>
              <a:rPr lang="en-US" sz="2800" dirty="0">
                <a:solidFill>
                  <a:schemeClr val="bg1"/>
                </a:solidFill>
                <a:latin typeface="Segoe UI Light" panose="020B0502040204020203" pitchFamily="34" charset="0"/>
                <a:ea typeface="Segoe UI" panose="020B0502040204020203" pitchFamily="34" charset="0"/>
                <a:cs typeface="Segoe UI Light" panose="020B0502040204020203" pitchFamily="34" charset="0"/>
              </a:rPr>
              <a:t>18%</a:t>
            </a:r>
          </a:p>
        </p:txBody>
      </p:sp>
      <p:sp>
        <p:nvSpPr>
          <p:cNvPr id="21" name="TextBox 20"/>
          <p:cNvSpPr txBox="1"/>
          <p:nvPr/>
        </p:nvSpPr>
        <p:spPr>
          <a:xfrm>
            <a:off x="4359273" y="5017689"/>
            <a:ext cx="1448140" cy="683222"/>
          </a:xfrm>
          <a:prstGeom prst="rect">
            <a:avLst/>
          </a:prstGeom>
          <a:noFill/>
        </p:spPr>
        <p:txBody>
          <a:bodyPr wrap="square" lIns="182854" tIns="146283" rIns="182854" bIns="146283" rtlCol="0" anchor="ctr">
            <a:spAutoFit/>
          </a:bodyPr>
          <a:lstStyle/>
          <a:p>
            <a:pPr algn="ctr">
              <a:lnSpc>
                <a:spcPct val="90000"/>
              </a:lnSpc>
              <a:spcAft>
                <a:spcPts val="600"/>
              </a:spcAft>
            </a:pPr>
            <a:r>
              <a:rPr lang="en-US" sz="2800" dirty="0">
                <a:solidFill>
                  <a:schemeClr val="bg1"/>
                </a:solidFill>
                <a:latin typeface="Segoe UI Light" panose="020B0502040204020203" pitchFamily="34" charset="0"/>
                <a:ea typeface="Segoe UI" panose="020B0502040204020203" pitchFamily="34" charset="0"/>
                <a:cs typeface="Segoe UI Light" panose="020B0502040204020203" pitchFamily="34" charset="0"/>
              </a:rPr>
              <a:t>13%</a:t>
            </a:r>
          </a:p>
        </p:txBody>
      </p:sp>
      <p:sp>
        <p:nvSpPr>
          <p:cNvPr id="22" name="TextBox 21"/>
          <p:cNvSpPr txBox="1"/>
          <p:nvPr/>
        </p:nvSpPr>
        <p:spPr>
          <a:xfrm>
            <a:off x="4610456" y="5807820"/>
            <a:ext cx="945774" cy="683222"/>
          </a:xfrm>
          <a:prstGeom prst="rect">
            <a:avLst/>
          </a:prstGeom>
          <a:noFill/>
        </p:spPr>
        <p:txBody>
          <a:bodyPr wrap="square" lIns="182854" tIns="146283" rIns="182854" bIns="146283" rtlCol="0" anchor="ctr">
            <a:spAutoFit/>
          </a:bodyPr>
          <a:lstStyle/>
          <a:p>
            <a:pPr algn="ctr">
              <a:lnSpc>
                <a:spcPct val="90000"/>
              </a:lnSpc>
              <a:spcAft>
                <a:spcPts val="600"/>
              </a:spcAft>
            </a:pPr>
            <a:r>
              <a:rPr lang="en-US" sz="2800" dirty="0">
                <a:solidFill>
                  <a:schemeClr val="bg1"/>
                </a:solidFill>
                <a:latin typeface="Segoe UI Light" panose="020B0502040204020203" pitchFamily="34" charset="0"/>
                <a:ea typeface="Segoe UI" panose="020B0502040204020203" pitchFamily="34" charset="0"/>
                <a:cs typeface="Segoe UI Light" panose="020B0502040204020203" pitchFamily="34" charset="0"/>
              </a:rPr>
              <a:t>6%</a:t>
            </a:r>
          </a:p>
        </p:txBody>
      </p:sp>
      <p:sp>
        <p:nvSpPr>
          <p:cNvPr id="23" name="TextBox 22"/>
          <p:cNvSpPr txBox="1"/>
          <p:nvPr/>
        </p:nvSpPr>
        <p:spPr>
          <a:xfrm>
            <a:off x="4466277" y="1886721"/>
            <a:ext cx="1234132" cy="683222"/>
          </a:xfrm>
          <a:prstGeom prst="rect">
            <a:avLst/>
          </a:prstGeom>
          <a:noFill/>
        </p:spPr>
        <p:txBody>
          <a:bodyPr wrap="square" lIns="182854" tIns="146283" rIns="182854" bIns="146283" rtlCol="0" anchor="ctr">
            <a:spAutoFit/>
          </a:bodyPr>
          <a:lstStyle/>
          <a:p>
            <a:pPr algn="ctr">
              <a:lnSpc>
                <a:spcPct val="90000"/>
              </a:lnSpc>
              <a:spcAft>
                <a:spcPts val="600"/>
              </a:spcAft>
            </a:pPr>
            <a:r>
              <a:rPr lang="en-US" sz="2800" dirty="0">
                <a:solidFill>
                  <a:schemeClr val="tx2">
                    <a:lumMod val="10000"/>
                  </a:schemeClr>
                </a:solidFill>
                <a:latin typeface="Segoe UI Light" panose="020B0502040204020203" pitchFamily="34" charset="0"/>
                <a:ea typeface="Segoe UI" panose="020B0502040204020203" pitchFamily="34" charset="0"/>
                <a:cs typeface="Segoe UI Light" panose="020B0502040204020203" pitchFamily="34" charset="0"/>
              </a:rPr>
              <a:t>15%</a:t>
            </a:r>
          </a:p>
        </p:txBody>
      </p:sp>
      <p:sp>
        <p:nvSpPr>
          <p:cNvPr id="24" name="TextBox 23"/>
          <p:cNvSpPr txBox="1"/>
          <p:nvPr/>
        </p:nvSpPr>
        <p:spPr>
          <a:xfrm>
            <a:off x="6645273" y="4598705"/>
            <a:ext cx="1448140" cy="683222"/>
          </a:xfrm>
          <a:prstGeom prst="rect">
            <a:avLst/>
          </a:prstGeom>
          <a:noFill/>
        </p:spPr>
        <p:txBody>
          <a:bodyPr wrap="square" lIns="182854" tIns="146283" rIns="182854" bIns="146283" rtlCol="0" anchor="ctr">
            <a:spAutoFit/>
          </a:bodyPr>
          <a:lstStyle/>
          <a:p>
            <a:pPr algn="ctr">
              <a:lnSpc>
                <a:spcPct val="90000"/>
              </a:lnSpc>
              <a:spcAft>
                <a:spcPts val="600"/>
              </a:spcAft>
            </a:pPr>
            <a:r>
              <a:rPr lang="en-US" sz="2800" dirty="0">
                <a:solidFill>
                  <a:schemeClr val="tx2">
                    <a:lumMod val="10000"/>
                  </a:schemeClr>
                </a:solidFill>
                <a:latin typeface="Segoe UI Light" panose="020B0502040204020203" pitchFamily="34" charset="0"/>
                <a:ea typeface="Segoe UI" panose="020B0502040204020203" pitchFamily="34" charset="0"/>
                <a:cs typeface="Segoe UI Light" panose="020B0502040204020203" pitchFamily="34" charset="0"/>
              </a:rPr>
              <a:t>38%</a:t>
            </a:r>
          </a:p>
        </p:txBody>
      </p:sp>
      <p:pic>
        <p:nvPicPr>
          <p:cNvPr id="25" name="Picture 24"/>
          <p:cNvPicPr>
            <a:picLocks noChangeAspect="1"/>
          </p:cNvPicPr>
          <p:nvPr/>
        </p:nvPicPr>
        <p:blipFill>
          <a:blip r:embed="rId3">
            <a:duotone>
              <a:schemeClr val="bg2">
                <a:shade val="45000"/>
                <a:satMod val="135000"/>
              </a:schemeClr>
              <a:prstClr val="white"/>
            </a:duotone>
          </a:blip>
          <a:stretch>
            <a:fillRect/>
          </a:stretch>
        </p:blipFill>
        <p:spPr>
          <a:xfrm>
            <a:off x="485962" y="1871477"/>
            <a:ext cx="2123338" cy="1162935"/>
          </a:xfrm>
          <a:prstGeom prst="rect">
            <a:avLst/>
          </a:prstGeom>
        </p:spPr>
      </p:pic>
      <p:pic>
        <p:nvPicPr>
          <p:cNvPr id="26" name="Picture 25"/>
          <p:cNvPicPr>
            <a:picLocks noChangeAspect="1"/>
          </p:cNvPicPr>
          <p:nvPr/>
        </p:nvPicPr>
        <p:blipFill>
          <a:blip r:embed="rId3">
            <a:duotone>
              <a:schemeClr val="bg2">
                <a:shade val="45000"/>
                <a:satMod val="135000"/>
              </a:schemeClr>
              <a:prstClr val="white"/>
            </a:duotone>
          </a:blip>
          <a:stretch>
            <a:fillRect/>
          </a:stretch>
        </p:blipFill>
        <p:spPr>
          <a:xfrm>
            <a:off x="8311718" y="1565724"/>
            <a:ext cx="1349974" cy="739370"/>
          </a:xfrm>
          <a:prstGeom prst="rect">
            <a:avLst/>
          </a:prstGeom>
        </p:spPr>
      </p:pic>
      <p:pic>
        <p:nvPicPr>
          <p:cNvPr id="27" name="Picture 26"/>
          <p:cNvPicPr>
            <a:picLocks noChangeAspect="1"/>
          </p:cNvPicPr>
          <p:nvPr/>
        </p:nvPicPr>
        <p:blipFill>
          <a:blip r:embed="rId3">
            <a:duotone>
              <a:schemeClr val="bg2">
                <a:shade val="45000"/>
                <a:satMod val="135000"/>
              </a:schemeClr>
              <a:prstClr val="white"/>
            </a:duotone>
          </a:blip>
          <a:stretch>
            <a:fillRect/>
          </a:stretch>
        </p:blipFill>
        <p:spPr>
          <a:xfrm>
            <a:off x="10103663" y="3302832"/>
            <a:ext cx="1930307" cy="1057214"/>
          </a:xfrm>
          <a:prstGeom prst="rect">
            <a:avLst/>
          </a:prstGeom>
        </p:spPr>
      </p:pic>
      <p:pic>
        <p:nvPicPr>
          <p:cNvPr id="29" name="Picture 28"/>
          <p:cNvPicPr>
            <a:picLocks noChangeAspect="1"/>
          </p:cNvPicPr>
          <p:nvPr/>
        </p:nvPicPr>
        <p:blipFill>
          <a:blip r:embed="rId3">
            <a:duotone>
              <a:schemeClr val="bg2">
                <a:shade val="45000"/>
                <a:satMod val="135000"/>
              </a:schemeClr>
              <a:prstClr val="white"/>
            </a:duotone>
          </a:blip>
          <a:stretch>
            <a:fillRect/>
          </a:stretch>
        </p:blipFill>
        <p:spPr>
          <a:xfrm>
            <a:off x="10473098" y="5555320"/>
            <a:ext cx="922050" cy="505000"/>
          </a:xfrm>
          <a:prstGeom prst="rect">
            <a:avLst/>
          </a:prstGeom>
        </p:spPr>
      </p:pic>
      <p:sp>
        <p:nvSpPr>
          <p:cNvPr id="30" name="TextBox 29"/>
          <p:cNvSpPr txBox="1"/>
          <p:nvPr/>
        </p:nvSpPr>
        <p:spPr>
          <a:xfrm>
            <a:off x="4032583" y="1320611"/>
            <a:ext cx="2101518" cy="449311"/>
          </a:xfrm>
          <a:prstGeom prst="rect">
            <a:avLst/>
          </a:prstGeom>
          <a:noFill/>
        </p:spPr>
        <p:txBody>
          <a:bodyPr wrap="square" lIns="182854" tIns="146283" rIns="182854" bIns="146283" rtlCol="0">
            <a:spAutoFit/>
          </a:bodyPr>
          <a:lstStyle/>
          <a:p>
            <a:pPr algn="ctr">
              <a:spcBef>
                <a:spcPts val="600"/>
              </a:spcBef>
            </a:pPr>
            <a:r>
              <a:rPr lang="en-US" sz="1000" dirty="0">
                <a:solidFill>
                  <a:schemeClr val="tx1">
                    <a:lumMod val="50000"/>
                  </a:schemeClr>
                </a:solidFill>
              </a:rPr>
              <a:t>Hybrid &amp; pubic cloud services</a:t>
            </a:r>
          </a:p>
        </p:txBody>
      </p:sp>
      <p:sp>
        <p:nvSpPr>
          <p:cNvPr id="32" name="TextBox 31"/>
          <p:cNvSpPr txBox="1"/>
          <p:nvPr/>
        </p:nvSpPr>
        <p:spPr>
          <a:xfrm>
            <a:off x="6297416" y="3060511"/>
            <a:ext cx="2101518" cy="449311"/>
          </a:xfrm>
          <a:prstGeom prst="rect">
            <a:avLst/>
          </a:prstGeom>
          <a:noFill/>
        </p:spPr>
        <p:txBody>
          <a:bodyPr wrap="square" lIns="182854" tIns="146283" rIns="182854" bIns="146283" rtlCol="0">
            <a:spAutoFit/>
          </a:bodyPr>
          <a:lstStyle/>
          <a:p>
            <a:pPr algn="ctr">
              <a:spcBef>
                <a:spcPts val="600"/>
              </a:spcBef>
            </a:pPr>
            <a:r>
              <a:rPr lang="en-US" sz="1000" dirty="0">
                <a:solidFill>
                  <a:schemeClr val="tx1">
                    <a:lumMod val="50000"/>
                  </a:schemeClr>
                </a:solidFill>
              </a:rPr>
              <a:t>On-premises</a:t>
            </a:r>
          </a:p>
        </p:txBody>
      </p:sp>
    </p:spTree>
    <p:extLst>
      <p:ext uri="{BB962C8B-B14F-4D97-AF65-F5344CB8AC3E}">
        <p14:creationId xmlns:p14="http://schemas.microsoft.com/office/powerpoint/2010/main" val="25322404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1000"/>
                                        <p:tgtEl>
                                          <p:spTgt spid="25"/>
                                        </p:tgtEl>
                                      </p:cBhvr>
                                    </p:animEffect>
                                    <p:anim calcmode="lin" valueType="num">
                                      <p:cBhvr>
                                        <p:cTn id="8" dur="1000" fill="hold"/>
                                        <p:tgtEl>
                                          <p:spTgt spid="25"/>
                                        </p:tgtEl>
                                        <p:attrNameLst>
                                          <p:attrName>ppt_x</p:attrName>
                                        </p:attrNameLst>
                                      </p:cBhvr>
                                      <p:tavLst>
                                        <p:tav tm="0">
                                          <p:val>
                                            <p:strVal val="#ppt_x"/>
                                          </p:val>
                                        </p:tav>
                                        <p:tav tm="100000">
                                          <p:val>
                                            <p:strVal val="#ppt_x"/>
                                          </p:val>
                                        </p:tav>
                                      </p:tavLst>
                                    </p:anim>
                                    <p:anim calcmode="lin" valueType="num">
                                      <p:cBhvr>
                                        <p:cTn id="9" dur="1000" fill="hold"/>
                                        <p:tgtEl>
                                          <p:spTgt spid="25"/>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fade">
                                      <p:cBhvr>
                                        <p:cTn id="13" dur="1000"/>
                                        <p:tgtEl>
                                          <p:spTgt spid="26"/>
                                        </p:tgtEl>
                                      </p:cBhvr>
                                    </p:animEffect>
                                    <p:anim calcmode="lin" valueType="num">
                                      <p:cBhvr>
                                        <p:cTn id="14" dur="1000" fill="hold"/>
                                        <p:tgtEl>
                                          <p:spTgt spid="26"/>
                                        </p:tgtEl>
                                        <p:attrNameLst>
                                          <p:attrName>ppt_x</p:attrName>
                                        </p:attrNameLst>
                                      </p:cBhvr>
                                      <p:tavLst>
                                        <p:tav tm="0">
                                          <p:val>
                                            <p:strVal val="#ppt_x"/>
                                          </p:val>
                                        </p:tav>
                                        <p:tav tm="100000">
                                          <p:val>
                                            <p:strVal val="#ppt_x"/>
                                          </p:val>
                                        </p:tav>
                                      </p:tavLst>
                                    </p:anim>
                                    <p:anim calcmode="lin" valueType="num">
                                      <p:cBhvr>
                                        <p:cTn id="15" dur="1000" fill="hold"/>
                                        <p:tgtEl>
                                          <p:spTgt spid="26"/>
                                        </p:tgtEl>
                                        <p:attrNameLst>
                                          <p:attrName>ppt_y</p:attrName>
                                        </p:attrNameLst>
                                      </p:cBhvr>
                                      <p:tavLst>
                                        <p:tav tm="0">
                                          <p:val>
                                            <p:strVal val="#ppt_y+.1"/>
                                          </p:val>
                                        </p:tav>
                                        <p:tav tm="100000">
                                          <p:val>
                                            <p:strVal val="#ppt_y"/>
                                          </p:val>
                                        </p:tav>
                                      </p:tavLst>
                                    </p:anim>
                                  </p:childTnLst>
                                </p:cTn>
                              </p:par>
                              <p:par>
                                <p:cTn id="16" presetID="42" presetClass="entr" presetSubtype="0" fill="hold" nodeType="withEffect">
                                  <p:stCondLst>
                                    <p:cond delay="0"/>
                                  </p:stCondLst>
                                  <p:childTnLst>
                                    <p:set>
                                      <p:cBhvr>
                                        <p:cTn id="17" dur="1" fill="hold">
                                          <p:stCondLst>
                                            <p:cond delay="0"/>
                                          </p:stCondLst>
                                        </p:cTn>
                                        <p:tgtEl>
                                          <p:spTgt spid="27"/>
                                        </p:tgtEl>
                                        <p:attrNameLst>
                                          <p:attrName>style.visibility</p:attrName>
                                        </p:attrNameLst>
                                      </p:cBhvr>
                                      <p:to>
                                        <p:strVal val="visible"/>
                                      </p:to>
                                    </p:set>
                                    <p:animEffect transition="in" filter="fade">
                                      <p:cBhvr>
                                        <p:cTn id="18" dur="1000"/>
                                        <p:tgtEl>
                                          <p:spTgt spid="27"/>
                                        </p:tgtEl>
                                      </p:cBhvr>
                                    </p:animEffect>
                                    <p:anim calcmode="lin" valueType="num">
                                      <p:cBhvr>
                                        <p:cTn id="19" dur="1000" fill="hold"/>
                                        <p:tgtEl>
                                          <p:spTgt spid="27"/>
                                        </p:tgtEl>
                                        <p:attrNameLst>
                                          <p:attrName>ppt_x</p:attrName>
                                        </p:attrNameLst>
                                      </p:cBhvr>
                                      <p:tavLst>
                                        <p:tav tm="0">
                                          <p:val>
                                            <p:strVal val="#ppt_x"/>
                                          </p:val>
                                        </p:tav>
                                        <p:tav tm="100000">
                                          <p:val>
                                            <p:strVal val="#ppt_x"/>
                                          </p:val>
                                        </p:tav>
                                      </p:tavLst>
                                    </p:anim>
                                    <p:anim calcmode="lin" valueType="num">
                                      <p:cBhvr>
                                        <p:cTn id="20" dur="1000" fill="hold"/>
                                        <p:tgtEl>
                                          <p:spTgt spid="27"/>
                                        </p:tgtEl>
                                        <p:attrNameLst>
                                          <p:attrName>ppt_y</p:attrName>
                                        </p:attrNameLst>
                                      </p:cBhvr>
                                      <p:tavLst>
                                        <p:tav tm="0">
                                          <p:val>
                                            <p:strVal val="#ppt_y+.1"/>
                                          </p:val>
                                        </p:tav>
                                        <p:tav tm="100000">
                                          <p:val>
                                            <p:strVal val="#ppt_y"/>
                                          </p:val>
                                        </p:tav>
                                      </p:tavLst>
                                    </p:anim>
                                  </p:childTnLst>
                                </p:cTn>
                              </p:par>
                            </p:childTnLst>
                          </p:cTn>
                        </p:par>
                        <p:par>
                          <p:cTn id="21" fill="hold">
                            <p:stCondLst>
                              <p:cond delay="2000"/>
                            </p:stCondLst>
                            <p:childTnLst>
                              <p:par>
                                <p:cTn id="22" presetID="42" presetClass="entr" presetSubtype="0" fill="hold" nodeType="afterEffect">
                                  <p:stCondLst>
                                    <p:cond delay="0"/>
                                  </p:stCondLst>
                                  <p:childTnLst>
                                    <p:set>
                                      <p:cBhvr>
                                        <p:cTn id="23" dur="1" fill="hold">
                                          <p:stCondLst>
                                            <p:cond delay="0"/>
                                          </p:stCondLst>
                                        </p:cTn>
                                        <p:tgtEl>
                                          <p:spTgt spid="29"/>
                                        </p:tgtEl>
                                        <p:attrNameLst>
                                          <p:attrName>style.visibility</p:attrName>
                                        </p:attrNameLst>
                                      </p:cBhvr>
                                      <p:to>
                                        <p:strVal val="visible"/>
                                      </p:to>
                                    </p:set>
                                    <p:animEffect transition="in" filter="fade">
                                      <p:cBhvr>
                                        <p:cTn id="24" dur="1000"/>
                                        <p:tgtEl>
                                          <p:spTgt spid="29"/>
                                        </p:tgtEl>
                                      </p:cBhvr>
                                    </p:animEffect>
                                    <p:anim calcmode="lin" valueType="num">
                                      <p:cBhvr>
                                        <p:cTn id="25" dur="1000" fill="hold"/>
                                        <p:tgtEl>
                                          <p:spTgt spid="29"/>
                                        </p:tgtEl>
                                        <p:attrNameLst>
                                          <p:attrName>ppt_x</p:attrName>
                                        </p:attrNameLst>
                                      </p:cBhvr>
                                      <p:tavLst>
                                        <p:tav tm="0">
                                          <p:val>
                                            <p:strVal val="#ppt_x"/>
                                          </p:val>
                                        </p:tav>
                                        <p:tav tm="100000">
                                          <p:val>
                                            <p:strVal val="#ppt_x"/>
                                          </p:val>
                                        </p:tav>
                                      </p:tavLst>
                                    </p:anim>
                                    <p:anim calcmode="lin" valueType="num">
                                      <p:cBhvr>
                                        <p:cTn id="26" dur="1000" fill="hold"/>
                                        <p:tgtEl>
                                          <p:spTgt spid="29"/>
                                        </p:tgtEl>
                                        <p:attrNameLst>
                                          <p:attrName>ppt_y</p:attrName>
                                        </p:attrNameLst>
                                      </p:cBhvr>
                                      <p:tavLst>
                                        <p:tav tm="0">
                                          <p:val>
                                            <p:strVal val="#ppt_y+.1"/>
                                          </p:val>
                                        </p:tav>
                                        <p:tav tm="100000">
                                          <p:val>
                                            <p:strVal val="#ppt_y"/>
                                          </p:val>
                                        </p:tav>
                                      </p:tavLst>
                                    </p:anim>
                                  </p:childTnLst>
                                </p:cTn>
                              </p:par>
                              <p:par>
                                <p:cTn id="27" presetID="42" presetClass="entr" presetSubtype="0" fill="hold" grpId="0" nodeType="withEffect">
                                  <p:stCondLst>
                                    <p:cond delay="0"/>
                                  </p:stCondLst>
                                  <p:childTnLst>
                                    <p:set>
                                      <p:cBhvr>
                                        <p:cTn id="28" dur="1" fill="hold">
                                          <p:stCondLst>
                                            <p:cond delay="0"/>
                                          </p:stCondLst>
                                        </p:cTn>
                                        <p:tgtEl>
                                          <p:spTgt spid="30"/>
                                        </p:tgtEl>
                                        <p:attrNameLst>
                                          <p:attrName>style.visibility</p:attrName>
                                        </p:attrNameLst>
                                      </p:cBhvr>
                                      <p:to>
                                        <p:strVal val="visible"/>
                                      </p:to>
                                    </p:set>
                                    <p:animEffect transition="in" filter="fade">
                                      <p:cBhvr>
                                        <p:cTn id="29" dur="1000"/>
                                        <p:tgtEl>
                                          <p:spTgt spid="30"/>
                                        </p:tgtEl>
                                      </p:cBhvr>
                                    </p:animEffect>
                                    <p:anim calcmode="lin" valueType="num">
                                      <p:cBhvr>
                                        <p:cTn id="30" dur="1000" fill="hold"/>
                                        <p:tgtEl>
                                          <p:spTgt spid="30"/>
                                        </p:tgtEl>
                                        <p:attrNameLst>
                                          <p:attrName>ppt_x</p:attrName>
                                        </p:attrNameLst>
                                      </p:cBhvr>
                                      <p:tavLst>
                                        <p:tav tm="0">
                                          <p:val>
                                            <p:strVal val="#ppt_x"/>
                                          </p:val>
                                        </p:tav>
                                        <p:tav tm="100000">
                                          <p:val>
                                            <p:strVal val="#ppt_x"/>
                                          </p:val>
                                        </p:tav>
                                      </p:tavLst>
                                    </p:anim>
                                    <p:anim calcmode="lin" valueType="num">
                                      <p:cBhvr>
                                        <p:cTn id="31" dur="1000" fill="hold"/>
                                        <p:tgtEl>
                                          <p:spTgt spid="30"/>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32"/>
                                        </p:tgtEl>
                                        <p:attrNameLst>
                                          <p:attrName>style.visibility</p:attrName>
                                        </p:attrNameLst>
                                      </p:cBhvr>
                                      <p:to>
                                        <p:strVal val="visible"/>
                                      </p:to>
                                    </p:set>
                                    <p:animEffect transition="in" filter="fade">
                                      <p:cBhvr>
                                        <p:cTn id="34" dur="1000"/>
                                        <p:tgtEl>
                                          <p:spTgt spid="32"/>
                                        </p:tgtEl>
                                      </p:cBhvr>
                                    </p:animEffect>
                                    <p:anim calcmode="lin" valueType="num">
                                      <p:cBhvr>
                                        <p:cTn id="35" dur="1000" fill="hold"/>
                                        <p:tgtEl>
                                          <p:spTgt spid="32"/>
                                        </p:tgtEl>
                                        <p:attrNameLst>
                                          <p:attrName>ppt_x</p:attrName>
                                        </p:attrNameLst>
                                      </p:cBhvr>
                                      <p:tavLst>
                                        <p:tav tm="0">
                                          <p:val>
                                            <p:strVal val="#ppt_x"/>
                                          </p:val>
                                        </p:tav>
                                        <p:tav tm="100000">
                                          <p:val>
                                            <p:strVal val="#ppt_x"/>
                                          </p:val>
                                        </p:tav>
                                      </p:tavLst>
                                    </p:anim>
                                    <p:anim calcmode="lin" valueType="num">
                                      <p:cBhvr>
                                        <p:cTn id="36" dur="1000" fill="hold"/>
                                        <p:tgtEl>
                                          <p:spTgt spid="3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2"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 name="Freeform 5"/>
          <p:cNvSpPr>
            <a:spLocks noEditPoints="1"/>
          </p:cNvSpPr>
          <p:nvPr/>
        </p:nvSpPr>
        <p:spPr bwMode="auto">
          <a:xfrm>
            <a:off x="-699245" y="5385993"/>
            <a:ext cx="15702666" cy="1776189"/>
          </a:xfrm>
          <a:custGeom>
            <a:avLst/>
            <a:gdLst>
              <a:gd name="T0" fmla="*/ 3616 w 4600"/>
              <a:gd name="T1" fmla="*/ 299 h 520"/>
              <a:gd name="T2" fmla="*/ 4156 w 4600"/>
              <a:gd name="T3" fmla="*/ 81 h 520"/>
              <a:gd name="T4" fmla="*/ 3987 w 4600"/>
              <a:gd name="T5" fmla="*/ 151 h 520"/>
              <a:gd name="T6" fmla="*/ 3912 w 4600"/>
              <a:gd name="T7" fmla="*/ 124 h 520"/>
              <a:gd name="T8" fmla="*/ 3773 w 4600"/>
              <a:gd name="T9" fmla="*/ 257 h 520"/>
              <a:gd name="T10" fmla="*/ 4156 w 4600"/>
              <a:gd name="T11" fmla="*/ 81 h 520"/>
              <a:gd name="T12" fmla="*/ 4463 w 4600"/>
              <a:gd name="T13" fmla="*/ 132 h 520"/>
              <a:gd name="T14" fmla="*/ 4417 w 4600"/>
              <a:gd name="T15" fmla="*/ 405 h 520"/>
              <a:gd name="T16" fmla="*/ 4529 w 4600"/>
              <a:gd name="T17" fmla="*/ 132 h 520"/>
              <a:gd name="T18" fmla="*/ 2392 w 4600"/>
              <a:gd name="T19" fmla="*/ 370 h 520"/>
              <a:gd name="T20" fmla="*/ 2443 w 4600"/>
              <a:gd name="T21" fmla="*/ 390 h 520"/>
              <a:gd name="T22" fmla="*/ 1933 w 4600"/>
              <a:gd name="T23" fmla="*/ 112 h 520"/>
              <a:gd name="T24" fmla="*/ 1861 w 4600"/>
              <a:gd name="T25" fmla="*/ 124 h 520"/>
              <a:gd name="T26" fmla="*/ 1692 w 4600"/>
              <a:gd name="T27" fmla="*/ 151 h 520"/>
              <a:gd name="T28" fmla="*/ 1588 w 4600"/>
              <a:gd name="T29" fmla="*/ 257 h 520"/>
              <a:gd name="T30" fmla="*/ 1461 w 4600"/>
              <a:gd name="T31" fmla="*/ 219 h 520"/>
              <a:gd name="T32" fmla="*/ 1322 w 4600"/>
              <a:gd name="T33" fmla="*/ 380 h 520"/>
              <a:gd name="T34" fmla="*/ 1064 w 4600"/>
              <a:gd name="T35" fmla="*/ 277 h 520"/>
              <a:gd name="T36" fmla="*/ 900 w 4600"/>
              <a:gd name="T37" fmla="*/ 207 h 520"/>
              <a:gd name="T38" fmla="*/ 742 w 4600"/>
              <a:gd name="T39" fmla="*/ 88 h 520"/>
              <a:gd name="T40" fmla="*/ 650 w 4600"/>
              <a:gd name="T41" fmla="*/ 288 h 520"/>
              <a:gd name="T42" fmla="*/ 525 w 4600"/>
              <a:gd name="T43" fmla="*/ 288 h 520"/>
              <a:gd name="T44" fmla="*/ 362 w 4600"/>
              <a:gd name="T45" fmla="*/ 380 h 520"/>
              <a:gd name="T46" fmla="*/ 246 w 4600"/>
              <a:gd name="T47" fmla="*/ 88 h 520"/>
              <a:gd name="T48" fmla="*/ 148 w 4600"/>
              <a:gd name="T49" fmla="*/ 88 h 520"/>
              <a:gd name="T50" fmla="*/ 0 w 4600"/>
              <a:gd name="T51" fmla="*/ 520 h 520"/>
              <a:gd name="T52" fmla="*/ 148 w 4600"/>
              <a:gd name="T53" fmla="*/ 249 h 520"/>
              <a:gd name="T54" fmla="*/ 478 w 4600"/>
              <a:gd name="T55" fmla="*/ 520 h 520"/>
              <a:gd name="T56" fmla="*/ 927 w 4600"/>
              <a:gd name="T57" fmla="*/ 520 h 520"/>
              <a:gd name="T58" fmla="*/ 1154 w 4600"/>
              <a:gd name="T59" fmla="*/ 520 h 520"/>
              <a:gd name="T60" fmla="*/ 1426 w 4600"/>
              <a:gd name="T61" fmla="*/ 520 h 520"/>
              <a:gd name="T62" fmla="*/ 1691 w 4600"/>
              <a:gd name="T63" fmla="*/ 520 h 520"/>
              <a:gd name="T64" fmla="*/ 1912 w 4600"/>
              <a:gd name="T65" fmla="*/ 520 h 520"/>
              <a:gd name="T66" fmla="*/ 2120 w 4600"/>
              <a:gd name="T67" fmla="*/ 520 h 520"/>
              <a:gd name="T68" fmla="*/ 2147 w 4600"/>
              <a:gd name="T69" fmla="*/ 520 h 520"/>
              <a:gd name="T70" fmla="*/ 2443 w 4600"/>
              <a:gd name="T71" fmla="*/ 520 h 520"/>
              <a:gd name="T72" fmla="*/ 2677 w 4600"/>
              <a:gd name="T73" fmla="*/ 520 h 520"/>
              <a:gd name="T74" fmla="*/ 3117 w 4600"/>
              <a:gd name="T75" fmla="*/ 520 h 520"/>
              <a:gd name="T76" fmla="*/ 3359 w 4600"/>
              <a:gd name="T77" fmla="*/ 520 h 520"/>
              <a:gd name="T78" fmla="*/ 3658 w 4600"/>
              <a:gd name="T79" fmla="*/ 520 h 520"/>
              <a:gd name="T80" fmla="*/ 3773 w 4600"/>
              <a:gd name="T81" fmla="*/ 520 h 520"/>
              <a:gd name="T82" fmla="*/ 4110 w 4600"/>
              <a:gd name="T83" fmla="*/ 520 h 520"/>
              <a:gd name="T84" fmla="*/ 4228 w 4600"/>
              <a:gd name="T85" fmla="*/ 520 h 520"/>
              <a:gd name="T86" fmla="*/ 4422 w 4600"/>
              <a:gd name="T87" fmla="*/ 520 h 520"/>
              <a:gd name="T88" fmla="*/ 4600 w 4600"/>
              <a:gd name="T89" fmla="*/ 519 h 520"/>
              <a:gd name="T90" fmla="*/ 3435 w 4600"/>
              <a:gd name="T91" fmla="*/ 277 h 520"/>
              <a:gd name="T92" fmla="*/ 3194 w 4600"/>
              <a:gd name="T93" fmla="*/ 228 h 520"/>
              <a:gd name="T94" fmla="*/ 3134 w 4600"/>
              <a:gd name="T95" fmla="*/ 88 h 520"/>
              <a:gd name="T96" fmla="*/ 2945 w 4600"/>
              <a:gd name="T97" fmla="*/ 331 h 520"/>
              <a:gd name="T98" fmla="*/ 2808 w 4600"/>
              <a:gd name="T99" fmla="*/ 288 h 520"/>
              <a:gd name="T100" fmla="*/ 2657 w 4600"/>
              <a:gd name="T101" fmla="*/ 197 h 520"/>
              <a:gd name="T102" fmla="*/ 2540 w 4600"/>
              <a:gd name="T103" fmla="*/ 380 h 520"/>
              <a:gd name="T104" fmla="*/ 2470 w 4600"/>
              <a:gd name="T105" fmla="*/ 88 h 520"/>
              <a:gd name="T106" fmla="*/ 2294 w 4600"/>
              <a:gd name="T107" fmla="*/ 115 h 520"/>
              <a:gd name="T108" fmla="*/ 2234 w 4600"/>
              <a:gd name="T109" fmla="*/ 63 h 520"/>
              <a:gd name="T110" fmla="*/ 2169 w 4600"/>
              <a:gd name="T111" fmla="*/ 63 h 520"/>
              <a:gd name="T112" fmla="*/ 2128 w 4600"/>
              <a:gd name="T113" fmla="*/ 405 h 520"/>
              <a:gd name="T114" fmla="*/ 2017 w 4600"/>
              <a:gd name="T115" fmla="*/ 11 h 520"/>
              <a:gd name="T116" fmla="*/ 4390 w 4600"/>
              <a:gd name="T117" fmla="*/ 397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00" h="520">
                <a:moveTo>
                  <a:pt x="3756" y="197"/>
                </a:moveTo>
                <a:cubicBezTo>
                  <a:pt x="3602" y="197"/>
                  <a:pt x="3602" y="197"/>
                  <a:pt x="3602" y="197"/>
                </a:cubicBezTo>
                <a:cubicBezTo>
                  <a:pt x="3602" y="219"/>
                  <a:pt x="3602" y="219"/>
                  <a:pt x="3602" y="219"/>
                </a:cubicBezTo>
                <a:cubicBezTo>
                  <a:pt x="3616" y="219"/>
                  <a:pt x="3616" y="219"/>
                  <a:pt x="3616" y="219"/>
                </a:cubicBezTo>
                <a:cubicBezTo>
                  <a:pt x="3616" y="299"/>
                  <a:pt x="3616" y="299"/>
                  <a:pt x="3616" y="299"/>
                </a:cubicBezTo>
                <a:cubicBezTo>
                  <a:pt x="3659" y="299"/>
                  <a:pt x="3700" y="301"/>
                  <a:pt x="3742" y="302"/>
                </a:cubicBezTo>
                <a:cubicBezTo>
                  <a:pt x="3742" y="219"/>
                  <a:pt x="3742" y="219"/>
                  <a:pt x="3742" y="219"/>
                </a:cubicBezTo>
                <a:cubicBezTo>
                  <a:pt x="3756" y="219"/>
                  <a:pt x="3756" y="219"/>
                  <a:pt x="3756" y="219"/>
                </a:cubicBezTo>
                <a:cubicBezTo>
                  <a:pt x="3756" y="197"/>
                  <a:pt x="3756" y="197"/>
                  <a:pt x="3756" y="197"/>
                </a:cubicBezTo>
                <a:moveTo>
                  <a:pt x="4156" y="81"/>
                </a:moveTo>
                <a:cubicBezTo>
                  <a:pt x="4059" y="81"/>
                  <a:pt x="4059" y="81"/>
                  <a:pt x="4059" y="81"/>
                </a:cubicBezTo>
                <a:cubicBezTo>
                  <a:pt x="4059" y="277"/>
                  <a:pt x="4059" y="277"/>
                  <a:pt x="4059" y="277"/>
                </a:cubicBezTo>
                <a:cubicBezTo>
                  <a:pt x="4008" y="277"/>
                  <a:pt x="4008" y="277"/>
                  <a:pt x="4008" y="277"/>
                </a:cubicBezTo>
                <a:cubicBezTo>
                  <a:pt x="4008" y="151"/>
                  <a:pt x="4008" y="151"/>
                  <a:pt x="4008" y="151"/>
                </a:cubicBezTo>
                <a:cubicBezTo>
                  <a:pt x="3987" y="151"/>
                  <a:pt x="3987" y="151"/>
                  <a:pt x="3987" y="151"/>
                </a:cubicBezTo>
                <a:cubicBezTo>
                  <a:pt x="3987" y="124"/>
                  <a:pt x="3987" y="124"/>
                  <a:pt x="3987" y="124"/>
                </a:cubicBezTo>
                <a:cubicBezTo>
                  <a:pt x="3921" y="124"/>
                  <a:pt x="3921" y="124"/>
                  <a:pt x="3921" y="124"/>
                </a:cubicBezTo>
                <a:cubicBezTo>
                  <a:pt x="3921" y="88"/>
                  <a:pt x="3921" y="88"/>
                  <a:pt x="3921" y="88"/>
                </a:cubicBezTo>
                <a:cubicBezTo>
                  <a:pt x="3912" y="88"/>
                  <a:pt x="3912" y="88"/>
                  <a:pt x="3912" y="88"/>
                </a:cubicBezTo>
                <a:cubicBezTo>
                  <a:pt x="3912" y="124"/>
                  <a:pt x="3912" y="124"/>
                  <a:pt x="3912" y="124"/>
                </a:cubicBezTo>
                <a:cubicBezTo>
                  <a:pt x="3897" y="124"/>
                  <a:pt x="3897" y="124"/>
                  <a:pt x="3897" y="124"/>
                </a:cubicBezTo>
                <a:cubicBezTo>
                  <a:pt x="3897" y="151"/>
                  <a:pt x="3897" y="151"/>
                  <a:pt x="3897" y="151"/>
                </a:cubicBezTo>
                <a:cubicBezTo>
                  <a:pt x="3875" y="151"/>
                  <a:pt x="3875" y="151"/>
                  <a:pt x="3875" y="151"/>
                </a:cubicBezTo>
                <a:cubicBezTo>
                  <a:pt x="3875" y="257"/>
                  <a:pt x="3875" y="257"/>
                  <a:pt x="3875" y="257"/>
                </a:cubicBezTo>
                <a:cubicBezTo>
                  <a:pt x="3773" y="257"/>
                  <a:pt x="3773" y="257"/>
                  <a:pt x="3773" y="257"/>
                </a:cubicBezTo>
                <a:cubicBezTo>
                  <a:pt x="3773" y="304"/>
                  <a:pt x="3773" y="304"/>
                  <a:pt x="3773" y="304"/>
                </a:cubicBezTo>
                <a:cubicBezTo>
                  <a:pt x="3928" y="312"/>
                  <a:pt x="4075" y="330"/>
                  <a:pt x="4207" y="355"/>
                </a:cubicBezTo>
                <a:cubicBezTo>
                  <a:pt x="4207" y="234"/>
                  <a:pt x="4207" y="234"/>
                  <a:pt x="4207" y="234"/>
                </a:cubicBezTo>
                <a:cubicBezTo>
                  <a:pt x="4156" y="234"/>
                  <a:pt x="4156" y="234"/>
                  <a:pt x="4156" y="234"/>
                </a:cubicBezTo>
                <a:cubicBezTo>
                  <a:pt x="4156" y="81"/>
                  <a:pt x="4156" y="81"/>
                  <a:pt x="4156" y="81"/>
                </a:cubicBezTo>
                <a:moveTo>
                  <a:pt x="4500" y="33"/>
                </a:moveTo>
                <a:cubicBezTo>
                  <a:pt x="4492" y="33"/>
                  <a:pt x="4492" y="33"/>
                  <a:pt x="4492" y="33"/>
                </a:cubicBezTo>
                <a:cubicBezTo>
                  <a:pt x="4492" y="91"/>
                  <a:pt x="4492" y="91"/>
                  <a:pt x="4492" y="91"/>
                </a:cubicBezTo>
                <a:cubicBezTo>
                  <a:pt x="4463" y="91"/>
                  <a:pt x="4463" y="91"/>
                  <a:pt x="4463" y="91"/>
                </a:cubicBezTo>
                <a:cubicBezTo>
                  <a:pt x="4463" y="132"/>
                  <a:pt x="4463" y="132"/>
                  <a:pt x="4463" y="132"/>
                </a:cubicBezTo>
                <a:cubicBezTo>
                  <a:pt x="4441" y="132"/>
                  <a:pt x="4441" y="132"/>
                  <a:pt x="4441" y="132"/>
                </a:cubicBezTo>
                <a:cubicBezTo>
                  <a:pt x="4441" y="309"/>
                  <a:pt x="4441" y="309"/>
                  <a:pt x="4441" y="309"/>
                </a:cubicBezTo>
                <a:cubicBezTo>
                  <a:pt x="4415" y="309"/>
                  <a:pt x="4415" y="309"/>
                  <a:pt x="4415" y="309"/>
                </a:cubicBezTo>
                <a:cubicBezTo>
                  <a:pt x="4422" y="405"/>
                  <a:pt x="4422" y="405"/>
                  <a:pt x="4422" y="405"/>
                </a:cubicBezTo>
                <a:cubicBezTo>
                  <a:pt x="4417" y="405"/>
                  <a:pt x="4417" y="405"/>
                  <a:pt x="4417" y="405"/>
                </a:cubicBezTo>
                <a:cubicBezTo>
                  <a:pt x="4484" y="424"/>
                  <a:pt x="4546" y="446"/>
                  <a:pt x="4600" y="470"/>
                </a:cubicBezTo>
                <a:cubicBezTo>
                  <a:pt x="4600" y="384"/>
                  <a:pt x="4600" y="384"/>
                  <a:pt x="4600" y="384"/>
                </a:cubicBezTo>
                <a:cubicBezTo>
                  <a:pt x="4551" y="384"/>
                  <a:pt x="4551" y="384"/>
                  <a:pt x="4551" y="384"/>
                </a:cubicBezTo>
                <a:cubicBezTo>
                  <a:pt x="4551" y="132"/>
                  <a:pt x="4551" y="132"/>
                  <a:pt x="4551" y="132"/>
                </a:cubicBezTo>
                <a:cubicBezTo>
                  <a:pt x="4529" y="132"/>
                  <a:pt x="4529" y="132"/>
                  <a:pt x="4529" y="132"/>
                </a:cubicBezTo>
                <a:cubicBezTo>
                  <a:pt x="4529" y="91"/>
                  <a:pt x="4529" y="91"/>
                  <a:pt x="4529" y="91"/>
                </a:cubicBezTo>
                <a:cubicBezTo>
                  <a:pt x="4500" y="91"/>
                  <a:pt x="4500" y="91"/>
                  <a:pt x="4500" y="91"/>
                </a:cubicBezTo>
                <a:cubicBezTo>
                  <a:pt x="4500" y="33"/>
                  <a:pt x="4500" y="33"/>
                  <a:pt x="4500" y="33"/>
                </a:cubicBezTo>
                <a:moveTo>
                  <a:pt x="2443" y="390"/>
                </a:moveTo>
                <a:cubicBezTo>
                  <a:pt x="2392" y="370"/>
                  <a:pt x="2392" y="370"/>
                  <a:pt x="2392" y="370"/>
                </a:cubicBezTo>
                <a:cubicBezTo>
                  <a:pt x="2392" y="250"/>
                  <a:pt x="2392" y="250"/>
                  <a:pt x="2392" y="250"/>
                </a:cubicBezTo>
                <a:cubicBezTo>
                  <a:pt x="2392" y="250"/>
                  <a:pt x="2392" y="250"/>
                  <a:pt x="2392" y="250"/>
                </a:cubicBezTo>
                <a:cubicBezTo>
                  <a:pt x="2398" y="243"/>
                  <a:pt x="2408" y="238"/>
                  <a:pt x="2418" y="238"/>
                </a:cubicBezTo>
                <a:cubicBezTo>
                  <a:pt x="2428" y="238"/>
                  <a:pt x="2437" y="242"/>
                  <a:pt x="2443" y="249"/>
                </a:cubicBezTo>
                <a:cubicBezTo>
                  <a:pt x="2443" y="390"/>
                  <a:pt x="2443" y="390"/>
                  <a:pt x="2443" y="390"/>
                </a:cubicBezTo>
                <a:moveTo>
                  <a:pt x="2017" y="11"/>
                </a:moveTo>
                <a:cubicBezTo>
                  <a:pt x="2012" y="11"/>
                  <a:pt x="2012" y="11"/>
                  <a:pt x="2012" y="11"/>
                </a:cubicBezTo>
                <a:cubicBezTo>
                  <a:pt x="2012" y="56"/>
                  <a:pt x="2012" y="56"/>
                  <a:pt x="2012" y="56"/>
                </a:cubicBezTo>
                <a:cubicBezTo>
                  <a:pt x="1983" y="58"/>
                  <a:pt x="1959" y="82"/>
                  <a:pt x="1959" y="112"/>
                </a:cubicBezTo>
                <a:cubicBezTo>
                  <a:pt x="1933" y="112"/>
                  <a:pt x="1933" y="112"/>
                  <a:pt x="1933" y="112"/>
                </a:cubicBezTo>
                <a:cubicBezTo>
                  <a:pt x="1933" y="374"/>
                  <a:pt x="1933" y="374"/>
                  <a:pt x="1933" y="374"/>
                </a:cubicBezTo>
                <a:cubicBezTo>
                  <a:pt x="1912" y="374"/>
                  <a:pt x="1912" y="374"/>
                  <a:pt x="1912" y="374"/>
                </a:cubicBezTo>
                <a:cubicBezTo>
                  <a:pt x="1912" y="234"/>
                  <a:pt x="1912" y="234"/>
                  <a:pt x="1912" y="234"/>
                </a:cubicBezTo>
                <a:cubicBezTo>
                  <a:pt x="1861" y="234"/>
                  <a:pt x="1861" y="234"/>
                  <a:pt x="1861" y="234"/>
                </a:cubicBezTo>
                <a:cubicBezTo>
                  <a:pt x="1861" y="124"/>
                  <a:pt x="1861" y="124"/>
                  <a:pt x="1861" y="124"/>
                </a:cubicBezTo>
                <a:cubicBezTo>
                  <a:pt x="1764" y="81"/>
                  <a:pt x="1764" y="81"/>
                  <a:pt x="1764" y="81"/>
                </a:cubicBezTo>
                <a:cubicBezTo>
                  <a:pt x="1764" y="277"/>
                  <a:pt x="1764" y="277"/>
                  <a:pt x="1764" y="277"/>
                </a:cubicBezTo>
                <a:cubicBezTo>
                  <a:pt x="1706" y="277"/>
                  <a:pt x="1706" y="277"/>
                  <a:pt x="1706" y="277"/>
                </a:cubicBezTo>
                <a:cubicBezTo>
                  <a:pt x="1706" y="151"/>
                  <a:pt x="1706" y="151"/>
                  <a:pt x="1706" y="151"/>
                </a:cubicBezTo>
                <a:cubicBezTo>
                  <a:pt x="1692" y="151"/>
                  <a:pt x="1692" y="151"/>
                  <a:pt x="1692" y="151"/>
                </a:cubicBezTo>
                <a:cubicBezTo>
                  <a:pt x="1692" y="124"/>
                  <a:pt x="1692" y="124"/>
                  <a:pt x="1692" y="124"/>
                </a:cubicBezTo>
                <a:cubicBezTo>
                  <a:pt x="1602" y="124"/>
                  <a:pt x="1602" y="124"/>
                  <a:pt x="1602" y="124"/>
                </a:cubicBezTo>
                <a:cubicBezTo>
                  <a:pt x="1602" y="151"/>
                  <a:pt x="1602" y="151"/>
                  <a:pt x="1602" y="151"/>
                </a:cubicBezTo>
                <a:cubicBezTo>
                  <a:pt x="1588" y="151"/>
                  <a:pt x="1588" y="151"/>
                  <a:pt x="1588" y="151"/>
                </a:cubicBezTo>
                <a:cubicBezTo>
                  <a:pt x="1588" y="257"/>
                  <a:pt x="1588" y="257"/>
                  <a:pt x="1588" y="257"/>
                </a:cubicBezTo>
                <a:cubicBezTo>
                  <a:pt x="1478" y="257"/>
                  <a:pt x="1478" y="257"/>
                  <a:pt x="1478" y="257"/>
                </a:cubicBezTo>
                <a:cubicBezTo>
                  <a:pt x="1478" y="329"/>
                  <a:pt x="1478" y="329"/>
                  <a:pt x="1478" y="329"/>
                </a:cubicBezTo>
                <a:cubicBezTo>
                  <a:pt x="1447" y="329"/>
                  <a:pt x="1447" y="329"/>
                  <a:pt x="1447" y="329"/>
                </a:cubicBezTo>
                <a:cubicBezTo>
                  <a:pt x="1447" y="219"/>
                  <a:pt x="1447" y="219"/>
                  <a:pt x="1447" y="219"/>
                </a:cubicBezTo>
                <a:cubicBezTo>
                  <a:pt x="1461" y="219"/>
                  <a:pt x="1461" y="219"/>
                  <a:pt x="1461" y="219"/>
                </a:cubicBezTo>
                <a:cubicBezTo>
                  <a:pt x="1461" y="197"/>
                  <a:pt x="1461" y="197"/>
                  <a:pt x="1461" y="197"/>
                </a:cubicBezTo>
                <a:cubicBezTo>
                  <a:pt x="1308" y="197"/>
                  <a:pt x="1308" y="197"/>
                  <a:pt x="1308" y="197"/>
                </a:cubicBezTo>
                <a:cubicBezTo>
                  <a:pt x="1308" y="219"/>
                  <a:pt x="1308" y="219"/>
                  <a:pt x="1308" y="219"/>
                </a:cubicBezTo>
                <a:cubicBezTo>
                  <a:pt x="1322" y="219"/>
                  <a:pt x="1322" y="219"/>
                  <a:pt x="1322" y="219"/>
                </a:cubicBezTo>
                <a:cubicBezTo>
                  <a:pt x="1322" y="380"/>
                  <a:pt x="1322" y="380"/>
                  <a:pt x="1322" y="380"/>
                </a:cubicBezTo>
                <a:cubicBezTo>
                  <a:pt x="1270" y="380"/>
                  <a:pt x="1270" y="380"/>
                  <a:pt x="1270" y="380"/>
                </a:cubicBezTo>
                <a:cubicBezTo>
                  <a:pt x="1252" y="53"/>
                  <a:pt x="1252" y="53"/>
                  <a:pt x="1252" y="53"/>
                </a:cubicBezTo>
                <a:cubicBezTo>
                  <a:pt x="1153" y="53"/>
                  <a:pt x="1153" y="53"/>
                  <a:pt x="1153" y="53"/>
                </a:cubicBezTo>
                <a:cubicBezTo>
                  <a:pt x="1140" y="277"/>
                  <a:pt x="1140" y="277"/>
                  <a:pt x="1140" y="277"/>
                </a:cubicBezTo>
                <a:cubicBezTo>
                  <a:pt x="1064" y="277"/>
                  <a:pt x="1064" y="277"/>
                  <a:pt x="1064" y="277"/>
                </a:cubicBezTo>
                <a:cubicBezTo>
                  <a:pt x="1064" y="178"/>
                  <a:pt x="1064" y="178"/>
                  <a:pt x="1064" y="178"/>
                </a:cubicBezTo>
                <a:cubicBezTo>
                  <a:pt x="927" y="88"/>
                  <a:pt x="927" y="88"/>
                  <a:pt x="927" y="88"/>
                </a:cubicBezTo>
                <a:cubicBezTo>
                  <a:pt x="927" y="228"/>
                  <a:pt x="927" y="228"/>
                  <a:pt x="927" y="228"/>
                </a:cubicBezTo>
                <a:cubicBezTo>
                  <a:pt x="900" y="228"/>
                  <a:pt x="900" y="228"/>
                  <a:pt x="900" y="228"/>
                </a:cubicBezTo>
                <a:cubicBezTo>
                  <a:pt x="900" y="207"/>
                  <a:pt x="900" y="207"/>
                  <a:pt x="900" y="207"/>
                </a:cubicBezTo>
                <a:cubicBezTo>
                  <a:pt x="863" y="207"/>
                  <a:pt x="863" y="207"/>
                  <a:pt x="863" y="207"/>
                </a:cubicBezTo>
                <a:cubicBezTo>
                  <a:pt x="863" y="228"/>
                  <a:pt x="863" y="228"/>
                  <a:pt x="863" y="228"/>
                </a:cubicBezTo>
                <a:cubicBezTo>
                  <a:pt x="839" y="228"/>
                  <a:pt x="839" y="228"/>
                  <a:pt x="839" y="228"/>
                </a:cubicBezTo>
                <a:cubicBezTo>
                  <a:pt x="839" y="88"/>
                  <a:pt x="839" y="88"/>
                  <a:pt x="839" y="88"/>
                </a:cubicBezTo>
                <a:cubicBezTo>
                  <a:pt x="742" y="88"/>
                  <a:pt x="742" y="88"/>
                  <a:pt x="742" y="88"/>
                </a:cubicBezTo>
                <a:cubicBezTo>
                  <a:pt x="742" y="238"/>
                  <a:pt x="742" y="238"/>
                  <a:pt x="742" y="238"/>
                </a:cubicBezTo>
                <a:cubicBezTo>
                  <a:pt x="708" y="238"/>
                  <a:pt x="708" y="238"/>
                  <a:pt x="708" y="238"/>
                </a:cubicBezTo>
                <a:cubicBezTo>
                  <a:pt x="719" y="331"/>
                  <a:pt x="719" y="331"/>
                  <a:pt x="719" y="331"/>
                </a:cubicBezTo>
                <a:cubicBezTo>
                  <a:pt x="650" y="331"/>
                  <a:pt x="650" y="331"/>
                  <a:pt x="650" y="331"/>
                </a:cubicBezTo>
                <a:cubicBezTo>
                  <a:pt x="650" y="288"/>
                  <a:pt x="650" y="288"/>
                  <a:pt x="650" y="288"/>
                </a:cubicBezTo>
                <a:cubicBezTo>
                  <a:pt x="661" y="288"/>
                  <a:pt x="661" y="288"/>
                  <a:pt x="661" y="288"/>
                </a:cubicBezTo>
                <a:cubicBezTo>
                  <a:pt x="661" y="276"/>
                  <a:pt x="661" y="276"/>
                  <a:pt x="661" y="276"/>
                </a:cubicBezTo>
                <a:cubicBezTo>
                  <a:pt x="514" y="276"/>
                  <a:pt x="514" y="276"/>
                  <a:pt x="514" y="276"/>
                </a:cubicBezTo>
                <a:cubicBezTo>
                  <a:pt x="514" y="288"/>
                  <a:pt x="514" y="288"/>
                  <a:pt x="514" y="288"/>
                </a:cubicBezTo>
                <a:cubicBezTo>
                  <a:pt x="525" y="288"/>
                  <a:pt x="525" y="288"/>
                  <a:pt x="525" y="288"/>
                </a:cubicBezTo>
                <a:cubicBezTo>
                  <a:pt x="525" y="331"/>
                  <a:pt x="525" y="331"/>
                  <a:pt x="525" y="331"/>
                </a:cubicBezTo>
                <a:cubicBezTo>
                  <a:pt x="478" y="331"/>
                  <a:pt x="478" y="331"/>
                  <a:pt x="478" y="331"/>
                </a:cubicBezTo>
                <a:cubicBezTo>
                  <a:pt x="478" y="133"/>
                  <a:pt x="478" y="133"/>
                  <a:pt x="478" y="133"/>
                </a:cubicBezTo>
                <a:cubicBezTo>
                  <a:pt x="362" y="197"/>
                  <a:pt x="362" y="197"/>
                  <a:pt x="362" y="197"/>
                </a:cubicBezTo>
                <a:cubicBezTo>
                  <a:pt x="362" y="380"/>
                  <a:pt x="362" y="380"/>
                  <a:pt x="362" y="380"/>
                </a:cubicBezTo>
                <a:cubicBezTo>
                  <a:pt x="337" y="380"/>
                  <a:pt x="337" y="380"/>
                  <a:pt x="337" y="380"/>
                </a:cubicBezTo>
                <a:cubicBezTo>
                  <a:pt x="337" y="367"/>
                  <a:pt x="327" y="357"/>
                  <a:pt x="314" y="357"/>
                </a:cubicBezTo>
                <a:cubicBezTo>
                  <a:pt x="302" y="357"/>
                  <a:pt x="292" y="367"/>
                  <a:pt x="292" y="380"/>
                </a:cubicBezTo>
                <a:cubicBezTo>
                  <a:pt x="246" y="380"/>
                  <a:pt x="246" y="380"/>
                  <a:pt x="246" y="380"/>
                </a:cubicBezTo>
                <a:cubicBezTo>
                  <a:pt x="246" y="88"/>
                  <a:pt x="246" y="88"/>
                  <a:pt x="246" y="88"/>
                </a:cubicBezTo>
                <a:cubicBezTo>
                  <a:pt x="219" y="88"/>
                  <a:pt x="219" y="88"/>
                  <a:pt x="219" y="88"/>
                </a:cubicBezTo>
                <a:cubicBezTo>
                  <a:pt x="219" y="66"/>
                  <a:pt x="219" y="66"/>
                  <a:pt x="219" y="66"/>
                </a:cubicBezTo>
                <a:cubicBezTo>
                  <a:pt x="176" y="66"/>
                  <a:pt x="176" y="66"/>
                  <a:pt x="176" y="66"/>
                </a:cubicBezTo>
                <a:cubicBezTo>
                  <a:pt x="176" y="88"/>
                  <a:pt x="176" y="88"/>
                  <a:pt x="176" y="88"/>
                </a:cubicBezTo>
                <a:cubicBezTo>
                  <a:pt x="148" y="88"/>
                  <a:pt x="148" y="88"/>
                  <a:pt x="148" y="88"/>
                </a:cubicBezTo>
                <a:cubicBezTo>
                  <a:pt x="148" y="206"/>
                  <a:pt x="148" y="206"/>
                  <a:pt x="148" y="206"/>
                </a:cubicBezTo>
                <a:cubicBezTo>
                  <a:pt x="97" y="206"/>
                  <a:pt x="97" y="206"/>
                  <a:pt x="97" y="206"/>
                </a:cubicBezTo>
                <a:cubicBezTo>
                  <a:pt x="97" y="115"/>
                  <a:pt x="97" y="115"/>
                  <a:pt x="97" y="115"/>
                </a:cubicBezTo>
                <a:cubicBezTo>
                  <a:pt x="0" y="115"/>
                  <a:pt x="0" y="115"/>
                  <a:pt x="0" y="115"/>
                </a:cubicBezTo>
                <a:cubicBezTo>
                  <a:pt x="0" y="520"/>
                  <a:pt x="0" y="520"/>
                  <a:pt x="0" y="520"/>
                </a:cubicBezTo>
                <a:cubicBezTo>
                  <a:pt x="97" y="520"/>
                  <a:pt x="97" y="520"/>
                  <a:pt x="97" y="520"/>
                </a:cubicBezTo>
                <a:cubicBezTo>
                  <a:pt x="97" y="250"/>
                  <a:pt x="97" y="250"/>
                  <a:pt x="97" y="250"/>
                </a:cubicBezTo>
                <a:cubicBezTo>
                  <a:pt x="97" y="250"/>
                  <a:pt x="97" y="250"/>
                  <a:pt x="97" y="250"/>
                </a:cubicBezTo>
                <a:cubicBezTo>
                  <a:pt x="104" y="243"/>
                  <a:pt x="113" y="238"/>
                  <a:pt x="123" y="238"/>
                </a:cubicBezTo>
                <a:cubicBezTo>
                  <a:pt x="133" y="238"/>
                  <a:pt x="142" y="242"/>
                  <a:pt x="148" y="249"/>
                </a:cubicBezTo>
                <a:cubicBezTo>
                  <a:pt x="148" y="520"/>
                  <a:pt x="148" y="520"/>
                  <a:pt x="148" y="520"/>
                </a:cubicBezTo>
                <a:cubicBezTo>
                  <a:pt x="246" y="520"/>
                  <a:pt x="246" y="520"/>
                  <a:pt x="246" y="520"/>
                </a:cubicBezTo>
                <a:cubicBezTo>
                  <a:pt x="362" y="520"/>
                  <a:pt x="362" y="520"/>
                  <a:pt x="362" y="520"/>
                </a:cubicBezTo>
                <a:cubicBezTo>
                  <a:pt x="383" y="520"/>
                  <a:pt x="383" y="520"/>
                  <a:pt x="383" y="520"/>
                </a:cubicBezTo>
                <a:cubicBezTo>
                  <a:pt x="478" y="520"/>
                  <a:pt x="478" y="520"/>
                  <a:pt x="478" y="520"/>
                </a:cubicBezTo>
                <a:cubicBezTo>
                  <a:pt x="741" y="520"/>
                  <a:pt x="741" y="520"/>
                  <a:pt x="741" y="520"/>
                </a:cubicBezTo>
                <a:cubicBezTo>
                  <a:pt x="742" y="520"/>
                  <a:pt x="742" y="520"/>
                  <a:pt x="742" y="520"/>
                </a:cubicBezTo>
                <a:cubicBezTo>
                  <a:pt x="822" y="520"/>
                  <a:pt x="822" y="520"/>
                  <a:pt x="822" y="520"/>
                </a:cubicBezTo>
                <a:cubicBezTo>
                  <a:pt x="839" y="520"/>
                  <a:pt x="839" y="520"/>
                  <a:pt x="839" y="520"/>
                </a:cubicBezTo>
                <a:cubicBezTo>
                  <a:pt x="927" y="520"/>
                  <a:pt x="927" y="520"/>
                  <a:pt x="927" y="520"/>
                </a:cubicBezTo>
                <a:cubicBezTo>
                  <a:pt x="941" y="520"/>
                  <a:pt x="941" y="520"/>
                  <a:pt x="941" y="520"/>
                </a:cubicBezTo>
                <a:cubicBezTo>
                  <a:pt x="1017" y="520"/>
                  <a:pt x="1017" y="520"/>
                  <a:pt x="1017" y="520"/>
                </a:cubicBezTo>
                <a:cubicBezTo>
                  <a:pt x="1064" y="520"/>
                  <a:pt x="1064" y="520"/>
                  <a:pt x="1064" y="520"/>
                </a:cubicBezTo>
                <a:cubicBezTo>
                  <a:pt x="1126" y="520"/>
                  <a:pt x="1126" y="520"/>
                  <a:pt x="1126" y="520"/>
                </a:cubicBezTo>
                <a:cubicBezTo>
                  <a:pt x="1154" y="520"/>
                  <a:pt x="1154" y="520"/>
                  <a:pt x="1154" y="520"/>
                </a:cubicBezTo>
                <a:cubicBezTo>
                  <a:pt x="1227" y="520"/>
                  <a:pt x="1227" y="520"/>
                  <a:pt x="1227" y="520"/>
                </a:cubicBezTo>
                <a:cubicBezTo>
                  <a:pt x="1278" y="520"/>
                  <a:pt x="1278" y="520"/>
                  <a:pt x="1278" y="520"/>
                </a:cubicBezTo>
                <a:cubicBezTo>
                  <a:pt x="1364" y="520"/>
                  <a:pt x="1364" y="520"/>
                  <a:pt x="1364" y="520"/>
                </a:cubicBezTo>
                <a:cubicBezTo>
                  <a:pt x="1364" y="520"/>
                  <a:pt x="1364" y="520"/>
                  <a:pt x="1364" y="520"/>
                </a:cubicBezTo>
                <a:cubicBezTo>
                  <a:pt x="1426" y="520"/>
                  <a:pt x="1426" y="520"/>
                  <a:pt x="1426" y="520"/>
                </a:cubicBezTo>
                <a:cubicBezTo>
                  <a:pt x="1447" y="520"/>
                  <a:pt x="1447" y="520"/>
                  <a:pt x="1447" y="520"/>
                </a:cubicBezTo>
                <a:cubicBezTo>
                  <a:pt x="1478" y="520"/>
                  <a:pt x="1478" y="520"/>
                  <a:pt x="1478" y="520"/>
                </a:cubicBezTo>
                <a:cubicBezTo>
                  <a:pt x="1478" y="520"/>
                  <a:pt x="1478" y="520"/>
                  <a:pt x="1478" y="520"/>
                </a:cubicBezTo>
                <a:cubicBezTo>
                  <a:pt x="1588" y="520"/>
                  <a:pt x="1588" y="520"/>
                  <a:pt x="1588" y="520"/>
                </a:cubicBezTo>
                <a:cubicBezTo>
                  <a:pt x="1691" y="520"/>
                  <a:pt x="1691" y="520"/>
                  <a:pt x="1691" y="520"/>
                </a:cubicBezTo>
                <a:cubicBezTo>
                  <a:pt x="1706" y="520"/>
                  <a:pt x="1706" y="520"/>
                  <a:pt x="1706" y="520"/>
                </a:cubicBezTo>
                <a:cubicBezTo>
                  <a:pt x="1815" y="520"/>
                  <a:pt x="1815" y="520"/>
                  <a:pt x="1815" y="520"/>
                </a:cubicBezTo>
                <a:cubicBezTo>
                  <a:pt x="1828" y="520"/>
                  <a:pt x="1828" y="520"/>
                  <a:pt x="1828" y="520"/>
                </a:cubicBezTo>
                <a:cubicBezTo>
                  <a:pt x="1912" y="520"/>
                  <a:pt x="1912" y="520"/>
                  <a:pt x="1912" y="520"/>
                </a:cubicBezTo>
                <a:cubicBezTo>
                  <a:pt x="1912" y="520"/>
                  <a:pt x="1912" y="520"/>
                  <a:pt x="1912" y="520"/>
                </a:cubicBezTo>
                <a:cubicBezTo>
                  <a:pt x="1933" y="520"/>
                  <a:pt x="1933" y="520"/>
                  <a:pt x="1933" y="520"/>
                </a:cubicBezTo>
                <a:cubicBezTo>
                  <a:pt x="1933" y="520"/>
                  <a:pt x="1933" y="520"/>
                  <a:pt x="1933" y="520"/>
                </a:cubicBezTo>
                <a:cubicBezTo>
                  <a:pt x="2096" y="520"/>
                  <a:pt x="2096" y="520"/>
                  <a:pt x="2096" y="520"/>
                </a:cubicBezTo>
                <a:cubicBezTo>
                  <a:pt x="2096" y="520"/>
                  <a:pt x="2096" y="520"/>
                  <a:pt x="2096" y="520"/>
                </a:cubicBezTo>
                <a:cubicBezTo>
                  <a:pt x="2120" y="520"/>
                  <a:pt x="2120" y="520"/>
                  <a:pt x="2120" y="520"/>
                </a:cubicBezTo>
                <a:cubicBezTo>
                  <a:pt x="2120" y="520"/>
                  <a:pt x="2120" y="520"/>
                  <a:pt x="2120" y="520"/>
                </a:cubicBezTo>
                <a:cubicBezTo>
                  <a:pt x="2128" y="520"/>
                  <a:pt x="2128" y="520"/>
                  <a:pt x="2128" y="520"/>
                </a:cubicBezTo>
                <a:cubicBezTo>
                  <a:pt x="2128" y="520"/>
                  <a:pt x="2128" y="520"/>
                  <a:pt x="2128" y="520"/>
                </a:cubicBezTo>
                <a:cubicBezTo>
                  <a:pt x="2147" y="520"/>
                  <a:pt x="2147" y="520"/>
                  <a:pt x="2147" y="520"/>
                </a:cubicBezTo>
                <a:cubicBezTo>
                  <a:pt x="2147" y="520"/>
                  <a:pt x="2147" y="520"/>
                  <a:pt x="2147" y="520"/>
                </a:cubicBezTo>
                <a:cubicBezTo>
                  <a:pt x="2294" y="520"/>
                  <a:pt x="2294" y="520"/>
                  <a:pt x="2294" y="520"/>
                </a:cubicBezTo>
                <a:cubicBezTo>
                  <a:pt x="2305" y="520"/>
                  <a:pt x="2305" y="520"/>
                  <a:pt x="2305" y="520"/>
                </a:cubicBezTo>
                <a:cubicBezTo>
                  <a:pt x="2366" y="520"/>
                  <a:pt x="2366" y="520"/>
                  <a:pt x="2366" y="520"/>
                </a:cubicBezTo>
                <a:cubicBezTo>
                  <a:pt x="2392" y="520"/>
                  <a:pt x="2392" y="520"/>
                  <a:pt x="2392" y="520"/>
                </a:cubicBezTo>
                <a:cubicBezTo>
                  <a:pt x="2443" y="520"/>
                  <a:pt x="2443" y="520"/>
                  <a:pt x="2443" y="520"/>
                </a:cubicBezTo>
                <a:cubicBezTo>
                  <a:pt x="2470" y="520"/>
                  <a:pt x="2470" y="520"/>
                  <a:pt x="2470" y="520"/>
                </a:cubicBezTo>
                <a:cubicBezTo>
                  <a:pt x="2513" y="520"/>
                  <a:pt x="2513" y="520"/>
                  <a:pt x="2513" y="520"/>
                </a:cubicBezTo>
                <a:cubicBezTo>
                  <a:pt x="2540" y="520"/>
                  <a:pt x="2540" y="520"/>
                  <a:pt x="2540" y="520"/>
                </a:cubicBezTo>
                <a:cubicBezTo>
                  <a:pt x="2657" y="520"/>
                  <a:pt x="2657" y="520"/>
                  <a:pt x="2657" y="520"/>
                </a:cubicBezTo>
                <a:cubicBezTo>
                  <a:pt x="2677" y="520"/>
                  <a:pt x="2677" y="520"/>
                  <a:pt x="2677" y="520"/>
                </a:cubicBezTo>
                <a:cubicBezTo>
                  <a:pt x="2749" y="520"/>
                  <a:pt x="2749" y="520"/>
                  <a:pt x="2749" y="520"/>
                </a:cubicBezTo>
                <a:cubicBezTo>
                  <a:pt x="2773" y="520"/>
                  <a:pt x="2773" y="520"/>
                  <a:pt x="2773" y="520"/>
                </a:cubicBezTo>
                <a:cubicBezTo>
                  <a:pt x="3035" y="520"/>
                  <a:pt x="3035" y="520"/>
                  <a:pt x="3035" y="520"/>
                </a:cubicBezTo>
                <a:cubicBezTo>
                  <a:pt x="3037" y="520"/>
                  <a:pt x="3037" y="520"/>
                  <a:pt x="3037" y="520"/>
                </a:cubicBezTo>
                <a:cubicBezTo>
                  <a:pt x="3117" y="520"/>
                  <a:pt x="3117" y="520"/>
                  <a:pt x="3117" y="520"/>
                </a:cubicBezTo>
                <a:cubicBezTo>
                  <a:pt x="3134" y="520"/>
                  <a:pt x="3134" y="520"/>
                  <a:pt x="3134" y="520"/>
                </a:cubicBezTo>
                <a:cubicBezTo>
                  <a:pt x="3222" y="520"/>
                  <a:pt x="3222" y="520"/>
                  <a:pt x="3222" y="520"/>
                </a:cubicBezTo>
                <a:cubicBezTo>
                  <a:pt x="3235" y="520"/>
                  <a:pt x="3235" y="520"/>
                  <a:pt x="3235" y="520"/>
                </a:cubicBezTo>
                <a:cubicBezTo>
                  <a:pt x="3312" y="520"/>
                  <a:pt x="3312" y="520"/>
                  <a:pt x="3312" y="520"/>
                </a:cubicBezTo>
                <a:cubicBezTo>
                  <a:pt x="3359" y="520"/>
                  <a:pt x="3359" y="520"/>
                  <a:pt x="3359" y="520"/>
                </a:cubicBezTo>
                <a:cubicBezTo>
                  <a:pt x="3421" y="520"/>
                  <a:pt x="3421" y="520"/>
                  <a:pt x="3421" y="520"/>
                </a:cubicBezTo>
                <a:cubicBezTo>
                  <a:pt x="3449" y="520"/>
                  <a:pt x="3449" y="520"/>
                  <a:pt x="3449" y="520"/>
                </a:cubicBezTo>
                <a:cubicBezTo>
                  <a:pt x="3522" y="520"/>
                  <a:pt x="3522" y="520"/>
                  <a:pt x="3522" y="520"/>
                </a:cubicBezTo>
                <a:cubicBezTo>
                  <a:pt x="3573" y="520"/>
                  <a:pt x="3573" y="520"/>
                  <a:pt x="3573" y="520"/>
                </a:cubicBezTo>
                <a:cubicBezTo>
                  <a:pt x="3658" y="520"/>
                  <a:pt x="3658" y="520"/>
                  <a:pt x="3658" y="520"/>
                </a:cubicBezTo>
                <a:cubicBezTo>
                  <a:pt x="3658" y="520"/>
                  <a:pt x="3658" y="520"/>
                  <a:pt x="3658" y="520"/>
                </a:cubicBezTo>
                <a:cubicBezTo>
                  <a:pt x="3720" y="520"/>
                  <a:pt x="3720" y="520"/>
                  <a:pt x="3720" y="520"/>
                </a:cubicBezTo>
                <a:cubicBezTo>
                  <a:pt x="3742" y="520"/>
                  <a:pt x="3742" y="520"/>
                  <a:pt x="3742" y="520"/>
                </a:cubicBezTo>
                <a:cubicBezTo>
                  <a:pt x="3773" y="520"/>
                  <a:pt x="3773" y="520"/>
                  <a:pt x="3773" y="520"/>
                </a:cubicBezTo>
                <a:cubicBezTo>
                  <a:pt x="3773" y="520"/>
                  <a:pt x="3773" y="520"/>
                  <a:pt x="3773" y="520"/>
                </a:cubicBezTo>
                <a:cubicBezTo>
                  <a:pt x="3875" y="520"/>
                  <a:pt x="3875" y="520"/>
                  <a:pt x="3875" y="520"/>
                </a:cubicBezTo>
                <a:cubicBezTo>
                  <a:pt x="3882" y="520"/>
                  <a:pt x="3882" y="520"/>
                  <a:pt x="3882" y="520"/>
                </a:cubicBezTo>
                <a:cubicBezTo>
                  <a:pt x="3986" y="520"/>
                  <a:pt x="3986" y="520"/>
                  <a:pt x="3986" y="520"/>
                </a:cubicBezTo>
                <a:cubicBezTo>
                  <a:pt x="4008" y="520"/>
                  <a:pt x="4008" y="520"/>
                  <a:pt x="4008" y="520"/>
                </a:cubicBezTo>
                <a:cubicBezTo>
                  <a:pt x="4110" y="520"/>
                  <a:pt x="4110" y="520"/>
                  <a:pt x="4110" y="520"/>
                </a:cubicBezTo>
                <a:cubicBezTo>
                  <a:pt x="4123" y="520"/>
                  <a:pt x="4123" y="520"/>
                  <a:pt x="4123" y="520"/>
                </a:cubicBezTo>
                <a:cubicBezTo>
                  <a:pt x="4207" y="520"/>
                  <a:pt x="4207" y="520"/>
                  <a:pt x="4207" y="520"/>
                </a:cubicBezTo>
                <a:cubicBezTo>
                  <a:pt x="4207" y="520"/>
                  <a:pt x="4207" y="520"/>
                  <a:pt x="4207" y="520"/>
                </a:cubicBezTo>
                <a:cubicBezTo>
                  <a:pt x="4228" y="520"/>
                  <a:pt x="4228" y="520"/>
                  <a:pt x="4228" y="520"/>
                </a:cubicBezTo>
                <a:cubicBezTo>
                  <a:pt x="4228" y="520"/>
                  <a:pt x="4228" y="520"/>
                  <a:pt x="4228" y="520"/>
                </a:cubicBezTo>
                <a:cubicBezTo>
                  <a:pt x="4390" y="520"/>
                  <a:pt x="4390" y="520"/>
                  <a:pt x="4390" y="520"/>
                </a:cubicBezTo>
                <a:cubicBezTo>
                  <a:pt x="4390" y="520"/>
                  <a:pt x="4390" y="520"/>
                  <a:pt x="4390" y="520"/>
                </a:cubicBezTo>
                <a:cubicBezTo>
                  <a:pt x="4415" y="520"/>
                  <a:pt x="4415" y="520"/>
                  <a:pt x="4415" y="520"/>
                </a:cubicBezTo>
                <a:cubicBezTo>
                  <a:pt x="4415" y="520"/>
                  <a:pt x="4415" y="520"/>
                  <a:pt x="4415" y="520"/>
                </a:cubicBezTo>
                <a:cubicBezTo>
                  <a:pt x="4422" y="520"/>
                  <a:pt x="4422" y="520"/>
                  <a:pt x="4422" y="520"/>
                </a:cubicBezTo>
                <a:cubicBezTo>
                  <a:pt x="4422" y="520"/>
                  <a:pt x="4422" y="520"/>
                  <a:pt x="4422" y="520"/>
                </a:cubicBezTo>
                <a:cubicBezTo>
                  <a:pt x="4441" y="520"/>
                  <a:pt x="4441" y="520"/>
                  <a:pt x="4441" y="520"/>
                </a:cubicBezTo>
                <a:cubicBezTo>
                  <a:pt x="4441" y="520"/>
                  <a:pt x="4441" y="520"/>
                  <a:pt x="4441" y="520"/>
                </a:cubicBezTo>
                <a:cubicBezTo>
                  <a:pt x="4600" y="520"/>
                  <a:pt x="4600" y="520"/>
                  <a:pt x="4600" y="520"/>
                </a:cubicBezTo>
                <a:cubicBezTo>
                  <a:pt x="4600" y="519"/>
                  <a:pt x="4600" y="519"/>
                  <a:pt x="4600" y="519"/>
                </a:cubicBezTo>
                <a:cubicBezTo>
                  <a:pt x="2433" y="519"/>
                  <a:pt x="2433" y="519"/>
                  <a:pt x="2433" y="519"/>
                </a:cubicBezTo>
                <a:cubicBezTo>
                  <a:pt x="2657" y="388"/>
                  <a:pt x="3078" y="299"/>
                  <a:pt x="3560" y="298"/>
                </a:cubicBezTo>
                <a:cubicBezTo>
                  <a:pt x="3547" y="53"/>
                  <a:pt x="3547" y="53"/>
                  <a:pt x="3547" y="53"/>
                </a:cubicBezTo>
                <a:cubicBezTo>
                  <a:pt x="3447" y="53"/>
                  <a:pt x="3447" y="53"/>
                  <a:pt x="3447" y="53"/>
                </a:cubicBezTo>
                <a:cubicBezTo>
                  <a:pt x="3435" y="277"/>
                  <a:pt x="3435" y="277"/>
                  <a:pt x="3435" y="277"/>
                </a:cubicBezTo>
                <a:cubicBezTo>
                  <a:pt x="3359" y="277"/>
                  <a:pt x="3359" y="277"/>
                  <a:pt x="3359" y="277"/>
                </a:cubicBezTo>
                <a:cubicBezTo>
                  <a:pt x="3359" y="178"/>
                  <a:pt x="3359" y="178"/>
                  <a:pt x="3359" y="178"/>
                </a:cubicBezTo>
                <a:cubicBezTo>
                  <a:pt x="3222" y="88"/>
                  <a:pt x="3222" y="88"/>
                  <a:pt x="3222" y="88"/>
                </a:cubicBezTo>
                <a:cubicBezTo>
                  <a:pt x="3222" y="228"/>
                  <a:pt x="3222" y="228"/>
                  <a:pt x="3222" y="228"/>
                </a:cubicBezTo>
                <a:cubicBezTo>
                  <a:pt x="3194" y="228"/>
                  <a:pt x="3194" y="228"/>
                  <a:pt x="3194" y="228"/>
                </a:cubicBezTo>
                <a:cubicBezTo>
                  <a:pt x="3194" y="207"/>
                  <a:pt x="3194" y="207"/>
                  <a:pt x="3194" y="207"/>
                </a:cubicBezTo>
                <a:cubicBezTo>
                  <a:pt x="3157" y="207"/>
                  <a:pt x="3157" y="207"/>
                  <a:pt x="3157" y="207"/>
                </a:cubicBezTo>
                <a:cubicBezTo>
                  <a:pt x="3157" y="228"/>
                  <a:pt x="3157" y="228"/>
                  <a:pt x="3157" y="228"/>
                </a:cubicBezTo>
                <a:cubicBezTo>
                  <a:pt x="3134" y="228"/>
                  <a:pt x="3134" y="228"/>
                  <a:pt x="3134" y="228"/>
                </a:cubicBezTo>
                <a:cubicBezTo>
                  <a:pt x="3134" y="88"/>
                  <a:pt x="3134" y="88"/>
                  <a:pt x="3134" y="88"/>
                </a:cubicBezTo>
                <a:cubicBezTo>
                  <a:pt x="3037" y="88"/>
                  <a:pt x="3037" y="88"/>
                  <a:pt x="3037" y="88"/>
                </a:cubicBezTo>
                <a:cubicBezTo>
                  <a:pt x="3037" y="238"/>
                  <a:pt x="3037" y="238"/>
                  <a:pt x="3037" y="238"/>
                </a:cubicBezTo>
                <a:cubicBezTo>
                  <a:pt x="3003" y="238"/>
                  <a:pt x="3003" y="238"/>
                  <a:pt x="3003" y="238"/>
                </a:cubicBezTo>
                <a:cubicBezTo>
                  <a:pt x="3014" y="331"/>
                  <a:pt x="3014" y="331"/>
                  <a:pt x="3014" y="331"/>
                </a:cubicBezTo>
                <a:cubicBezTo>
                  <a:pt x="2945" y="331"/>
                  <a:pt x="2945" y="331"/>
                  <a:pt x="2945" y="331"/>
                </a:cubicBezTo>
                <a:cubicBezTo>
                  <a:pt x="2945" y="288"/>
                  <a:pt x="2945" y="288"/>
                  <a:pt x="2945" y="288"/>
                </a:cubicBezTo>
                <a:cubicBezTo>
                  <a:pt x="2956" y="288"/>
                  <a:pt x="2956" y="288"/>
                  <a:pt x="2956" y="288"/>
                </a:cubicBezTo>
                <a:cubicBezTo>
                  <a:pt x="2956" y="276"/>
                  <a:pt x="2956" y="276"/>
                  <a:pt x="2956" y="276"/>
                </a:cubicBezTo>
                <a:cubicBezTo>
                  <a:pt x="2808" y="276"/>
                  <a:pt x="2808" y="276"/>
                  <a:pt x="2808" y="276"/>
                </a:cubicBezTo>
                <a:cubicBezTo>
                  <a:pt x="2808" y="288"/>
                  <a:pt x="2808" y="288"/>
                  <a:pt x="2808" y="288"/>
                </a:cubicBezTo>
                <a:cubicBezTo>
                  <a:pt x="2819" y="288"/>
                  <a:pt x="2819" y="288"/>
                  <a:pt x="2819" y="288"/>
                </a:cubicBezTo>
                <a:cubicBezTo>
                  <a:pt x="2819" y="331"/>
                  <a:pt x="2819" y="331"/>
                  <a:pt x="2819" y="331"/>
                </a:cubicBezTo>
                <a:cubicBezTo>
                  <a:pt x="2773" y="331"/>
                  <a:pt x="2773" y="331"/>
                  <a:pt x="2773" y="331"/>
                </a:cubicBezTo>
                <a:cubicBezTo>
                  <a:pt x="2773" y="133"/>
                  <a:pt x="2773" y="133"/>
                  <a:pt x="2773" y="133"/>
                </a:cubicBezTo>
                <a:cubicBezTo>
                  <a:pt x="2657" y="197"/>
                  <a:pt x="2657" y="197"/>
                  <a:pt x="2657" y="197"/>
                </a:cubicBezTo>
                <a:cubicBezTo>
                  <a:pt x="2657" y="380"/>
                  <a:pt x="2657" y="380"/>
                  <a:pt x="2657" y="380"/>
                </a:cubicBezTo>
                <a:cubicBezTo>
                  <a:pt x="2631" y="380"/>
                  <a:pt x="2631" y="380"/>
                  <a:pt x="2631" y="380"/>
                </a:cubicBezTo>
                <a:cubicBezTo>
                  <a:pt x="2631" y="367"/>
                  <a:pt x="2621" y="357"/>
                  <a:pt x="2609" y="357"/>
                </a:cubicBezTo>
                <a:cubicBezTo>
                  <a:pt x="2596" y="357"/>
                  <a:pt x="2586" y="367"/>
                  <a:pt x="2586" y="380"/>
                </a:cubicBezTo>
                <a:cubicBezTo>
                  <a:pt x="2540" y="380"/>
                  <a:pt x="2540" y="380"/>
                  <a:pt x="2540" y="380"/>
                </a:cubicBezTo>
                <a:cubicBezTo>
                  <a:pt x="2540" y="88"/>
                  <a:pt x="2540" y="88"/>
                  <a:pt x="2540" y="88"/>
                </a:cubicBezTo>
                <a:cubicBezTo>
                  <a:pt x="2513" y="88"/>
                  <a:pt x="2513" y="88"/>
                  <a:pt x="2513" y="88"/>
                </a:cubicBezTo>
                <a:cubicBezTo>
                  <a:pt x="2513" y="66"/>
                  <a:pt x="2513" y="66"/>
                  <a:pt x="2513" y="66"/>
                </a:cubicBezTo>
                <a:cubicBezTo>
                  <a:pt x="2470" y="66"/>
                  <a:pt x="2470" y="66"/>
                  <a:pt x="2470" y="66"/>
                </a:cubicBezTo>
                <a:cubicBezTo>
                  <a:pt x="2470" y="88"/>
                  <a:pt x="2470" y="88"/>
                  <a:pt x="2470" y="88"/>
                </a:cubicBezTo>
                <a:cubicBezTo>
                  <a:pt x="2443" y="88"/>
                  <a:pt x="2443" y="88"/>
                  <a:pt x="2443" y="88"/>
                </a:cubicBezTo>
                <a:cubicBezTo>
                  <a:pt x="2443" y="206"/>
                  <a:pt x="2443" y="206"/>
                  <a:pt x="2443" y="206"/>
                </a:cubicBezTo>
                <a:cubicBezTo>
                  <a:pt x="2392" y="206"/>
                  <a:pt x="2392" y="206"/>
                  <a:pt x="2392" y="206"/>
                </a:cubicBezTo>
                <a:cubicBezTo>
                  <a:pt x="2392" y="115"/>
                  <a:pt x="2392" y="115"/>
                  <a:pt x="2392" y="115"/>
                </a:cubicBezTo>
                <a:cubicBezTo>
                  <a:pt x="2294" y="115"/>
                  <a:pt x="2294" y="115"/>
                  <a:pt x="2294" y="115"/>
                </a:cubicBezTo>
                <a:cubicBezTo>
                  <a:pt x="2294" y="384"/>
                  <a:pt x="2294" y="384"/>
                  <a:pt x="2294" y="384"/>
                </a:cubicBezTo>
                <a:cubicBezTo>
                  <a:pt x="2256" y="384"/>
                  <a:pt x="2256" y="384"/>
                  <a:pt x="2256" y="384"/>
                </a:cubicBezTo>
                <a:cubicBezTo>
                  <a:pt x="2256" y="132"/>
                  <a:pt x="2256" y="132"/>
                  <a:pt x="2256" y="132"/>
                </a:cubicBezTo>
                <a:cubicBezTo>
                  <a:pt x="2234" y="132"/>
                  <a:pt x="2234" y="132"/>
                  <a:pt x="2234" y="132"/>
                </a:cubicBezTo>
                <a:cubicBezTo>
                  <a:pt x="2234" y="63"/>
                  <a:pt x="2234" y="63"/>
                  <a:pt x="2234" y="63"/>
                </a:cubicBezTo>
                <a:cubicBezTo>
                  <a:pt x="2205" y="63"/>
                  <a:pt x="2205" y="63"/>
                  <a:pt x="2205" y="63"/>
                </a:cubicBezTo>
                <a:cubicBezTo>
                  <a:pt x="2205" y="33"/>
                  <a:pt x="2205" y="33"/>
                  <a:pt x="2205" y="33"/>
                </a:cubicBezTo>
                <a:cubicBezTo>
                  <a:pt x="2198" y="33"/>
                  <a:pt x="2198" y="33"/>
                  <a:pt x="2198" y="33"/>
                </a:cubicBezTo>
                <a:cubicBezTo>
                  <a:pt x="2198" y="63"/>
                  <a:pt x="2198" y="63"/>
                  <a:pt x="2198" y="63"/>
                </a:cubicBezTo>
                <a:cubicBezTo>
                  <a:pt x="2169" y="63"/>
                  <a:pt x="2169" y="63"/>
                  <a:pt x="2169" y="63"/>
                </a:cubicBezTo>
                <a:cubicBezTo>
                  <a:pt x="2169" y="132"/>
                  <a:pt x="2169" y="132"/>
                  <a:pt x="2169" y="132"/>
                </a:cubicBezTo>
                <a:cubicBezTo>
                  <a:pt x="2147" y="132"/>
                  <a:pt x="2147" y="132"/>
                  <a:pt x="2147" y="132"/>
                </a:cubicBezTo>
                <a:cubicBezTo>
                  <a:pt x="2147" y="309"/>
                  <a:pt x="2147" y="309"/>
                  <a:pt x="2147" y="309"/>
                </a:cubicBezTo>
                <a:cubicBezTo>
                  <a:pt x="2120" y="309"/>
                  <a:pt x="2120" y="309"/>
                  <a:pt x="2120" y="309"/>
                </a:cubicBezTo>
                <a:cubicBezTo>
                  <a:pt x="2128" y="405"/>
                  <a:pt x="2128" y="405"/>
                  <a:pt x="2128" y="405"/>
                </a:cubicBezTo>
                <a:cubicBezTo>
                  <a:pt x="2096" y="405"/>
                  <a:pt x="2096" y="405"/>
                  <a:pt x="2096" y="405"/>
                </a:cubicBezTo>
                <a:cubicBezTo>
                  <a:pt x="2096" y="112"/>
                  <a:pt x="2096" y="112"/>
                  <a:pt x="2096" y="112"/>
                </a:cubicBezTo>
                <a:cubicBezTo>
                  <a:pt x="2070" y="112"/>
                  <a:pt x="2070" y="112"/>
                  <a:pt x="2070" y="112"/>
                </a:cubicBezTo>
                <a:cubicBezTo>
                  <a:pt x="2070" y="82"/>
                  <a:pt x="2046" y="58"/>
                  <a:pt x="2017" y="56"/>
                </a:cubicBezTo>
                <a:cubicBezTo>
                  <a:pt x="2017" y="11"/>
                  <a:pt x="2017" y="11"/>
                  <a:pt x="2017" y="11"/>
                </a:cubicBezTo>
                <a:moveTo>
                  <a:pt x="4309" y="0"/>
                </a:moveTo>
                <a:cubicBezTo>
                  <a:pt x="4278" y="0"/>
                  <a:pt x="4254" y="25"/>
                  <a:pt x="4254" y="56"/>
                </a:cubicBezTo>
                <a:cubicBezTo>
                  <a:pt x="4228" y="56"/>
                  <a:pt x="4228" y="56"/>
                  <a:pt x="4228" y="56"/>
                </a:cubicBezTo>
                <a:cubicBezTo>
                  <a:pt x="4228" y="359"/>
                  <a:pt x="4228" y="359"/>
                  <a:pt x="4228" y="359"/>
                </a:cubicBezTo>
                <a:cubicBezTo>
                  <a:pt x="4285" y="370"/>
                  <a:pt x="4339" y="383"/>
                  <a:pt x="4390" y="397"/>
                </a:cubicBezTo>
                <a:cubicBezTo>
                  <a:pt x="4390" y="56"/>
                  <a:pt x="4390" y="56"/>
                  <a:pt x="4390" y="56"/>
                </a:cubicBezTo>
                <a:cubicBezTo>
                  <a:pt x="4364" y="56"/>
                  <a:pt x="4364" y="56"/>
                  <a:pt x="4364" y="56"/>
                </a:cubicBezTo>
                <a:cubicBezTo>
                  <a:pt x="4364" y="25"/>
                  <a:pt x="4340" y="0"/>
                  <a:pt x="4309" y="0"/>
                </a:cubicBezTo>
              </a:path>
            </a:pathLst>
          </a:custGeom>
          <a:solidFill>
            <a:srgbClr val="F2C811"/>
          </a:solidFill>
          <a:ln>
            <a:noFill/>
          </a:ln>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2" name="Freeform 11"/>
          <p:cNvSpPr>
            <a:spLocks/>
          </p:cNvSpPr>
          <p:nvPr/>
        </p:nvSpPr>
        <p:spPr bwMode="auto">
          <a:xfrm>
            <a:off x="7444036" y="6326764"/>
            <a:ext cx="7987104" cy="885601"/>
          </a:xfrm>
          <a:custGeom>
            <a:avLst/>
            <a:gdLst>
              <a:gd name="T0" fmla="*/ 2265 w 2265"/>
              <a:gd name="T1" fmla="*/ 221 h 221"/>
              <a:gd name="T2" fmla="*/ 1133 w 2265"/>
              <a:gd name="T3" fmla="*/ 0 h 221"/>
              <a:gd name="T4" fmla="*/ 0 w 2265"/>
              <a:gd name="T5" fmla="*/ 221 h 221"/>
              <a:gd name="T6" fmla="*/ 2265 w 2265"/>
              <a:gd name="T7" fmla="*/ 221 h 221"/>
            </a:gdLst>
            <a:ahLst/>
            <a:cxnLst>
              <a:cxn ang="0">
                <a:pos x="T0" y="T1"/>
              </a:cxn>
              <a:cxn ang="0">
                <a:pos x="T2" y="T3"/>
              </a:cxn>
              <a:cxn ang="0">
                <a:pos x="T4" y="T5"/>
              </a:cxn>
              <a:cxn ang="0">
                <a:pos x="T6" y="T7"/>
              </a:cxn>
            </a:cxnLst>
            <a:rect l="0" t="0" r="r" b="b"/>
            <a:pathLst>
              <a:path w="2265" h="221">
                <a:moveTo>
                  <a:pt x="2265" y="221"/>
                </a:moveTo>
                <a:cubicBezTo>
                  <a:pt x="2041" y="89"/>
                  <a:pt x="1618" y="0"/>
                  <a:pt x="1133" y="0"/>
                </a:cubicBezTo>
                <a:cubicBezTo>
                  <a:pt x="648" y="0"/>
                  <a:pt x="225" y="89"/>
                  <a:pt x="0" y="221"/>
                </a:cubicBezTo>
                <a:cubicBezTo>
                  <a:pt x="2265" y="221"/>
                  <a:pt x="2265" y="221"/>
                  <a:pt x="2265" y="221"/>
                </a:cubicBezTo>
              </a:path>
            </a:pathLst>
          </a:custGeom>
          <a:solidFill>
            <a:srgbClr val="F2C811"/>
          </a:solidFill>
          <a:ln>
            <a:noFill/>
          </a:ln>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 name="Title 1"/>
          <p:cNvSpPr>
            <a:spLocks noGrp="1"/>
          </p:cNvSpPr>
          <p:nvPr>
            <p:ph type="title"/>
          </p:nvPr>
        </p:nvSpPr>
        <p:spPr/>
        <p:txBody>
          <a:bodyPr/>
          <a:lstStyle/>
          <a:p>
            <a:r>
              <a:rPr lang="en-US" dirty="0">
                <a:solidFill>
                  <a:schemeClr val="tx1">
                    <a:lumMod val="50000"/>
                  </a:schemeClr>
                </a:solidFill>
              </a:rPr>
              <a:t>Customers demand the cloud</a:t>
            </a:r>
          </a:p>
        </p:txBody>
      </p:sp>
      <p:sp>
        <p:nvSpPr>
          <p:cNvPr id="3" name="TextBox 2"/>
          <p:cNvSpPr txBox="1"/>
          <p:nvPr/>
        </p:nvSpPr>
        <p:spPr>
          <a:xfrm>
            <a:off x="529163" y="5423387"/>
            <a:ext cx="4068237" cy="365176"/>
          </a:xfrm>
          <a:prstGeom prst="rect">
            <a:avLst/>
          </a:prstGeom>
          <a:noFill/>
        </p:spPr>
        <p:txBody>
          <a:bodyPr wrap="square" lIns="182854" tIns="146283" rIns="182854" bIns="146283" rtlCol="0" anchor="b" anchorCtr="0">
            <a:noAutofit/>
          </a:bodyPr>
          <a:lstStyle>
            <a:defPPr>
              <a:defRPr lang="en-US"/>
            </a:defPPr>
            <a:lvl1pPr>
              <a:lnSpc>
                <a:spcPct val="90000"/>
              </a:lnSpc>
              <a:spcAft>
                <a:spcPts val="400"/>
              </a:spcAft>
              <a:defRPr sz="800">
                <a:solidFill>
                  <a:schemeClr val="tx1">
                    <a:lumMod val="60000"/>
                    <a:lumOff val="40000"/>
                  </a:schemeClr>
                </a:solidFill>
              </a:defRPr>
            </a:lvl1pPr>
          </a:lstStyle>
          <a:p>
            <a:r>
              <a:rPr lang="en-US" dirty="0"/>
              <a:t>Source: </a:t>
            </a:r>
          </a:p>
          <a:p>
            <a:r>
              <a:rPr lang="en-US" dirty="0"/>
              <a:t>1: Morgan Stanley CIO Survey, 2013. “Percentage of Enterprise CIOs Greater than $1B/$10B expecting to use IaaS by YE2014”</a:t>
            </a:r>
          </a:p>
        </p:txBody>
      </p:sp>
      <p:grpSp>
        <p:nvGrpSpPr>
          <p:cNvPr id="4" name="Group 3"/>
          <p:cNvGrpSpPr/>
          <p:nvPr/>
        </p:nvGrpSpPr>
        <p:grpSpPr>
          <a:xfrm>
            <a:off x="3182937" y="2019499"/>
            <a:ext cx="5816600" cy="3877732"/>
            <a:chOff x="4648697" y="1787633"/>
            <a:chExt cx="4621564" cy="3081042"/>
          </a:xfrm>
        </p:grpSpPr>
        <p:graphicFrame>
          <p:nvGraphicFramePr>
            <p:cNvPr id="24" name="Chart 23"/>
            <p:cNvGraphicFramePr/>
            <p:nvPr>
              <p:extLst>
                <p:ext uri="{D42A27DB-BD31-4B8C-83A1-F6EECF244321}">
                  <p14:modId xmlns:p14="http://schemas.microsoft.com/office/powerpoint/2010/main" val="2780367367"/>
                </p:ext>
              </p:extLst>
            </p:nvPr>
          </p:nvGraphicFramePr>
          <p:xfrm>
            <a:off x="4648697" y="1787633"/>
            <a:ext cx="4621564" cy="3081042"/>
          </p:xfrm>
          <a:graphic>
            <a:graphicData uri="http://schemas.openxmlformats.org/drawingml/2006/chart">
              <c:chart xmlns:c="http://schemas.openxmlformats.org/drawingml/2006/chart" xmlns:r="http://schemas.openxmlformats.org/officeDocument/2006/relationships" r:id="rId3"/>
            </a:graphicData>
          </a:graphic>
        </p:graphicFrame>
        <p:sp>
          <p:nvSpPr>
            <p:cNvPr id="58" name="TextBox 57"/>
            <p:cNvSpPr txBox="1"/>
            <p:nvPr/>
          </p:nvSpPr>
          <p:spPr>
            <a:xfrm>
              <a:off x="7093944" y="2181433"/>
              <a:ext cx="354606" cy="249299"/>
            </a:xfrm>
            <a:prstGeom prst="rect">
              <a:avLst/>
            </a:prstGeom>
            <a:noFill/>
          </p:spPr>
          <p:txBody>
            <a:bodyPr wrap="square" lIns="0" tIns="0" rIns="0" bIns="0" rtlCol="0" anchor="ctr">
              <a:spAutoFit/>
            </a:bodyPr>
            <a:lstStyle/>
            <a:p>
              <a:pPr algn="ctr">
                <a:lnSpc>
                  <a:spcPct val="90000"/>
                </a:lnSpc>
                <a:spcAft>
                  <a:spcPts val="600"/>
                </a:spcAft>
              </a:pPr>
              <a:r>
                <a:rPr lang="en-US" sz="1800" dirty="0">
                  <a:solidFill>
                    <a:schemeClr val="bg1"/>
                  </a:solidFill>
                  <a:latin typeface="Segoe UI Light" panose="020B0502040204020203" pitchFamily="34" charset="0"/>
                  <a:ea typeface="Segoe UI" panose="020B0502040204020203" pitchFamily="34" charset="0"/>
                  <a:cs typeface="Segoe UI Light" panose="020B0502040204020203" pitchFamily="34" charset="0"/>
                </a:rPr>
                <a:t>4%</a:t>
              </a:r>
            </a:p>
          </p:txBody>
        </p:sp>
        <p:sp>
          <p:nvSpPr>
            <p:cNvPr id="59" name="TextBox 58"/>
            <p:cNvSpPr txBox="1"/>
            <p:nvPr/>
          </p:nvSpPr>
          <p:spPr>
            <a:xfrm>
              <a:off x="7726404" y="2527132"/>
              <a:ext cx="354606" cy="249299"/>
            </a:xfrm>
            <a:prstGeom prst="rect">
              <a:avLst/>
            </a:prstGeom>
            <a:noFill/>
          </p:spPr>
          <p:txBody>
            <a:bodyPr wrap="square" lIns="0" tIns="0" rIns="0" bIns="0" rtlCol="0" anchor="ctr">
              <a:spAutoFit/>
            </a:bodyPr>
            <a:lstStyle/>
            <a:p>
              <a:pPr algn="ctr">
                <a:lnSpc>
                  <a:spcPct val="90000"/>
                </a:lnSpc>
                <a:spcAft>
                  <a:spcPts val="600"/>
                </a:spcAft>
              </a:pPr>
              <a:r>
                <a:rPr lang="en-US" sz="1800" dirty="0">
                  <a:solidFill>
                    <a:schemeClr val="bg1"/>
                  </a:solidFill>
                  <a:latin typeface="Segoe UI Light" panose="020B0502040204020203" pitchFamily="34" charset="0"/>
                  <a:ea typeface="Segoe UI" panose="020B0502040204020203" pitchFamily="34" charset="0"/>
                  <a:cs typeface="Segoe UI Light" panose="020B0502040204020203" pitchFamily="34" charset="0"/>
                </a:rPr>
                <a:t>9%</a:t>
              </a:r>
            </a:p>
          </p:txBody>
        </p:sp>
        <p:sp>
          <p:nvSpPr>
            <p:cNvPr id="64" name="TextBox 63"/>
            <p:cNvSpPr txBox="1"/>
            <p:nvPr/>
          </p:nvSpPr>
          <p:spPr>
            <a:xfrm>
              <a:off x="8043904" y="3403432"/>
              <a:ext cx="354606" cy="249299"/>
            </a:xfrm>
            <a:prstGeom prst="rect">
              <a:avLst/>
            </a:prstGeom>
            <a:noFill/>
          </p:spPr>
          <p:txBody>
            <a:bodyPr wrap="square" lIns="0" tIns="0" rIns="0" bIns="0" rtlCol="0" anchor="ctr">
              <a:spAutoFit/>
            </a:bodyPr>
            <a:lstStyle/>
            <a:p>
              <a:pPr algn="ctr">
                <a:lnSpc>
                  <a:spcPct val="90000"/>
                </a:lnSpc>
                <a:spcAft>
                  <a:spcPts val="600"/>
                </a:spcAft>
              </a:pPr>
              <a:r>
                <a:rPr lang="en-US" sz="1800" dirty="0">
                  <a:solidFill>
                    <a:schemeClr val="bg1"/>
                  </a:solidFill>
                  <a:latin typeface="Segoe UI Light" panose="020B0502040204020203" pitchFamily="34" charset="0"/>
                  <a:ea typeface="Segoe UI" panose="020B0502040204020203" pitchFamily="34" charset="0"/>
                  <a:cs typeface="Segoe UI Light" panose="020B0502040204020203" pitchFamily="34" charset="0"/>
                </a:rPr>
                <a:t>9%</a:t>
              </a:r>
            </a:p>
          </p:txBody>
        </p:sp>
        <p:sp>
          <p:nvSpPr>
            <p:cNvPr id="65" name="TextBox 64"/>
            <p:cNvSpPr txBox="1"/>
            <p:nvPr/>
          </p:nvSpPr>
          <p:spPr>
            <a:xfrm>
              <a:off x="7348993" y="4284255"/>
              <a:ext cx="554714" cy="249299"/>
            </a:xfrm>
            <a:prstGeom prst="rect">
              <a:avLst/>
            </a:prstGeom>
            <a:noFill/>
          </p:spPr>
          <p:txBody>
            <a:bodyPr wrap="square" lIns="0" tIns="0" rIns="0" bIns="0" rtlCol="0" anchor="ctr">
              <a:spAutoFit/>
            </a:bodyPr>
            <a:lstStyle/>
            <a:p>
              <a:pPr algn="ctr">
                <a:lnSpc>
                  <a:spcPct val="90000"/>
                </a:lnSpc>
                <a:spcAft>
                  <a:spcPts val="600"/>
                </a:spcAft>
              </a:pPr>
              <a:r>
                <a:rPr lang="en-US" sz="1800" dirty="0">
                  <a:solidFill>
                    <a:schemeClr val="bg1"/>
                  </a:solidFill>
                  <a:latin typeface="Segoe UI Light" panose="020B0502040204020203" pitchFamily="34" charset="0"/>
                  <a:ea typeface="Segoe UI" panose="020B0502040204020203" pitchFamily="34" charset="0"/>
                  <a:cs typeface="Segoe UI Light" panose="020B0502040204020203" pitchFamily="34" charset="0"/>
                </a:rPr>
                <a:t>12%</a:t>
              </a:r>
            </a:p>
          </p:txBody>
        </p:sp>
        <p:sp>
          <p:nvSpPr>
            <p:cNvPr id="66" name="TextBox 65"/>
            <p:cNvSpPr txBox="1"/>
            <p:nvPr/>
          </p:nvSpPr>
          <p:spPr>
            <a:xfrm>
              <a:off x="6104393" y="4195355"/>
              <a:ext cx="554714" cy="249299"/>
            </a:xfrm>
            <a:prstGeom prst="rect">
              <a:avLst/>
            </a:prstGeom>
            <a:noFill/>
          </p:spPr>
          <p:txBody>
            <a:bodyPr wrap="square" lIns="0" tIns="0" rIns="0" bIns="0" rtlCol="0" anchor="ctr">
              <a:spAutoFit/>
            </a:bodyPr>
            <a:lstStyle/>
            <a:p>
              <a:pPr algn="ctr">
                <a:lnSpc>
                  <a:spcPct val="90000"/>
                </a:lnSpc>
                <a:spcAft>
                  <a:spcPts val="600"/>
                </a:spcAft>
              </a:pPr>
              <a:r>
                <a:rPr lang="en-US" sz="1800" dirty="0">
                  <a:solidFill>
                    <a:schemeClr val="bg1"/>
                  </a:solidFill>
                  <a:latin typeface="Segoe UI Light" panose="020B0502040204020203" pitchFamily="34" charset="0"/>
                  <a:ea typeface="Segoe UI" panose="020B0502040204020203" pitchFamily="34" charset="0"/>
                  <a:cs typeface="Segoe UI Light" panose="020B0502040204020203" pitchFamily="34" charset="0"/>
                </a:rPr>
                <a:t>13%</a:t>
              </a:r>
            </a:p>
          </p:txBody>
        </p:sp>
        <p:sp>
          <p:nvSpPr>
            <p:cNvPr id="67" name="TextBox 66"/>
            <p:cNvSpPr txBox="1"/>
            <p:nvPr/>
          </p:nvSpPr>
          <p:spPr>
            <a:xfrm>
              <a:off x="5850393" y="2684264"/>
              <a:ext cx="554714" cy="198080"/>
            </a:xfrm>
            <a:prstGeom prst="rect">
              <a:avLst/>
            </a:prstGeom>
            <a:noFill/>
          </p:spPr>
          <p:txBody>
            <a:bodyPr wrap="square" lIns="0" tIns="0" rIns="0" bIns="0" rtlCol="0" anchor="ctr">
              <a:spAutoFit/>
            </a:bodyPr>
            <a:lstStyle/>
            <a:p>
              <a:pPr algn="ctr">
                <a:lnSpc>
                  <a:spcPct val="90000"/>
                </a:lnSpc>
                <a:spcAft>
                  <a:spcPts val="600"/>
                </a:spcAft>
              </a:pPr>
              <a:r>
                <a:rPr lang="en-US" sz="1800" dirty="0">
                  <a:solidFill>
                    <a:schemeClr val="tx1">
                      <a:lumMod val="50000"/>
                    </a:schemeClr>
                  </a:solidFill>
                  <a:latin typeface="Segoe UI Light" panose="020B0502040204020203" pitchFamily="34" charset="0"/>
                  <a:ea typeface="Segoe UI" panose="020B0502040204020203" pitchFamily="34" charset="0"/>
                  <a:cs typeface="Segoe UI Light" panose="020B0502040204020203" pitchFamily="34" charset="0"/>
                </a:rPr>
                <a:t>20%</a:t>
              </a:r>
            </a:p>
          </p:txBody>
        </p:sp>
        <p:pic>
          <p:nvPicPr>
            <p:cNvPr id="68" name="Picture 67"/>
            <p:cNvPicPr>
              <a:picLocks noChangeAspect="1"/>
            </p:cNvPicPr>
            <p:nvPr/>
          </p:nvPicPr>
          <p:blipFill>
            <a:blip r:embed="rId4">
              <a:duotone>
                <a:schemeClr val="bg2">
                  <a:shade val="45000"/>
                  <a:satMod val="135000"/>
                </a:schemeClr>
                <a:prstClr val="white"/>
              </a:duotone>
            </a:blip>
            <a:stretch>
              <a:fillRect/>
            </a:stretch>
          </p:blipFill>
          <p:spPr>
            <a:xfrm>
              <a:off x="6632919" y="3144703"/>
              <a:ext cx="922050" cy="505000"/>
            </a:xfrm>
            <a:prstGeom prst="rect">
              <a:avLst/>
            </a:prstGeom>
          </p:spPr>
        </p:pic>
      </p:grpSp>
      <p:sp>
        <p:nvSpPr>
          <p:cNvPr id="69" name="TextBox 68"/>
          <p:cNvSpPr txBox="1"/>
          <p:nvPr/>
        </p:nvSpPr>
        <p:spPr>
          <a:xfrm>
            <a:off x="186775" y="2360727"/>
            <a:ext cx="3378750" cy="738621"/>
          </a:xfrm>
          <a:prstGeom prst="rect">
            <a:avLst/>
          </a:prstGeom>
          <a:noFill/>
        </p:spPr>
        <p:txBody>
          <a:bodyPr wrap="square" lIns="182854" tIns="146283" rIns="182854" bIns="146283" rtlCol="0">
            <a:spAutoFit/>
          </a:bodyPr>
          <a:lstStyle/>
          <a:p>
            <a:pPr algn="r">
              <a:lnSpc>
                <a:spcPct val="90000"/>
              </a:lnSpc>
              <a:spcAft>
                <a:spcPts val="600"/>
              </a:spcAft>
            </a:pPr>
            <a:r>
              <a:rPr lang="en-US" sz="3200" dirty="0">
                <a:solidFill>
                  <a:schemeClr val="tx1">
                    <a:lumMod val="50000"/>
                  </a:schemeClr>
                </a:solidFill>
                <a:latin typeface="Segoe UI Light" panose="020B0502040204020203" pitchFamily="34" charset="0"/>
                <a:ea typeface="Segoe UI" panose="020B0502040204020203" pitchFamily="34" charset="0"/>
                <a:cs typeface="Segoe UI Light" panose="020B0502040204020203" pitchFamily="34" charset="0"/>
              </a:rPr>
              <a:t>Microsoft Azure</a:t>
            </a:r>
          </a:p>
        </p:txBody>
      </p:sp>
      <p:grpSp>
        <p:nvGrpSpPr>
          <p:cNvPr id="74" name="Group 73"/>
          <p:cNvGrpSpPr/>
          <p:nvPr/>
        </p:nvGrpSpPr>
        <p:grpSpPr>
          <a:xfrm>
            <a:off x="682585" y="3075957"/>
            <a:ext cx="3827277" cy="388975"/>
            <a:chOff x="682585" y="2301257"/>
            <a:chExt cx="3827277" cy="388975"/>
          </a:xfrm>
        </p:grpSpPr>
        <p:cxnSp>
          <p:nvCxnSpPr>
            <p:cNvPr id="9" name="Straight Connector 8"/>
            <p:cNvCxnSpPr/>
            <p:nvPr/>
          </p:nvCxnSpPr>
          <p:spPr>
            <a:xfrm>
              <a:off x="682585" y="2301257"/>
              <a:ext cx="2817957" cy="0"/>
            </a:xfrm>
            <a:prstGeom prst="line">
              <a:avLst/>
            </a:prstGeom>
            <a:ln w="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3500542" y="2304995"/>
              <a:ext cx="1009320" cy="385237"/>
            </a:xfrm>
            <a:prstGeom prst="line">
              <a:avLst/>
            </a:prstGeom>
            <a:ln w="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 name="Group 4"/>
          <p:cNvGrpSpPr/>
          <p:nvPr/>
        </p:nvGrpSpPr>
        <p:grpSpPr>
          <a:xfrm>
            <a:off x="682585" y="4516985"/>
            <a:ext cx="3914815" cy="416087"/>
            <a:chOff x="682585" y="4516985"/>
            <a:chExt cx="3914815" cy="416087"/>
          </a:xfrm>
        </p:grpSpPr>
        <p:cxnSp>
          <p:nvCxnSpPr>
            <p:cNvPr id="71" name="Straight Connector 70"/>
            <p:cNvCxnSpPr/>
            <p:nvPr/>
          </p:nvCxnSpPr>
          <p:spPr>
            <a:xfrm>
              <a:off x="682585" y="4523757"/>
              <a:ext cx="2817957" cy="0"/>
            </a:xfrm>
            <a:prstGeom prst="line">
              <a:avLst/>
            </a:prstGeom>
            <a:ln w="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3500542" y="4516985"/>
              <a:ext cx="1096858" cy="416087"/>
            </a:xfrm>
            <a:prstGeom prst="line">
              <a:avLst/>
            </a:prstGeom>
            <a:ln w="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73" name="TextBox 72"/>
          <p:cNvSpPr txBox="1"/>
          <p:nvPr/>
        </p:nvSpPr>
        <p:spPr>
          <a:xfrm>
            <a:off x="186775" y="3794905"/>
            <a:ext cx="3378750" cy="738621"/>
          </a:xfrm>
          <a:prstGeom prst="rect">
            <a:avLst/>
          </a:prstGeom>
          <a:noFill/>
        </p:spPr>
        <p:txBody>
          <a:bodyPr wrap="square" lIns="182854" tIns="146283" rIns="182854" bIns="146283" rtlCol="0">
            <a:spAutoFit/>
          </a:bodyPr>
          <a:lstStyle/>
          <a:p>
            <a:pPr algn="r">
              <a:lnSpc>
                <a:spcPct val="90000"/>
              </a:lnSpc>
              <a:spcAft>
                <a:spcPts val="600"/>
              </a:spcAft>
            </a:pPr>
            <a:r>
              <a:rPr lang="en-US" sz="3200" dirty="0">
                <a:solidFill>
                  <a:schemeClr val="tx1">
                    <a:lumMod val="50000"/>
                  </a:schemeClr>
                </a:solidFill>
                <a:latin typeface="Segoe UI Light" panose="020B0502040204020203" pitchFamily="34" charset="0"/>
                <a:ea typeface="Segoe UI" panose="020B0502040204020203" pitchFamily="34" charset="0"/>
                <a:cs typeface="Segoe UI Light" panose="020B0502040204020203" pitchFamily="34" charset="0"/>
              </a:rPr>
              <a:t>VMware</a:t>
            </a:r>
          </a:p>
        </p:txBody>
      </p:sp>
      <p:grpSp>
        <p:nvGrpSpPr>
          <p:cNvPr id="90" name="Group 89"/>
          <p:cNvGrpSpPr/>
          <p:nvPr/>
        </p:nvGrpSpPr>
        <p:grpSpPr>
          <a:xfrm flipH="1">
            <a:off x="7838032" y="2853794"/>
            <a:ext cx="3857670" cy="305868"/>
            <a:chOff x="682585" y="2294485"/>
            <a:chExt cx="3857670" cy="305868"/>
          </a:xfrm>
        </p:grpSpPr>
        <p:cxnSp>
          <p:nvCxnSpPr>
            <p:cNvPr id="91" name="Straight Connector 90"/>
            <p:cNvCxnSpPr/>
            <p:nvPr/>
          </p:nvCxnSpPr>
          <p:spPr>
            <a:xfrm>
              <a:off x="682585" y="2301257"/>
              <a:ext cx="2817957" cy="0"/>
            </a:xfrm>
            <a:prstGeom prst="line">
              <a:avLst/>
            </a:prstGeom>
            <a:ln w="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3500540" y="2294485"/>
              <a:ext cx="1039715" cy="305868"/>
            </a:xfrm>
            <a:prstGeom prst="line">
              <a:avLst/>
            </a:prstGeom>
            <a:ln w="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93" name="Group 92"/>
          <p:cNvGrpSpPr/>
          <p:nvPr/>
        </p:nvGrpSpPr>
        <p:grpSpPr>
          <a:xfrm flipH="1">
            <a:off x="8014998" y="4117866"/>
            <a:ext cx="3680704" cy="218087"/>
            <a:chOff x="682585" y="2301257"/>
            <a:chExt cx="3680704" cy="218087"/>
          </a:xfrm>
        </p:grpSpPr>
        <p:cxnSp>
          <p:nvCxnSpPr>
            <p:cNvPr id="94" name="Straight Connector 93"/>
            <p:cNvCxnSpPr/>
            <p:nvPr/>
          </p:nvCxnSpPr>
          <p:spPr>
            <a:xfrm>
              <a:off x="682585" y="2301257"/>
              <a:ext cx="2817957" cy="0"/>
            </a:xfrm>
            <a:prstGeom prst="line">
              <a:avLst/>
            </a:prstGeom>
            <a:ln w="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3500541" y="2304995"/>
              <a:ext cx="862748" cy="214349"/>
            </a:xfrm>
            <a:prstGeom prst="line">
              <a:avLst/>
            </a:prstGeom>
            <a:ln w="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97" name="Straight Connector 96"/>
          <p:cNvCxnSpPr/>
          <p:nvPr/>
        </p:nvCxnSpPr>
        <p:spPr>
          <a:xfrm flipH="1">
            <a:off x="8835354" y="5235466"/>
            <a:ext cx="2817957" cy="0"/>
          </a:xfrm>
          <a:prstGeom prst="line">
            <a:avLst/>
          </a:prstGeom>
          <a:ln w="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H="1">
            <a:off x="7334250" y="5239204"/>
            <a:ext cx="1501105" cy="236251"/>
          </a:xfrm>
          <a:prstGeom prst="line">
            <a:avLst/>
          </a:prstGeom>
          <a:ln w="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9" name="TextBox 98"/>
          <p:cNvSpPr txBox="1"/>
          <p:nvPr/>
        </p:nvSpPr>
        <p:spPr>
          <a:xfrm>
            <a:off x="8834920" y="1255827"/>
            <a:ext cx="3378750" cy="738621"/>
          </a:xfrm>
          <a:prstGeom prst="rect">
            <a:avLst/>
          </a:prstGeom>
          <a:noFill/>
        </p:spPr>
        <p:txBody>
          <a:bodyPr wrap="square" lIns="0" tIns="146283" rIns="182854" bIns="146283" rtlCol="0">
            <a:spAutoFit/>
          </a:bodyPr>
          <a:lstStyle/>
          <a:p>
            <a:pPr>
              <a:lnSpc>
                <a:spcPct val="90000"/>
              </a:lnSpc>
              <a:spcAft>
                <a:spcPts val="600"/>
              </a:spcAft>
            </a:pPr>
            <a:r>
              <a:rPr lang="en-US" sz="3200" dirty="0">
                <a:solidFill>
                  <a:schemeClr val="tx1">
                    <a:lumMod val="50000"/>
                  </a:schemeClr>
                </a:solidFill>
                <a:latin typeface="Segoe UI Light" panose="020B0502040204020203" pitchFamily="34" charset="0"/>
                <a:ea typeface="Segoe UI" panose="020B0502040204020203" pitchFamily="34" charset="0"/>
                <a:cs typeface="Segoe UI Light" panose="020B0502040204020203" pitchFamily="34" charset="0"/>
              </a:rPr>
              <a:t>OpenStack</a:t>
            </a:r>
          </a:p>
        </p:txBody>
      </p:sp>
      <p:sp>
        <p:nvSpPr>
          <p:cNvPr id="100" name="TextBox 99"/>
          <p:cNvSpPr txBox="1"/>
          <p:nvPr/>
        </p:nvSpPr>
        <p:spPr>
          <a:xfrm>
            <a:off x="8834920" y="2132127"/>
            <a:ext cx="3378750" cy="738621"/>
          </a:xfrm>
          <a:prstGeom prst="rect">
            <a:avLst/>
          </a:prstGeom>
          <a:noFill/>
        </p:spPr>
        <p:txBody>
          <a:bodyPr wrap="square" lIns="0" tIns="146283" rIns="182854" bIns="146283" rtlCol="0">
            <a:spAutoFit/>
          </a:bodyPr>
          <a:lstStyle/>
          <a:p>
            <a:pPr>
              <a:lnSpc>
                <a:spcPct val="90000"/>
              </a:lnSpc>
              <a:spcAft>
                <a:spcPts val="600"/>
              </a:spcAft>
            </a:pPr>
            <a:r>
              <a:rPr lang="en-US" sz="3200" dirty="0">
                <a:solidFill>
                  <a:schemeClr val="tx1">
                    <a:lumMod val="50000"/>
                  </a:schemeClr>
                </a:solidFill>
                <a:latin typeface="Segoe UI Light" panose="020B0502040204020203" pitchFamily="34" charset="0"/>
                <a:ea typeface="Segoe UI" panose="020B0502040204020203" pitchFamily="34" charset="0"/>
                <a:cs typeface="Segoe UI Light" panose="020B0502040204020203" pitchFamily="34" charset="0"/>
              </a:rPr>
              <a:t>Rackspace</a:t>
            </a:r>
          </a:p>
        </p:txBody>
      </p:sp>
      <p:sp>
        <p:nvSpPr>
          <p:cNvPr id="101" name="TextBox 100"/>
          <p:cNvSpPr txBox="1"/>
          <p:nvPr/>
        </p:nvSpPr>
        <p:spPr>
          <a:xfrm>
            <a:off x="8834920" y="3389427"/>
            <a:ext cx="3378750" cy="738621"/>
          </a:xfrm>
          <a:prstGeom prst="rect">
            <a:avLst/>
          </a:prstGeom>
          <a:noFill/>
        </p:spPr>
        <p:txBody>
          <a:bodyPr wrap="square" lIns="0" tIns="146283" rIns="182854" bIns="146283" rtlCol="0">
            <a:spAutoFit/>
          </a:bodyPr>
          <a:lstStyle/>
          <a:p>
            <a:pPr>
              <a:lnSpc>
                <a:spcPct val="90000"/>
              </a:lnSpc>
              <a:spcAft>
                <a:spcPts val="600"/>
              </a:spcAft>
            </a:pPr>
            <a:r>
              <a:rPr lang="en-US" sz="3200" dirty="0" err="1">
                <a:solidFill>
                  <a:schemeClr val="tx1">
                    <a:lumMod val="50000"/>
                  </a:schemeClr>
                </a:solidFill>
                <a:latin typeface="Segoe UI Light" panose="020B0502040204020203" pitchFamily="34" charset="0"/>
                <a:ea typeface="Segoe UI" panose="020B0502040204020203" pitchFamily="34" charset="0"/>
                <a:cs typeface="Segoe UI Light" panose="020B0502040204020203" pitchFamily="34" charset="0"/>
              </a:rPr>
              <a:t>CloudStack</a:t>
            </a:r>
            <a:endParaRPr lang="en-US" sz="3200" dirty="0">
              <a:solidFill>
                <a:schemeClr val="tx1">
                  <a:lumMod val="50000"/>
                </a:schemeClr>
              </a:solidFill>
              <a:latin typeface="Segoe UI Light" panose="020B0502040204020203" pitchFamily="34" charset="0"/>
              <a:ea typeface="Segoe UI" panose="020B0502040204020203" pitchFamily="34" charset="0"/>
              <a:cs typeface="Segoe UI Light" panose="020B0502040204020203" pitchFamily="34" charset="0"/>
            </a:endParaRPr>
          </a:p>
        </p:txBody>
      </p:sp>
      <p:sp>
        <p:nvSpPr>
          <p:cNvPr id="102" name="TextBox 101"/>
          <p:cNvSpPr txBox="1"/>
          <p:nvPr/>
        </p:nvSpPr>
        <p:spPr>
          <a:xfrm>
            <a:off x="8834920" y="4563762"/>
            <a:ext cx="3378750" cy="738621"/>
          </a:xfrm>
          <a:prstGeom prst="rect">
            <a:avLst/>
          </a:prstGeom>
          <a:noFill/>
        </p:spPr>
        <p:txBody>
          <a:bodyPr wrap="square" lIns="0" tIns="146283" rIns="182854" bIns="146283" rtlCol="0">
            <a:spAutoFit/>
          </a:bodyPr>
          <a:lstStyle/>
          <a:p>
            <a:pPr>
              <a:lnSpc>
                <a:spcPct val="90000"/>
              </a:lnSpc>
              <a:spcAft>
                <a:spcPts val="600"/>
              </a:spcAft>
            </a:pPr>
            <a:r>
              <a:rPr lang="en-US" sz="3200" dirty="0">
                <a:solidFill>
                  <a:schemeClr val="tx1">
                    <a:lumMod val="50000"/>
                  </a:schemeClr>
                </a:solidFill>
                <a:latin typeface="Segoe UI Light" panose="020B0502040204020203" pitchFamily="34" charset="0"/>
                <a:ea typeface="Segoe UI" panose="020B0502040204020203" pitchFamily="34" charset="0"/>
                <a:cs typeface="Segoe UI Light" panose="020B0502040204020203" pitchFamily="34" charset="0"/>
              </a:rPr>
              <a:t>AWS</a:t>
            </a:r>
          </a:p>
        </p:txBody>
      </p:sp>
      <p:cxnSp>
        <p:nvCxnSpPr>
          <p:cNvPr id="109" name="Straight Connector 108"/>
          <p:cNvCxnSpPr/>
          <p:nvPr/>
        </p:nvCxnSpPr>
        <p:spPr>
          <a:xfrm flipH="1">
            <a:off x="8835354" y="1901716"/>
            <a:ext cx="2817957" cy="0"/>
          </a:xfrm>
          <a:prstGeom prst="line">
            <a:avLst/>
          </a:prstGeom>
          <a:ln w="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flipH="1">
            <a:off x="6840708" y="1905454"/>
            <a:ext cx="1994649" cy="455273"/>
          </a:xfrm>
          <a:prstGeom prst="line">
            <a:avLst/>
          </a:prstGeom>
          <a:ln w="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4" name="Rectangle 113"/>
          <p:cNvSpPr/>
          <p:nvPr/>
        </p:nvSpPr>
        <p:spPr>
          <a:xfrm>
            <a:off x="336109" y="1067860"/>
            <a:ext cx="7762445" cy="954107"/>
          </a:xfrm>
          <a:prstGeom prst="rect">
            <a:avLst/>
          </a:prstGeom>
          <a:noFill/>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0846" fontAlgn="base">
              <a:spcBef>
                <a:spcPct val="0"/>
              </a:spcBef>
              <a:spcAft>
                <a:spcPct val="0"/>
              </a:spcAft>
            </a:pPr>
            <a:r>
              <a:rPr lang="en-US" sz="2800" dirty="0">
                <a:solidFill>
                  <a:schemeClr val="tx1">
                    <a:lumMod val="50000"/>
                  </a:schemeClr>
                </a:solidFill>
                <a:latin typeface="Segoe UI Light"/>
              </a:rPr>
              <a:t>CIO cloud vendor preferences</a:t>
            </a:r>
            <a:r>
              <a:rPr lang="en-US" sz="2800" baseline="30000" dirty="0">
                <a:solidFill>
                  <a:schemeClr val="tx1">
                    <a:lumMod val="50000"/>
                  </a:schemeClr>
                </a:solidFill>
                <a:latin typeface="Segoe UI Light"/>
              </a:rPr>
              <a:t>1 </a:t>
            </a:r>
            <a:r>
              <a:rPr lang="en-US" sz="2800" dirty="0">
                <a:solidFill>
                  <a:schemeClr val="tx1">
                    <a:lumMod val="50000"/>
                  </a:schemeClr>
                </a:solidFill>
                <a:latin typeface="Segoe UI Light"/>
              </a:rPr>
              <a:t>Mid/Large enterprise CIOs expecting to use IaaS</a:t>
            </a:r>
          </a:p>
        </p:txBody>
      </p:sp>
      <p:grpSp>
        <p:nvGrpSpPr>
          <p:cNvPr id="38" name="Group 37"/>
          <p:cNvGrpSpPr/>
          <p:nvPr/>
        </p:nvGrpSpPr>
        <p:grpSpPr>
          <a:xfrm>
            <a:off x="-2745303" y="342394"/>
            <a:ext cx="1917176" cy="4758548"/>
            <a:chOff x="2009897" y="1465235"/>
            <a:chExt cx="1917176" cy="4758548"/>
          </a:xfrm>
        </p:grpSpPr>
        <p:sp>
          <p:nvSpPr>
            <p:cNvPr id="39" name="Rectangle 38"/>
            <p:cNvSpPr/>
            <p:nvPr/>
          </p:nvSpPr>
          <p:spPr bwMode="auto">
            <a:xfrm>
              <a:off x="2009898" y="1465235"/>
              <a:ext cx="1917173" cy="112571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19" tIns="146255" rIns="182819" bIns="146255"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869966"/>
              <a:endParaRPr lang="en-US" sz="3000" dirty="0">
                <a:solidFill>
                  <a:srgbClr val="FFFFFF"/>
                </a:solidFill>
              </a:endParaRPr>
            </a:p>
          </p:txBody>
        </p:sp>
        <p:sp>
          <p:nvSpPr>
            <p:cNvPr id="40" name="Rectangle 39"/>
            <p:cNvSpPr/>
            <p:nvPr/>
          </p:nvSpPr>
          <p:spPr bwMode="auto">
            <a:xfrm>
              <a:off x="2009899" y="2592384"/>
              <a:ext cx="1917173" cy="71494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19" tIns="146255" rIns="182819" bIns="146255"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869966"/>
              <a:endParaRPr lang="en-US" sz="3000" dirty="0">
                <a:solidFill>
                  <a:srgbClr val="FFFFFF"/>
                </a:solidFill>
              </a:endParaRPr>
            </a:p>
          </p:txBody>
        </p:sp>
        <p:sp>
          <p:nvSpPr>
            <p:cNvPr id="41" name="Rectangle 40"/>
            <p:cNvSpPr/>
            <p:nvPr/>
          </p:nvSpPr>
          <p:spPr bwMode="auto">
            <a:xfrm>
              <a:off x="2009900" y="3307326"/>
              <a:ext cx="1917173" cy="1335265"/>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19" tIns="146255" rIns="182819" bIns="146255"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869966"/>
              <a:endParaRPr lang="en-US" sz="3000" dirty="0">
                <a:solidFill>
                  <a:srgbClr val="FFFFFF"/>
                </a:solidFill>
              </a:endParaRPr>
            </a:p>
          </p:txBody>
        </p:sp>
        <p:sp>
          <p:nvSpPr>
            <p:cNvPr id="42" name="Rectangle 41"/>
            <p:cNvSpPr/>
            <p:nvPr/>
          </p:nvSpPr>
          <p:spPr bwMode="auto">
            <a:xfrm>
              <a:off x="2009900" y="4642592"/>
              <a:ext cx="1917173" cy="1000861"/>
            </a:xfrm>
            <a:prstGeom prst="rect">
              <a:avLst/>
            </a:pr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19" tIns="146255" rIns="182819" bIns="146255"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869966"/>
              <a:endParaRPr lang="en-US" sz="3000" dirty="0">
                <a:solidFill>
                  <a:srgbClr val="FFFFFF"/>
                </a:solidFill>
              </a:endParaRPr>
            </a:p>
          </p:txBody>
        </p:sp>
        <p:sp>
          <p:nvSpPr>
            <p:cNvPr id="43" name="Rectangle 42"/>
            <p:cNvSpPr/>
            <p:nvPr/>
          </p:nvSpPr>
          <p:spPr bwMode="auto">
            <a:xfrm>
              <a:off x="2009897" y="5643453"/>
              <a:ext cx="1917173" cy="580330"/>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19" tIns="146255" rIns="182819" bIns="146255"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869966"/>
              <a:endParaRPr lang="en-US" sz="1000" dirty="0">
                <a:solidFill>
                  <a:srgbClr val="FFFFFF"/>
                </a:solidFill>
              </a:endParaRPr>
            </a:p>
          </p:txBody>
        </p:sp>
      </p:grpSp>
    </p:spTree>
    <p:extLst>
      <p:ext uri="{BB962C8B-B14F-4D97-AF65-F5344CB8AC3E}">
        <p14:creationId xmlns:p14="http://schemas.microsoft.com/office/powerpoint/2010/main" val="37117753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bwMode="auto">
          <a:xfrm>
            <a:off x="-1" y="1830837"/>
            <a:ext cx="12436475" cy="413156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w="0"/>
              <a:solidFill>
                <a:srgbClr val="000000"/>
              </a:solidFill>
              <a:effectLst>
                <a:outerShdw blurRad="38100" dist="19050" dir="2700000" algn="tl" rotWithShape="0">
                  <a:srgbClr val="000000">
                    <a:alpha val="40000"/>
                  </a:srgbClr>
                </a:outerShdw>
              </a:effectLst>
              <a:uLnTx/>
              <a:uFillTx/>
              <a:latin typeface="Segoe UI Light"/>
              <a:ea typeface="Segoe UI" pitchFamily="34" charset="0"/>
              <a:cs typeface="Segoe UI" pitchFamily="34" charset="0"/>
            </a:endParaRPr>
          </a:p>
        </p:txBody>
      </p:sp>
      <p:sp>
        <p:nvSpPr>
          <p:cNvPr id="3" name="Title 1"/>
          <p:cNvSpPr>
            <a:spLocks noGrp="1"/>
          </p:cNvSpPr>
          <p:nvPr>
            <p:ph type="title"/>
          </p:nvPr>
        </p:nvSpPr>
        <p:spPr>
          <a:xfrm>
            <a:off x="249238" y="109841"/>
            <a:ext cx="13493738" cy="1415671"/>
          </a:xfrm>
        </p:spPr>
        <p:txBody>
          <a:bodyPr vert="horz" wrap="square" lIns="149217" tIns="93260" rIns="149217" bIns="93260" rtlCol="0" anchor="t">
            <a:noAutofit/>
          </a:bodyPr>
          <a:lstStyle/>
          <a:p>
            <a:pPr defTabSz="932384"/>
            <a:r>
              <a:rPr lang="en-US" sz="5400" spc="-104" dirty="0">
                <a:ln w="3175">
                  <a:noFill/>
                </a:ln>
                <a:solidFill>
                  <a:schemeClr val="bg2">
                    <a:lumMod val="10000"/>
                  </a:schemeClr>
                </a:solidFill>
                <a:latin typeface="Segoe UI Light" panose="020B0502040204020203" pitchFamily="34" charset="0"/>
                <a:ea typeface="+mn-ea"/>
                <a:cs typeface="Segoe UI Light" panose="020B0502040204020203" pitchFamily="34" charset="0"/>
              </a:rPr>
              <a:t>Power BI : enables customers </a:t>
            </a:r>
            <a:br>
              <a:rPr lang="en-US" sz="5400" spc="-104" dirty="0">
                <a:ln w="3175">
                  <a:noFill/>
                </a:ln>
                <a:solidFill>
                  <a:schemeClr val="bg2">
                    <a:lumMod val="10000"/>
                  </a:schemeClr>
                </a:solidFill>
                <a:latin typeface="Segoe UI Light" panose="020B0502040204020203" pitchFamily="34" charset="0"/>
                <a:ea typeface="+mn-ea"/>
                <a:cs typeface="Segoe UI Light" panose="020B0502040204020203" pitchFamily="34" charset="0"/>
              </a:rPr>
            </a:br>
            <a:r>
              <a:rPr lang="en-US" sz="5400" spc="-104" dirty="0">
                <a:ln w="3175">
                  <a:noFill/>
                </a:ln>
                <a:solidFill>
                  <a:schemeClr val="bg2">
                    <a:lumMod val="10000"/>
                  </a:schemeClr>
                </a:solidFill>
                <a:latin typeface="Segoe UI Light" panose="020B0502040204020203" pitchFamily="34" charset="0"/>
                <a:ea typeface="+mn-ea"/>
                <a:cs typeface="Segoe UI Light" panose="020B0502040204020203" pitchFamily="34" charset="0"/>
              </a:rPr>
              <a:t>to capture data dividend</a:t>
            </a:r>
            <a:br>
              <a:rPr lang="en-US" sz="5400" spc="-104" dirty="0">
                <a:ln w="3175">
                  <a:noFill/>
                </a:ln>
                <a:solidFill>
                  <a:schemeClr val="bg2">
                    <a:lumMod val="10000"/>
                  </a:schemeClr>
                </a:solidFill>
                <a:latin typeface="Segoe UI Light" panose="020B0502040204020203" pitchFamily="34" charset="0"/>
                <a:ea typeface="+mn-ea"/>
                <a:cs typeface="Segoe UI Light" panose="020B0502040204020203" pitchFamily="34" charset="0"/>
              </a:rPr>
            </a:br>
            <a:endParaRPr lang="en-US" sz="5400" spc="-104" dirty="0">
              <a:ln w="3175">
                <a:noFill/>
              </a:ln>
              <a:solidFill>
                <a:schemeClr val="bg2">
                  <a:lumMod val="10000"/>
                </a:schemeClr>
              </a:solidFill>
              <a:latin typeface="Segoe UI Light" panose="020B0502040204020203" pitchFamily="34" charset="0"/>
              <a:ea typeface="+mn-ea"/>
              <a:cs typeface="Segoe UI Light" panose="020B0502040204020203" pitchFamily="34" charset="0"/>
            </a:endParaRPr>
          </a:p>
        </p:txBody>
      </p:sp>
      <p:grpSp>
        <p:nvGrpSpPr>
          <p:cNvPr id="4" name="Group 3"/>
          <p:cNvGrpSpPr/>
          <p:nvPr/>
        </p:nvGrpSpPr>
        <p:grpSpPr>
          <a:xfrm>
            <a:off x="601340" y="2310705"/>
            <a:ext cx="5918422" cy="3060942"/>
            <a:chOff x="2854200" y="1615831"/>
            <a:chExt cx="8161364" cy="4007729"/>
          </a:xfrm>
        </p:grpSpPr>
        <p:pic>
          <p:nvPicPr>
            <p:cNvPr id="5" name="Picture 4"/>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158003" y="1817870"/>
              <a:ext cx="5575269" cy="3154787"/>
            </a:xfrm>
            <a:prstGeom prst="rect">
              <a:avLst/>
            </a:prstGeom>
          </p:spPr>
        </p:pic>
        <p:sp>
          <p:nvSpPr>
            <p:cNvPr id="6" name="Freeform 1383"/>
            <p:cNvSpPr>
              <a:spLocks noChangeAspect="1" noEditPoints="1"/>
            </p:cNvSpPr>
            <p:nvPr/>
          </p:nvSpPr>
          <p:spPr bwMode="auto">
            <a:xfrm>
              <a:off x="2854200" y="1615831"/>
              <a:ext cx="8161364" cy="4007729"/>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chemeClr val="bg2">
                <a:lumMod val="10000"/>
              </a:schemeClr>
            </a:solidFill>
            <a:ln w="9525">
              <a:noFill/>
            </a:ln>
            <a:extLst/>
          </p:spPr>
          <p:txBody>
            <a:bodyPr vert="horz" wrap="square" lIns="95117" tIns="47558" rIns="95117" bIns="47558"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664" dirty="0">
                <a:solidFill>
                  <a:srgbClr val="000000"/>
                </a:solidFill>
                <a:latin typeface="Segoe UI"/>
              </a:endParaRPr>
            </a:p>
          </p:txBody>
        </p:sp>
      </p:grpSp>
      <p:sp>
        <p:nvSpPr>
          <p:cNvPr id="8" name="Rectangle 7"/>
          <p:cNvSpPr/>
          <p:nvPr/>
        </p:nvSpPr>
        <p:spPr bwMode="auto">
          <a:xfrm>
            <a:off x="7328732" y="2263825"/>
            <a:ext cx="4634377" cy="315036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46616" rIns="0" bIns="46616" numCol="1" spcCol="0" rtlCol="0" fromWordArt="0" anchor="t" anchorCtr="0" forceAA="0" compatLnSpc="1">
            <a:prstTxWarp prst="textNoShape">
              <a:avLst/>
            </a:prstTxWarp>
            <a:spAutoFit/>
          </a:bodyPr>
          <a:lstStyle/>
          <a:p>
            <a:pPr marL="55039" defTabSz="950318" fontAlgn="base">
              <a:spcAft>
                <a:spcPts val="612"/>
              </a:spcAft>
              <a:buClr>
                <a:srgbClr val="FFFFFF"/>
              </a:buClr>
            </a:pPr>
            <a:r>
              <a:rPr lang="en-US" sz="2040" kern="0" dirty="0">
                <a:ln>
                  <a:solidFill>
                    <a:srgbClr val="FFFFFF">
                      <a:alpha val="0"/>
                    </a:srgbClr>
                  </a:solidFill>
                </a:ln>
                <a:solidFill>
                  <a:schemeClr val="bg2">
                    <a:lumMod val="10000"/>
                  </a:schemeClr>
                </a:solidFill>
                <a:latin typeface="Segoe UI"/>
                <a:ea typeface="Segoe UI" pitchFamily="34" charset="0"/>
                <a:cs typeface="Segoe UI" pitchFamily="34" charset="0"/>
              </a:rPr>
              <a:t>Visualize and analyze data easily with great speed and efficiency</a:t>
            </a:r>
          </a:p>
          <a:p>
            <a:pPr marL="55039" defTabSz="950318" fontAlgn="base">
              <a:spcAft>
                <a:spcPts val="612"/>
              </a:spcAft>
              <a:buClr>
                <a:srgbClr val="FFFFFF"/>
              </a:buClr>
            </a:pPr>
            <a:r>
              <a:rPr lang="en-US" sz="2040" kern="0" dirty="0">
                <a:ln>
                  <a:solidFill>
                    <a:srgbClr val="FFFFFF">
                      <a:alpha val="0"/>
                    </a:srgbClr>
                  </a:solidFill>
                </a:ln>
                <a:solidFill>
                  <a:schemeClr val="bg2">
                    <a:lumMod val="10000"/>
                  </a:schemeClr>
                </a:solidFill>
                <a:latin typeface="Segoe UI"/>
                <a:ea typeface="Segoe UI" pitchFamily="34" charset="0"/>
                <a:cs typeface="Segoe UI" pitchFamily="34" charset="0"/>
              </a:rPr>
              <a:t>Connect to data residing both </a:t>
            </a:r>
            <a:br>
              <a:rPr lang="en-US" sz="2040" kern="0" dirty="0">
                <a:ln>
                  <a:solidFill>
                    <a:srgbClr val="FFFFFF">
                      <a:alpha val="0"/>
                    </a:srgbClr>
                  </a:solidFill>
                </a:ln>
                <a:solidFill>
                  <a:schemeClr val="bg2">
                    <a:lumMod val="10000"/>
                  </a:schemeClr>
                </a:solidFill>
                <a:latin typeface="Segoe UI"/>
                <a:ea typeface="Segoe UI" pitchFamily="34" charset="0"/>
                <a:cs typeface="Segoe UI" pitchFamily="34" charset="0"/>
              </a:rPr>
            </a:br>
            <a:r>
              <a:rPr lang="en-US" sz="2040" kern="0" dirty="0">
                <a:ln>
                  <a:solidFill>
                    <a:srgbClr val="FFFFFF">
                      <a:alpha val="0"/>
                    </a:srgbClr>
                  </a:solidFill>
                </a:ln>
                <a:solidFill>
                  <a:schemeClr val="bg2">
                    <a:lumMod val="10000"/>
                  </a:schemeClr>
                </a:solidFill>
                <a:latin typeface="Segoe UI"/>
                <a:ea typeface="Segoe UI" pitchFamily="34" charset="0"/>
                <a:cs typeface="Segoe UI" pitchFamily="34" charset="0"/>
              </a:rPr>
              <a:t>on-premises and in the cloud</a:t>
            </a:r>
          </a:p>
          <a:p>
            <a:pPr marL="55039" defTabSz="950318" fontAlgn="base">
              <a:spcAft>
                <a:spcPts val="612"/>
              </a:spcAft>
              <a:buClr>
                <a:srgbClr val="FFFFFF"/>
              </a:buClr>
              <a:defRPr/>
            </a:pPr>
            <a:r>
              <a:rPr lang="en-US" sz="2040" kern="0" dirty="0">
                <a:ln>
                  <a:solidFill>
                    <a:srgbClr val="FFFFFF">
                      <a:alpha val="0"/>
                    </a:srgbClr>
                  </a:solidFill>
                </a:ln>
                <a:solidFill>
                  <a:schemeClr val="bg2">
                    <a:lumMod val="10000"/>
                  </a:schemeClr>
                </a:solidFill>
                <a:latin typeface="Segoe UI"/>
                <a:ea typeface="Segoe UI" pitchFamily="34" charset="0"/>
                <a:cs typeface="Segoe UI" pitchFamily="34" charset="0"/>
              </a:rPr>
              <a:t>Stay connected from any device with native apps for Windows Phone, iPad, iPhone, and Android</a:t>
            </a:r>
          </a:p>
          <a:p>
            <a:pPr marL="55039" defTabSz="950318" fontAlgn="base">
              <a:spcAft>
                <a:spcPts val="612"/>
              </a:spcAft>
              <a:buClr>
                <a:srgbClr val="FFFFFF"/>
              </a:buClr>
              <a:defRPr/>
            </a:pPr>
            <a:r>
              <a:rPr lang="en-US" sz="2040" kern="0" dirty="0">
                <a:ln>
                  <a:solidFill>
                    <a:srgbClr val="FFFFFF">
                      <a:alpha val="0"/>
                    </a:srgbClr>
                  </a:solidFill>
                </a:ln>
                <a:solidFill>
                  <a:schemeClr val="bg2">
                    <a:lumMod val="10000"/>
                  </a:schemeClr>
                </a:solidFill>
                <a:latin typeface="Segoe UI"/>
                <a:ea typeface="Segoe UI" pitchFamily="34" charset="0"/>
                <a:cs typeface="Segoe UI" pitchFamily="34" charset="0"/>
              </a:rPr>
              <a:t>Collaborate acrosss the organization by sharing dashboards</a:t>
            </a:r>
          </a:p>
        </p:txBody>
      </p:sp>
      <p:grpSp>
        <p:nvGrpSpPr>
          <p:cNvPr id="9" name="Group 8"/>
          <p:cNvGrpSpPr/>
          <p:nvPr/>
        </p:nvGrpSpPr>
        <p:grpSpPr>
          <a:xfrm>
            <a:off x="6841234" y="2361221"/>
            <a:ext cx="392177" cy="392177"/>
            <a:chOff x="8431377" y="-766784"/>
            <a:chExt cx="457200" cy="457200"/>
          </a:xfrm>
          <a:solidFill>
            <a:schemeClr val="bg2">
              <a:lumMod val="10000"/>
            </a:schemeClr>
          </a:solidFill>
        </p:grpSpPr>
        <p:sp>
          <p:nvSpPr>
            <p:cNvPr id="19"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51066">
                <a:defRPr/>
              </a:pPr>
              <a:endParaRPr lang="en-US" sz="1873" kern="0" dirty="0">
                <a:solidFill>
                  <a:srgbClr val="505050"/>
                </a:solidFill>
              </a:endParaRPr>
            </a:p>
          </p:txBody>
        </p:sp>
        <p:sp>
          <p:nvSpPr>
            <p:cNvPr id="20"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51066">
                <a:defRPr/>
              </a:pPr>
              <a:endParaRPr lang="en-US" sz="1873" kern="0" dirty="0">
                <a:solidFill>
                  <a:srgbClr val="505050"/>
                </a:solidFill>
              </a:endParaRPr>
            </a:p>
          </p:txBody>
        </p:sp>
      </p:grpSp>
      <p:grpSp>
        <p:nvGrpSpPr>
          <p:cNvPr id="10" name="Group 9"/>
          <p:cNvGrpSpPr/>
          <p:nvPr/>
        </p:nvGrpSpPr>
        <p:grpSpPr>
          <a:xfrm>
            <a:off x="6841234" y="3115571"/>
            <a:ext cx="392177" cy="392177"/>
            <a:chOff x="8431377" y="-766784"/>
            <a:chExt cx="457200" cy="457200"/>
          </a:xfrm>
          <a:solidFill>
            <a:schemeClr val="bg2">
              <a:lumMod val="10000"/>
            </a:schemeClr>
          </a:solidFill>
        </p:grpSpPr>
        <p:sp>
          <p:nvSpPr>
            <p:cNvPr id="1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51066">
                <a:defRPr/>
              </a:pPr>
              <a:endParaRPr lang="en-US" sz="1873" kern="0" dirty="0">
                <a:solidFill>
                  <a:srgbClr val="505050"/>
                </a:solidFill>
              </a:endParaRPr>
            </a:p>
          </p:txBody>
        </p:sp>
        <p:sp>
          <p:nvSpPr>
            <p:cNvPr id="1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51066">
                <a:defRPr/>
              </a:pPr>
              <a:endParaRPr lang="en-US" sz="1873" kern="0" dirty="0">
                <a:solidFill>
                  <a:srgbClr val="505050"/>
                </a:solidFill>
              </a:endParaRPr>
            </a:p>
          </p:txBody>
        </p:sp>
      </p:grpSp>
      <p:grpSp>
        <p:nvGrpSpPr>
          <p:cNvPr id="11" name="Group 10"/>
          <p:cNvGrpSpPr/>
          <p:nvPr/>
        </p:nvGrpSpPr>
        <p:grpSpPr>
          <a:xfrm>
            <a:off x="6841234" y="3894196"/>
            <a:ext cx="392177" cy="392177"/>
            <a:chOff x="8431377" y="-766784"/>
            <a:chExt cx="457200" cy="457200"/>
          </a:xfrm>
          <a:solidFill>
            <a:schemeClr val="bg2">
              <a:lumMod val="10000"/>
            </a:schemeClr>
          </a:solidFill>
        </p:grpSpPr>
        <p:sp>
          <p:nvSpPr>
            <p:cNvPr id="15"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51066">
                <a:defRPr/>
              </a:pPr>
              <a:endParaRPr lang="en-US" sz="1873" kern="0" dirty="0">
                <a:solidFill>
                  <a:srgbClr val="505050"/>
                </a:solidFill>
              </a:endParaRPr>
            </a:p>
          </p:txBody>
        </p:sp>
        <p:sp>
          <p:nvSpPr>
            <p:cNvPr id="16"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51066">
                <a:defRPr/>
              </a:pPr>
              <a:endParaRPr lang="en-US" sz="1873" kern="0" dirty="0">
                <a:solidFill>
                  <a:srgbClr val="505050"/>
                </a:solidFill>
              </a:endParaRPr>
            </a:p>
          </p:txBody>
        </p:sp>
      </p:grpSp>
      <p:grpSp>
        <p:nvGrpSpPr>
          <p:cNvPr id="12" name="Group 11"/>
          <p:cNvGrpSpPr/>
          <p:nvPr/>
        </p:nvGrpSpPr>
        <p:grpSpPr>
          <a:xfrm>
            <a:off x="6847116" y="4736745"/>
            <a:ext cx="392177" cy="392177"/>
            <a:chOff x="8431377" y="-766784"/>
            <a:chExt cx="457200" cy="457200"/>
          </a:xfrm>
          <a:solidFill>
            <a:schemeClr val="bg2">
              <a:lumMod val="10000"/>
            </a:schemeClr>
          </a:solidFill>
        </p:grpSpPr>
        <p:sp>
          <p:nvSpPr>
            <p:cNvPr id="1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51066">
                <a:defRPr/>
              </a:pPr>
              <a:endParaRPr lang="en-US" sz="1873" kern="0" dirty="0">
                <a:solidFill>
                  <a:srgbClr val="505050"/>
                </a:solidFill>
              </a:endParaRPr>
            </a:p>
          </p:txBody>
        </p:sp>
        <p:sp>
          <p:nvSpPr>
            <p:cNvPr id="1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51066">
                <a:defRPr/>
              </a:pPr>
              <a:endParaRPr lang="en-US" sz="1873" kern="0" dirty="0">
                <a:solidFill>
                  <a:srgbClr val="505050"/>
                </a:solidFill>
              </a:endParaRPr>
            </a:p>
          </p:txBody>
        </p:sp>
      </p:grpSp>
    </p:spTree>
    <p:extLst>
      <p:ext uri="{BB962C8B-B14F-4D97-AF65-F5344CB8AC3E}">
        <p14:creationId xmlns:p14="http://schemas.microsoft.com/office/powerpoint/2010/main" val="2023984295"/>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8381" y="163361"/>
            <a:ext cx="12433830" cy="1047332"/>
          </a:xfrm>
        </p:spPr>
        <p:txBody>
          <a:bodyPr/>
          <a:lstStyle/>
          <a:p>
            <a:r>
              <a:rPr lang="en-US" sz="4488" spc="-104" dirty="0">
                <a:solidFill>
                  <a:schemeClr val="bg2">
                    <a:lumMod val="10000"/>
                  </a:schemeClr>
                </a:solidFill>
              </a:rPr>
              <a:t>Cloud Solution Provider Program</a:t>
            </a:r>
          </a:p>
        </p:txBody>
      </p:sp>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flipH="1">
            <a:off x="1765" y="1303473"/>
            <a:ext cx="12455166" cy="3653398"/>
          </a:xfrm>
          <a:prstGeom prst="rect">
            <a:avLst/>
          </a:prstGeom>
        </p:spPr>
      </p:pic>
      <p:sp>
        <p:nvSpPr>
          <p:cNvPr id="5" name="Rectangle 4"/>
          <p:cNvSpPr/>
          <p:nvPr/>
        </p:nvSpPr>
        <p:spPr bwMode="auto">
          <a:xfrm>
            <a:off x="1764" y="1303472"/>
            <a:ext cx="4097126" cy="1223252"/>
          </a:xfrm>
          <a:prstGeom prst="rect">
            <a:avLst/>
          </a:prstGeom>
          <a:solidFill>
            <a:srgbClr val="353535"/>
          </a:solidFill>
          <a:ln w="9525" cap="flat" cmpd="sng" algn="ctr">
            <a:noFill/>
            <a:prstDash val="solid"/>
            <a:headEnd type="none" w="med" len="med"/>
            <a:tailEnd type="none" w="med" len="med"/>
          </a:ln>
          <a:effectLst/>
        </p:spPr>
        <p:txBody>
          <a:bodyPr rot="0" spcFirstLastPara="0" vertOverflow="overflow" horzOverflow="overflow" vert="horz" wrap="square" lIns="1188383" tIns="146262" rIns="182828" bIns="146262" numCol="1" spcCol="0" rtlCol="0" fromWordArt="0" anchor="ctr" anchorCtr="0" forceAA="0" compatLnSpc="1">
            <a:prstTxWarp prst="textNoShape">
              <a:avLst/>
            </a:prstTxWarp>
            <a:noAutofit/>
          </a:bodyPr>
          <a:lstStyle/>
          <a:p>
            <a:pPr defTabSz="932114" fontAlgn="base">
              <a:lnSpc>
                <a:spcPct val="90000"/>
              </a:lnSpc>
              <a:spcBef>
                <a:spcPct val="0"/>
              </a:spcBef>
              <a:spcAft>
                <a:spcPct val="0"/>
              </a:spcAft>
              <a:defRPr/>
            </a:pPr>
            <a:r>
              <a:rPr lang="en-IN" sz="2400" kern="0" dirty="0">
                <a:solidFill>
                  <a:srgbClr val="FFFFFF"/>
                </a:solidFill>
              </a:rPr>
              <a:t>Set the price, the terms and directly bill customers</a:t>
            </a:r>
          </a:p>
        </p:txBody>
      </p:sp>
      <p:sp>
        <p:nvSpPr>
          <p:cNvPr id="6" name="Rectangle 5"/>
          <p:cNvSpPr/>
          <p:nvPr/>
        </p:nvSpPr>
        <p:spPr bwMode="auto">
          <a:xfrm>
            <a:off x="1764" y="2514365"/>
            <a:ext cx="4895474" cy="1223252"/>
          </a:xfrm>
          <a:prstGeom prst="rect">
            <a:avLst/>
          </a:prstGeom>
          <a:solidFill>
            <a:srgbClr val="F2C811"/>
          </a:solidFill>
          <a:ln w="9525" cap="flat" cmpd="sng" algn="ctr">
            <a:noFill/>
            <a:prstDash val="solid"/>
            <a:headEnd type="none" w="med" len="med"/>
            <a:tailEnd type="none" w="med" len="med"/>
          </a:ln>
          <a:effectLst/>
        </p:spPr>
        <p:txBody>
          <a:bodyPr rot="0" spcFirstLastPara="0" vertOverflow="overflow" horzOverflow="overflow" vert="horz" wrap="square" lIns="1188383" tIns="146262" rIns="182828" bIns="146262" numCol="1" spcCol="0" rtlCol="0" fromWordArt="0" anchor="ctr" anchorCtr="0" forceAA="0" compatLnSpc="1">
            <a:prstTxWarp prst="textNoShape">
              <a:avLst/>
            </a:prstTxWarp>
            <a:noAutofit/>
          </a:bodyPr>
          <a:lstStyle/>
          <a:p>
            <a:pPr defTabSz="932114" fontAlgn="base">
              <a:lnSpc>
                <a:spcPct val="90000"/>
              </a:lnSpc>
              <a:spcBef>
                <a:spcPct val="0"/>
              </a:spcBef>
              <a:spcAft>
                <a:spcPct val="0"/>
              </a:spcAft>
              <a:defRPr/>
            </a:pPr>
            <a:r>
              <a:rPr lang="en-IN" sz="2400" kern="0" dirty="0">
                <a:solidFill>
                  <a:schemeClr val="bg2">
                    <a:lumMod val="10000"/>
                  </a:schemeClr>
                </a:solidFill>
              </a:rPr>
              <a:t>Directly provision and </a:t>
            </a:r>
            <a:br>
              <a:rPr lang="en-IN" sz="2400" kern="0" dirty="0">
                <a:solidFill>
                  <a:schemeClr val="bg2">
                    <a:lumMod val="10000"/>
                  </a:schemeClr>
                </a:solidFill>
              </a:rPr>
            </a:br>
            <a:r>
              <a:rPr lang="en-IN" sz="2400" kern="0" dirty="0">
                <a:solidFill>
                  <a:schemeClr val="bg2">
                    <a:lumMod val="10000"/>
                  </a:schemeClr>
                </a:solidFill>
              </a:rPr>
              <a:t>manage subscriptions</a:t>
            </a:r>
          </a:p>
        </p:txBody>
      </p:sp>
      <p:sp>
        <p:nvSpPr>
          <p:cNvPr id="7" name="Rectangle 6"/>
          <p:cNvSpPr/>
          <p:nvPr/>
        </p:nvSpPr>
        <p:spPr bwMode="auto">
          <a:xfrm>
            <a:off x="1762" y="3733618"/>
            <a:ext cx="5827945" cy="1223252"/>
          </a:xfrm>
          <a:prstGeom prst="rect">
            <a:avLst/>
          </a:prstGeom>
          <a:solidFill>
            <a:schemeClr val="bg2">
              <a:lumMod val="10000"/>
            </a:schemeClr>
          </a:solidFill>
          <a:ln w="9525" cap="flat" cmpd="sng" algn="ctr">
            <a:noFill/>
            <a:prstDash val="solid"/>
            <a:headEnd type="none" w="med" len="med"/>
            <a:tailEnd type="none" w="med" len="med"/>
          </a:ln>
          <a:effectLst/>
        </p:spPr>
        <p:txBody>
          <a:bodyPr rot="0" spcFirstLastPara="0" vertOverflow="overflow" horzOverflow="overflow" vert="horz" wrap="square" lIns="1188383" tIns="146262" rIns="182828" bIns="146262" numCol="1" spcCol="0" rtlCol="0" fromWordArt="0" anchor="ctr" anchorCtr="0" forceAA="0" compatLnSpc="1">
            <a:prstTxWarp prst="textNoShape">
              <a:avLst/>
            </a:prstTxWarp>
            <a:noAutofit/>
          </a:bodyPr>
          <a:lstStyle/>
          <a:p>
            <a:pPr defTabSz="932114" fontAlgn="base">
              <a:lnSpc>
                <a:spcPct val="90000"/>
              </a:lnSpc>
              <a:spcBef>
                <a:spcPct val="0"/>
              </a:spcBef>
              <a:spcAft>
                <a:spcPct val="0"/>
              </a:spcAft>
              <a:defRPr/>
            </a:pPr>
            <a:r>
              <a:rPr lang="en-IN" sz="2400" kern="0" dirty="0">
                <a:solidFill>
                  <a:srgbClr val="FFFFFF"/>
                </a:solidFill>
              </a:rPr>
              <a:t>Be the first point of contact </a:t>
            </a:r>
            <a:br>
              <a:rPr lang="en-IN" sz="2400" kern="0" dirty="0">
                <a:solidFill>
                  <a:srgbClr val="FFFFFF"/>
                </a:solidFill>
              </a:rPr>
            </a:br>
            <a:r>
              <a:rPr lang="en-IN" sz="2400" kern="0" dirty="0">
                <a:solidFill>
                  <a:srgbClr val="FFFFFF"/>
                </a:solidFill>
              </a:rPr>
              <a:t>for customer support</a:t>
            </a:r>
          </a:p>
        </p:txBody>
      </p:sp>
      <p:grpSp>
        <p:nvGrpSpPr>
          <p:cNvPr id="8" name="Group 1"/>
          <p:cNvGrpSpPr/>
          <p:nvPr/>
        </p:nvGrpSpPr>
        <p:grpSpPr>
          <a:xfrm>
            <a:off x="240794" y="1480983"/>
            <a:ext cx="789378" cy="3247166"/>
            <a:chOff x="239098" y="1418975"/>
            <a:chExt cx="789602" cy="3248088"/>
          </a:xfrm>
          <a:solidFill>
            <a:schemeClr val="bg1"/>
          </a:solidFill>
        </p:grpSpPr>
        <p:sp>
          <p:nvSpPr>
            <p:cNvPr id="9" name="Freeform 5"/>
            <p:cNvSpPr>
              <a:spLocks noEditPoints="1"/>
            </p:cNvSpPr>
            <p:nvPr/>
          </p:nvSpPr>
          <p:spPr bwMode="auto">
            <a:xfrm>
              <a:off x="239098" y="1418975"/>
              <a:ext cx="766742" cy="726386"/>
            </a:xfrm>
            <a:custGeom>
              <a:avLst/>
              <a:gdLst>
                <a:gd name="T0" fmla="*/ 1100 w 2217"/>
                <a:gd name="T1" fmla="*/ 1549 h 2100"/>
                <a:gd name="T2" fmla="*/ 1100 w 2217"/>
                <a:gd name="T3" fmla="*/ 1549 h 2100"/>
                <a:gd name="T4" fmla="*/ 1100 w 2217"/>
                <a:gd name="T5" fmla="*/ 1429 h 2100"/>
                <a:gd name="T6" fmla="*/ 1100 w 2217"/>
                <a:gd name="T7" fmla="*/ 1429 h 2100"/>
                <a:gd name="T8" fmla="*/ 911 w 2217"/>
                <a:gd name="T9" fmla="*/ 1394 h 2100"/>
                <a:gd name="T10" fmla="*/ 894 w 2217"/>
                <a:gd name="T11" fmla="*/ 1377 h 2100"/>
                <a:gd name="T12" fmla="*/ 894 w 2217"/>
                <a:gd name="T13" fmla="*/ 1377 h 2100"/>
                <a:gd name="T14" fmla="*/ 945 w 2217"/>
                <a:gd name="T15" fmla="*/ 1188 h 2100"/>
                <a:gd name="T16" fmla="*/ 979 w 2217"/>
                <a:gd name="T17" fmla="*/ 1205 h 2100"/>
                <a:gd name="T18" fmla="*/ 979 w 2217"/>
                <a:gd name="T19" fmla="*/ 1205 h 2100"/>
                <a:gd name="T20" fmla="*/ 1151 w 2217"/>
                <a:gd name="T21" fmla="*/ 1257 h 2100"/>
                <a:gd name="T22" fmla="*/ 1151 w 2217"/>
                <a:gd name="T23" fmla="*/ 1257 h 2100"/>
                <a:gd name="T24" fmla="*/ 1237 w 2217"/>
                <a:gd name="T25" fmla="*/ 1205 h 2100"/>
                <a:gd name="T26" fmla="*/ 1237 w 2217"/>
                <a:gd name="T27" fmla="*/ 1205 h 2100"/>
                <a:gd name="T28" fmla="*/ 1134 w 2217"/>
                <a:gd name="T29" fmla="*/ 1136 h 2100"/>
                <a:gd name="T30" fmla="*/ 1134 w 2217"/>
                <a:gd name="T31" fmla="*/ 1136 h 2100"/>
                <a:gd name="T32" fmla="*/ 894 w 2217"/>
                <a:gd name="T33" fmla="*/ 895 h 2100"/>
                <a:gd name="T34" fmla="*/ 894 w 2217"/>
                <a:gd name="T35" fmla="*/ 895 h 2100"/>
                <a:gd name="T36" fmla="*/ 1100 w 2217"/>
                <a:gd name="T37" fmla="*/ 671 h 2100"/>
                <a:gd name="T38" fmla="*/ 1100 w 2217"/>
                <a:gd name="T39" fmla="*/ 551 h 2100"/>
                <a:gd name="T40" fmla="*/ 1272 w 2217"/>
                <a:gd name="T41" fmla="*/ 551 h 2100"/>
                <a:gd name="T42" fmla="*/ 1272 w 2217"/>
                <a:gd name="T43" fmla="*/ 654 h 2100"/>
                <a:gd name="T44" fmla="*/ 1272 w 2217"/>
                <a:gd name="T45" fmla="*/ 654 h 2100"/>
                <a:gd name="T46" fmla="*/ 1409 w 2217"/>
                <a:gd name="T47" fmla="*/ 688 h 2100"/>
                <a:gd name="T48" fmla="*/ 1443 w 2217"/>
                <a:gd name="T49" fmla="*/ 706 h 2100"/>
                <a:gd name="T50" fmla="*/ 1392 w 2217"/>
                <a:gd name="T51" fmla="*/ 861 h 2100"/>
                <a:gd name="T52" fmla="*/ 1375 w 2217"/>
                <a:gd name="T53" fmla="*/ 895 h 2100"/>
                <a:gd name="T54" fmla="*/ 1358 w 2217"/>
                <a:gd name="T55" fmla="*/ 878 h 2100"/>
                <a:gd name="T56" fmla="*/ 1358 w 2217"/>
                <a:gd name="T57" fmla="*/ 878 h 2100"/>
                <a:gd name="T58" fmla="*/ 1203 w 2217"/>
                <a:gd name="T59" fmla="*/ 843 h 2100"/>
                <a:gd name="T60" fmla="*/ 1203 w 2217"/>
                <a:gd name="T61" fmla="*/ 843 h 2100"/>
                <a:gd name="T62" fmla="*/ 1134 w 2217"/>
                <a:gd name="T63" fmla="*/ 878 h 2100"/>
                <a:gd name="T64" fmla="*/ 1134 w 2217"/>
                <a:gd name="T65" fmla="*/ 878 h 2100"/>
                <a:gd name="T66" fmla="*/ 1254 w 2217"/>
                <a:gd name="T67" fmla="*/ 947 h 2100"/>
                <a:gd name="T68" fmla="*/ 1254 w 2217"/>
                <a:gd name="T69" fmla="*/ 947 h 2100"/>
                <a:gd name="T70" fmla="*/ 1461 w 2217"/>
                <a:gd name="T71" fmla="*/ 1188 h 2100"/>
                <a:gd name="T72" fmla="*/ 1461 w 2217"/>
                <a:gd name="T73" fmla="*/ 1188 h 2100"/>
                <a:gd name="T74" fmla="*/ 1272 w 2217"/>
                <a:gd name="T75" fmla="*/ 1429 h 2100"/>
                <a:gd name="T76" fmla="*/ 1272 w 2217"/>
                <a:gd name="T77" fmla="*/ 1549 h 2100"/>
                <a:gd name="T78" fmla="*/ 1100 w 2217"/>
                <a:gd name="T79" fmla="*/ 1549 h 2100"/>
                <a:gd name="T80" fmla="*/ 1168 w 2217"/>
                <a:gd name="T81" fmla="*/ 17 h 2100"/>
                <a:gd name="T82" fmla="*/ 155 w 2217"/>
                <a:gd name="T83" fmla="*/ 912 h 2100"/>
                <a:gd name="T84" fmla="*/ 0 w 2217"/>
                <a:gd name="T85" fmla="*/ 912 h 2100"/>
                <a:gd name="T86" fmla="*/ 241 w 2217"/>
                <a:gd name="T87" fmla="*/ 1153 h 2100"/>
                <a:gd name="T88" fmla="*/ 481 w 2217"/>
                <a:gd name="T89" fmla="*/ 912 h 2100"/>
                <a:gd name="T90" fmla="*/ 327 w 2217"/>
                <a:gd name="T91" fmla="*/ 912 h 2100"/>
                <a:gd name="T92" fmla="*/ 876 w 2217"/>
                <a:gd name="T93" fmla="*/ 241 h 2100"/>
                <a:gd name="T94" fmla="*/ 1993 w 2217"/>
                <a:gd name="T95" fmla="*/ 757 h 2100"/>
                <a:gd name="T96" fmla="*/ 1461 w 2217"/>
                <a:gd name="T97" fmla="*/ 1876 h 2100"/>
                <a:gd name="T98" fmla="*/ 361 w 2217"/>
                <a:gd name="T99" fmla="*/ 1343 h 2100"/>
                <a:gd name="T100" fmla="*/ 206 w 2217"/>
                <a:gd name="T101" fmla="*/ 1412 h 2100"/>
                <a:gd name="T102" fmla="*/ 1186 w 2217"/>
                <a:gd name="T103" fmla="*/ 2100 h 2100"/>
                <a:gd name="T104" fmla="*/ 2217 w 2217"/>
                <a:gd name="T105" fmla="*/ 1050 h 2100"/>
                <a:gd name="T106" fmla="*/ 1168 w 2217"/>
                <a:gd name="T107" fmla="*/ 17 h 2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17" h="2100">
                  <a:moveTo>
                    <a:pt x="1100" y="1549"/>
                  </a:moveTo>
                  <a:cubicBezTo>
                    <a:pt x="1100" y="1549"/>
                    <a:pt x="1100" y="1549"/>
                    <a:pt x="1100" y="1549"/>
                  </a:cubicBezTo>
                  <a:cubicBezTo>
                    <a:pt x="1100" y="1429"/>
                    <a:pt x="1100" y="1429"/>
                    <a:pt x="1100" y="1429"/>
                  </a:cubicBezTo>
                  <a:cubicBezTo>
                    <a:pt x="1100" y="1429"/>
                    <a:pt x="1100" y="1429"/>
                    <a:pt x="1100" y="1429"/>
                  </a:cubicBezTo>
                  <a:cubicBezTo>
                    <a:pt x="1031" y="1429"/>
                    <a:pt x="962" y="1412"/>
                    <a:pt x="911" y="1394"/>
                  </a:cubicBezTo>
                  <a:cubicBezTo>
                    <a:pt x="911" y="1394"/>
                    <a:pt x="911" y="1394"/>
                    <a:pt x="894" y="1377"/>
                  </a:cubicBezTo>
                  <a:cubicBezTo>
                    <a:pt x="894" y="1377"/>
                    <a:pt x="894" y="1377"/>
                    <a:pt x="894" y="1377"/>
                  </a:cubicBezTo>
                  <a:cubicBezTo>
                    <a:pt x="894" y="1377"/>
                    <a:pt x="894" y="1377"/>
                    <a:pt x="945" y="1188"/>
                  </a:cubicBezTo>
                  <a:cubicBezTo>
                    <a:pt x="945" y="1188"/>
                    <a:pt x="945" y="1188"/>
                    <a:pt x="979" y="1205"/>
                  </a:cubicBezTo>
                  <a:cubicBezTo>
                    <a:pt x="979" y="1205"/>
                    <a:pt x="979" y="1205"/>
                    <a:pt x="979" y="1205"/>
                  </a:cubicBezTo>
                  <a:cubicBezTo>
                    <a:pt x="997" y="1222"/>
                    <a:pt x="1065" y="1257"/>
                    <a:pt x="1151" y="1257"/>
                  </a:cubicBezTo>
                  <a:cubicBezTo>
                    <a:pt x="1151" y="1257"/>
                    <a:pt x="1151" y="1257"/>
                    <a:pt x="1151" y="1257"/>
                  </a:cubicBezTo>
                  <a:cubicBezTo>
                    <a:pt x="1186" y="1257"/>
                    <a:pt x="1237" y="1239"/>
                    <a:pt x="1237" y="1205"/>
                  </a:cubicBezTo>
                  <a:cubicBezTo>
                    <a:pt x="1237" y="1205"/>
                    <a:pt x="1237" y="1205"/>
                    <a:pt x="1237" y="1205"/>
                  </a:cubicBezTo>
                  <a:cubicBezTo>
                    <a:pt x="1237" y="1188"/>
                    <a:pt x="1220" y="1170"/>
                    <a:pt x="1134" y="1136"/>
                  </a:cubicBezTo>
                  <a:cubicBezTo>
                    <a:pt x="1134" y="1136"/>
                    <a:pt x="1134" y="1136"/>
                    <a:pt x="1134" y="1136"/>
                  </a:cubicBezTo>
                  <a:cubicBezTo>
                    <a:pt x="1031" y="1102"/>
                    <a:pt x="894" y="1033"/>
                    <a:pt x="894" y="895"/>
                  </a:cubicBezTo>
                  <a:cubicBezTo>
                    <a:pt x="894" y="895"/>
                    <a:pt x="894" y="895"/>
                    <a:pt x="894" y="895"/>
                  </a:cubicBezTo>
                  <a:cubicBezTo>
                    <a:pt x="894" y="792"/>
                    <a:pt x="979" y="706"/>
                    <a:pt x="1100" y="671"/>
                  </a:cubicBezTo>
                  <a:cubicBezTo>
                    <a:pt x="1100" y="671"/>
                    <a:pt x="1100" y="671"/>
                    <a:pt x="1100" y="551"/>
                  </a:cubicBezTo>
                  <a:cubicBezTo>
                    <a:pt x="1100" y="551"/>
                    <a:pt x="1100" y="551"/>
                    <a:pt x="1272" y="551"/>
                  </a:cubicBezTo>
                  <a:cubicBezTo>
                    <a:pt x="1272" y="551"/>
                    <a:pt x="1272" y="551"/>
                    <a:pt x="1272" y="654"/>
                  </a:cubicBezTo>
                  <a:cubicBezTo>
                    <a:pt x="1272" y="654"/>
                    <a:pt x="1272" y="654"/>
                    <a:pt x="1272" y="654"/>
                  </a:cubicBezTo>
                  <a:cubicBezTo>
                    <a:pt x="1340" y="671"/>
                    <a:pt x="1375" y="688"/>
                    <a:pt x="1409" y="688"/>
                  </a:cubicBezTo>
                  <a:cubicBezTo>
                    <a:pt x="1409" y="688"/>
                    <a:pt x="1409" y="688"/>
                    <a:pt x="1443" y="706"/>
                  </a:cubicBezTo>
                  <a:cubicBezTo>
                    <a:pt x="1443" y="706"/>
                    <a:pt x="1443" y="706"/>
                    <a:pt x="1392" y="861"/>
                  </a:cubicBezTo>
                  <a:cubicBezTo>
                    <a:pt x="1392" y="861"/>
                    <a:pt x="1392" y="861"/>
                    <a:pt x="1375" y="895"/>
                  </a:cubicBezTo>
                  <a:cubicBezTo>
                    <a:pt x="1375" y="895"/>
                    <a:pt x="1375" y="895"/>
                    <a:pt x="1358" y="878"/>
                  </a:cubicBezTo>
                  <a:cubicBezTo>
                    <a:pt x="1358" y="878"/>
                    <a:pt x="1358" y="878"/>
                    <a:pt x="1358" y="878"/>
                  </a:cubicBezTo>
                  <a:cubicBezTo>
                    <a:pt x="1323" y="861"/>
                    <a:pt x="1272" y="843"/>
                    <a:pt x="1203" y="843"/>
                  </a:cubicBezTo>
                  <a:cubicBezTo>
                    <a:pt x="1203" y="843"/>
                    <a:pt x="1203" y="843"/>
                    <a:pt x="1203" y="843"/>
                  </a:cubicBezTo>
                  <a:cubicBezTo>
                    <a:pt x="1168" y="843"/>
                    <a:pt x="1134" y="843"/>
                    <a:pt x="1134" y="878"/>
                  </a:cubicBezTo>
                  <a:cubicBezTo>
                    <a:pt x="1134" y="878"/>
                    <a:pt x="1134" y="878"/>
                    <a:pt x="1134" y="878"/>
                  </a:cubicBezTo>
                  <a:cubicBezTo>
                    <a:pt x="1134" y="895"/>
                    <a:pt x="1203" y="929"/>
                    <a:pt x="1254" y="947"/>
                  </a:cubicBezTo>
                  <a:cubicBezTo>
                    <a:pt x="1254" y="947"/>
                    <a:pt x="1254" y="947"/>
                    <a:pt x="1254" y="947"/>
                  </a:cubicBezTo>
                  <a:cubicBezTo>
                    <a:pt x="1409" y="998"/>
                    <a:pt x="1461" y="1084"/>
                    <a:pt x="1461" y="1188"/>
                  </a:cubicBezTo>
                  <a:cubicBezTo>
                    <a:pt x="1461" y="1188"/>
                    <a:pt x="1461" y="1188"/>
                    <a:pt x="1461" y="1188"/>
                  </a:cubicBezTo>
                  <a:cubicBezTo>
                    <a:pt x="1461" y="1308"/>
                    <a:pt x="1375" y="1394"/>
                    <a:pt x="1272" y="1429"/>
                  </a:cubicBezTo>
                  <a:cubicBezTo>
                    <a:pt x="1272" y="1429"/>
                    <a:pt x="1272" y="1429"/>
                    <a:pt x="1272" y="1549"/>
                  </a:cubicBezTo>
                  <a:cubicBezTo>
                    <a:pt x="1272" y="1549"/>
                    <a:pt x="1272" y="1549"/>
                    <a:pt x="1100" y="1549"/>
                  </a:cubicBezTo>
                  <a:close/>
                  <a:moveTo>
                    <a:pt x="1168" y="17"/>
                  </a:moveTo>
                  <a:cubicBezTo>
                    <a:pt x="653" y="17"/>
                    <a:pt x="223" y="396"/>
                    <a:pt x="155" y="912"/>
                  </a:cubicBezTo>
                  <a:cubicBezTo>
                    <a:pt x="0" y="912"/>
                    <a:pt x="0" y="912"/>
                    <a:pt x="0" y="912"/>
                  </a:cubicBezTo>
                  <a:cubicBezTo>
                    <a:pt x="241" y="1153"/>
                    <a:pt x="241" y="1153"/>
                    <a:pt x="241" y="1153"/>
                  </a:cubicBezTo>
                  <a:cubicBezTo>
                    <a:pt x="481" y="912"/>
                    <a:pt x="481" y="912"/>
                    <a:pt x="481" y="912"/>
                  </a:cubicBezTo>
                  <a:cubicBezTo>
                    <a:pt x="327" y="912"/>
                    <a:pt x="327" y="912"/>
                    <a:pt x="327" y="912"/>
                  </a:cubicBezTo>
                  <a:cubicBezTo>
                    <a:pt x="378" y="602"/>
                    <a:pt x="584" y="344"/>
                    <a:pt x="876" y="241"/>
                  </a:cubicBezTo>
                  <a:cubicBezTo>
                    <a:pt x="1323" y="68"/>
                    <a:pt x="1821" y="310"/>
                    <a:pt x="1993" y="757"/>
                  </a:cubicBezTo>
                  <a:cubicBezTo>
                    <a:pt x="2148" y="1205"/>
                    <a:pt x="1925" y="1704"/>
                    <a:pt x="1461" y="1876"/>
                  </a:cubicBezTo>
                  <a:cubicBezTo>
                    <a:pt x="1014" y="2031"/>
                    <a:pt x="516" y="1808"/>
                    <a:pt x="361" y="1343"/>
                  </a:cubicBezTo>
                  <a:cubicBezTo>
                    <a:pt x="206" y="1412"/>
                    <a:pt x="206" y="1412"/>
                    <a:pt x="206" y="1412"/>
                  </a:cubicBezTo>
                  <a:cubicBezTo>
                    <a:pt x="344" y="1825"/>
                    <a:pt x="739" y="2100"/>
                    <a:pt x="1186" y="2100"/>
                  </a:cubicBezTo>
                  <a:cubicBezTo>
                    <a:pt x="1753" y="2083"/>
                    <a:pt x="2217" y="1618"/>
                    <a:pt x="2217" y="1050"/>
                  </a:cubicBezTo>
                  <a:cubicBezTo>
                    <a:pt x="2199" y="465"/>
                    <a:pt x="1736" y="0"/>
                    <a:pt x="1168" y="17"/>
                  </a:cubicBezTo>
                  <a:close/>
                </a:path>
              </a:pathLst>
            </a:custGeom>
            <a:grpFill/>
            <a:ln>
              <a:noFill/>
            </a:ln>
          </p:spPr>
          <p:txBody>
            <a:bodyPr vert="horz" wrap="square" lIns="91414" tIns="45706" rIns="91414" bIns="45706" numCol="1" anchor="t" anchorCtr="0" compatLnSpc="1">
              <a:prstTxWarp prst="textNoShape">
                <a:avLst/>
              </a:prstTxWarp>
            </a:bodyPr>
            <a:lstStyle/>
            <a:p>
              <a:pPr defTabSz="932384">
                <a:defRPr/>
              </a:pPr>
              <a:endParaRPr lang="en-US" sz="2200" kern="0" dirty="0">
                <a:solidFill>
                  <a:srgbClr val="505050"/>
                </a:solidFill>
              </a:endParaRPr>
            </a:p>
          </p:txBody>
        </p:sp>
        <p:grpSp>
          <p:nvGrpSpPr>
            <p:cNvPr id="10" name="Group 4"/>
            <p:cNvGrpSpPr/>
            <p:nvPr/>
          </p:nvGrpSpPr>
          <p:grpSpPr>
            <a:xfrm>
              <a:off x="278641" y="2718894"/>
              <a:ext cx="665355" cy="609413"/>
              <a:chOff x="278641" y="2718894"/>
              <a:chExt cx="665355" cy="609413"/>
            </a:xfrm>
            <a:grpFill/>
          </p:grpSpPr>
          <p:grpSp>
            <p:nvGrpSpPr>
              <p:cNvPr id="12" name="Group 8"/>
              <p:cNvGrpSpPr>
                <a:grpSpLocks noChangeAspect="1"/>
              </p:cNvGrpSpPr>
              <p:nvPr/>
            </p:nvGrpSpPr>
            <p:grpSpPr bwMode="auto">
              <a:xfrm>
                <a:off x="278641" y="2718894"/>
                <a:ext cx="665355" cy="609413"/>
                <a:chOff x="1123" y="-357"/>
                <a:chExt cx="5590" cy="5120"/>
              </a:xfrm>
              <a:grpFill/>
            </p:grpSpPr>
            <p:sp>
              <p:nvSpPr>
                <p:cNvPr id="14" name="Freeform 9"/>
                <p:cNvSpPr>
                  <a:spLocks/>
                </p:cNvSpPr>
                <p:nvPr/>
              </p:nvSpPr>
              <p:spPr bwMode="auto">
                <a:xfrm>
                  <a:off x="1123" y="1011"/>
                  <a:ext cx="5590" cy="1667"/>
                </a:xfrm>
                <a:custGeom>
                  <a:avLst/>
                  <a:gdLst>
                    <a:gd name="T0" fmla="*/ 0 w 2363"/>
                    <a:gd name="T1" fmla="*/ 622 h 705"/>
                    <a:gd name="T2" fmla="*/ 90 w 2363"/>
                    <a:gd name="T3" fmla="*/ 705 h 705"/>
                    <a:gd name="T4" fmla="*/ 2273 w 2363"/>
                    <a:gd name="T5" fmla="*/ 705 h 705"/>
                    <a:gd name="T6" fmla="*/ 2363 w 2363"/>
                    <a:gd name="T7" fmla="*/ 622 h 705"/>
                    <a:gd name="T8" fmla="*/ 2363 w 2363"/>
                    <a:gd name="T9" fmla="*/ 0 h 705"/>
                    <a:gd name="T10" fmla="*/ 0 w 2363"/>
                    <a:gd name="T11" fmla="*/ 0 h 705"/>
                    <a:gd name="T12" fmla="*/ 0 w 2363"/>
                    <a:gd name="T13" fmla="*/ 622 h 705"/>
                    <a:gd name="T14" fmla="*/ 0 w 2363"/>
                    <a:gd name="T15" fmla="*/ 622 h 7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3" h="705">
                      <a:moveTo>
                        <a:pt x="0" y="622"/>
                      </a:moveTo>
                      <a:cubicBezTo>
                        <a:pt x="0" y="667"/>
                        <a:pt x="45" y="705"/>
                        <a:pt x="90" y="705"/>
                      </a:cubicBezTo>
                      <a:cubicBezTo>
                        <a:pt x="2273" y="705"/>
                        <a:pt x="2273" y="705"/>
                        <a:pt x="2273" y="705"/>
                      </a:cubicBezTo>
                      <a:cubicBezTo>
                        <a:pt x="2324" y="705"/>
                        <a:pt x="2363" y="667"/>
                        <a:pt x="2363" y="622"/>
                      </a:cubicBezTo>
                      <a:cubicBezTo>
                        <a:pt x="2363" y="0"/>
                        <a:pt x="2363" y="0"/>
                        <a:pt x="2363" y="0"/>
                      </a:cubicBezTo>
                      <a:cubicBezTo>
                        <a:pt x="0" y="0"/>
                        <a:pt x="0" y="0"/>
                        <a:pt x="0" y="0"/>
                      </a:cubicBezTo>
                      <a:cubicBezTo>
                        <a:pt x="0" y="622"/>
                        <a:pt x="0" y="622"/>
                        <a:pt x="0" y="622"/>
                      </a:cubicBezTo>
                      <a:cubicBezTo>
                        <a:pt x="0" y="622"/>
                        <a:pt x="0" y="622"/>
                        <a:pt x="0" y="622"/>
                      </a:cubicBezTo>
                      <a:close/>
                    </a:path>
                  </a:pathLst>
                </a:custGeom>
                <a:solidFill>
                  <a:schemeClr val="bg2">
                    <a:lumMod val="1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2200" kern="0" dirty="0">
                    <a:solidFill>
                      <a:srgbClr val="505050"/>
                    </a:solidFill>
                  </a:endParaRPr>
                </a:p>
              </p:txBody>
            </p:sp>
            <p:sp>
              <p:nvSpPr>
                <p:cNvPr id="15" name="Freeform 10"/>
                <p:cNvSpPr>
                  <a:spLocks noEditPoints="1"/>
                </p:cNvSpPr>
                <p:nvPr/>
              </p:nvSpPr>
              <p:spPr bwMode="auto">
                <a:xfrm>
                  <a:off x="1211" y="-357"/>
                  <a:ext cx="5412" cy="1122"/>
                </a:xfrm>
                <a:custGeom>
                  <a:avLst/>
                  <a:gdLst>
                    <a:gd name="T0" fmla="*/ 2256 w 2288"/>
                    <a:gd name="T1" fmla="*/ 435 h 474"/>
                    <a:gd name="T2" fmla="*/ 2050 w 2288"/>
                    <a:gd name="T3" fmla="*/ 292 h 474"/>
                    <a:gd name="T4" fmla="*/ 1947 w 2288"/>
                    <a:gd name="T5" fmla="*/ 260 h 474"/>
                    <a:gd name="T6" fmla="*/ 1553 w 2288"/>
                    <a:gd name="T7" fmla="*/ 260 h 474"/>
                    <a:gd name="T8" fmla="*/ 1553 w 2288"/>
                    <a:gd name="T9" fmla="*/ 169 h 474"/>
                    <a:gd name="T10" fmla="*/ 1631 w 2288"/>
                    <a:gd name="T11" fmla="*/ 188 h 474"/>
                    <a:gd name="T12" fmla="*/ 1663 w 2288"/>
                    <a:gd name="T13" fmla="*/ 78 h 474"/>
                    <a:gd name="T14" fmla="*/ 1147 w 2288"/>
                    <a:gd name="T15" fmla="*/ 0 h 474"/>
                    <a:gd name="T16" fmla="*/ 626 w 2288"/>
                    <a:gd name="T17" fmla="*/ 78 h 474"/>
                    <a:gd name="T18" fmla="*/ 664 w 2288"/>
                    <a:gd name="T19" fmla="*/ 188 h 474"/>
                    <a:gd name="T20" fmla="*/ 735 w 2288"/>
                    <a:gd name="T21" fmla="*/ 169 h 474"/>
                    <a:gd name="T22" fmla="*/ 735 w 2288"/>
                    <a:gd name="T23" fmla="*/ 260 h 474"/>
                    <a:gd name="T24" fmla="*/ 348 w 2288"/>
                    <a:gd name="T25" fmla="*/ 260 h 474"/>
                    <a:gd name="T26" fmla="*/ 239 w 2288"/>
                    <a:gd name="T27" fmla="*/ 292 h 474"/>
                    <a:gd name="T28" fmla="*/ 39 w 2288"/>
                    <a:gd name="T29" fmla="*/ 435 h 474"/>
                    <a:gd name="T30" fmla="*/ 0 w 2288"/>
                    <a:gd name="T31" fmla="*/ 474 h 474"/>
                    <a:gd name="T32" fmla="*/ 2288 w 2288"/>
                    <a:gd name="T33" fmla="*/ 474 h 474"/>
                    <a:gd name="T34" fmla="*/ 2256 w 2288"/>
                    <a:gd name="T35" fmla="*/ 435 h 474"/>
                    <a:gd name="T36" fmla="*/ 1450 w 2288"/>
                    <a:gd name="T37" fmla="*/ 260 h 474"/>
                    <a:gd name="T38" fmla="*/ 838 w 2288"/>
                    <a:gd name="T39" fmla="*/ 260 h 474"/>
                    <a:gd name="T40" fmla="*/ 838 w 2288"/>
                    <a:gd name="T41" fmla="*/ 143 h 474"/>
                    <a:gd name="T42" fmla="*/ 1147 w 2288"/>
                    <a:gd name="T43" fmla="*/ 117 h 474"/>
                    <a:gd name="T44" fmla="*/ 1450 w 2288"/>
                    <a:gd name="T45" fmla="*/ 143 h 474"/>
                    <a:gd name="T46" fmla="*/ 1450 w 2288"/>
                    <a:gd name="T47" fmla="*/ 260 h 474"/>
                    <a:gd name="T48" fmla="*/ 1450 w 2288"/>
                    <a:gd name="T49" fmla="*/ 260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88" h="474">
                      <a:moveTo>
                        <a:pt x="2256" y="435"/>
                      </a:moveTo>
                      <a:cubicBezTo>
                        <a:pt x="2050" y="292"/>
                        <a:pt x="2050" y="292"/>
                        <a:pt x="2050" y="292"/>
                      </a:cubicBezTo>
                      <a:cubicBezTo>
                        <a:pt x="2024" y="273"/>
                        <a:pt x="1979" y="260"/>
                        <a:pt x="1947" y="260"/>
                      </a:cubicBezTo>
                      <a:cubicBezTo>
                        <a:pt x="1553" y="260"/>
                        <a:pt x="1553" y="260"/>
                        <a:pt x="1553" y="260"/>
                      </a:cubicBezTo>
                      <a:cubicBezTo>
                        <a:pt x="1553" y="169"/>
                        <a:pt x="1553" y="169"/>
                        <a:pt x="1553" y="169"/>
                      </a:cubicBezTo>
                      <a:cubicBezTo>
                        <a:pt x="1579" y="175"/>
                        <a:pt x="1605" y="182"/>
                        <a:pt x="1631" y="188"/>
                      </a:cubicBezTo>
                      <a:cubicBezTo>
                        <a:pt x="1663" y="78"/>
                        <a:pt x="1663" y="78"/>
                        <a:pt x="1663" y="78"/>
                      </a:cubicBezTo>
                      <a:cubicBezTo>
                        <a:pt x="1470" y="13"/>
                        <a:pt x="1270" y="0"/>
                        <a:pt x="1147" y="0"/>
                      </a:cubicBezTo>
                      <a:cubicBezTo>
                        <a:pt x="1025" y="0"/>
                        <a:pt x="825" y="13"/>
                        <a:pt x="626" y="78"/>
                      </a:cubicBezTo>
                      <a:cubicBezTo>
                        <a:pt x="664" y="188"/>
                        <a:pt x="664" y="188"/>
                        <a:pt x="664" y="188"/>
                      </a:cubicBezTo>
                      <a:cubicBezTo>
                        <a:pt x="690" y="182"/>
                        <a:pt x="716" y="175"/>
                        <a:pt x="735" y="169"/>
                      </a:cubicBezTo>
                      <a:cubicBezTo>
                        <a:pt x="735" y="260"/>
                        <a:pt x="735" y="260"/>
                        <a:pt x="735" y="260"/>
                      </a:cubicBezTo>
                      <a:cubicBezTo>
                        <a:pt x="348" y="260"/>
                        <a:pt x="348" y="260"/>
                        <a:pt x="348" y="260"/>
                      </a:cubicBezTo>
                      <a:cubicBezTo>
                        <a:pt x="316" y="260"/>
                        <a:pt x="265" y="273"/>
                        <a:pt x="239" y="292"/>
                      </a:cubicBezTo>
                      <a:cubicBezTo>
                        <a:pt x="39" y="435"/>
                        <a:pt x="39" y="435"/>
                        <a:pt x="39" y="435"/>
                      </a:cubicBezTo>
                      <a:cubicBezTo>
                        <a:pt x="26" y="448"/>
                        <a:pt x="13" y="461"/>
                        <a:pt x="0" y="474"/>
                      </a:cubicBezTo>
                      <a:cubicBezTo>
                        <a:pt x="2288" y="474"/>
                        <a:pt x="2288" y="474"/>
                        <a:pt x="2288" y="474"/>
                      </a:cubicBezTo>
                      <a:cubicBezTo>
                        <a:pt x="2275" y="461"/>
                        <a:pt x="2269" y="448"/>
                        <a:pt x="2256" y="435"/>
                      </a:cubicBezTo>
                      <a:close/>
                      <a:moveTo>
                        <a:pt x="1450" y="260"/>
                      </a:moveTo>
                      <a:cubicBezTo>
                        <a:pt x="838" y="260"/>
                        <a:pt x="838" y="260"/>
                        <a:pt x="838" y="260"/>
                      </a:cubicBezTo>
                      <a:cubicBezTo>
                        <a:pt x="838" y="143"/>
                        <a:pt x="838" y="143"/>
                        <a:pt x="838" y="143"/>
                      </a:cubicBezTo>
                      <a:cubicBezTo>
                        <a:pt x="961" y="123"/>
                        <a:pt x="1070" y="117"/>
                        <a:pt x="1147" y="117"/>
                      </a:cubicBezTo>
                      <a:cubicBezTo>
                        <a:pt x="1225" y="117"/>
                        <a:pt x="1334" y="123"/>
                        <a:pt x="1450" y="143"/>
                      </a:cubicBezTo>
                      <a:cubicBezTo>
                        <a:pt x="1450" y="260"/>
                        <a:pt x="1450" y="260"/>
                        <a:pt x="1450" y="260"/>
                      </a:cubicBezTo>
                      <a:cubicBezTo>
                        <a:pt x="1450" y="260"/>
                        <a:pt x="1450" y="260"/>
                        <a:pt x="1450" y="260"/>
                      </a:cubicBezTo>
                      <a:close/>
                    </a:path>
                  </a:pathLst>
                </a:custGeom>
                <a:solidFill>
                  <a:schemeClr val="bg2">
                    <a:lumMod val="1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2200" kern="0" dirty="0">
                    <a:solidFill>
                      <a:srgbClr val="505050"/>
                    </a:solidFill>
                  </a:endParaRPr>
                </a:p>
              </p:txBody>
            </p:sp>
            <p:sp>
              <p:nvSpPr>
                <p:cNvPr id="16" name="Freeform 11"/>
                <p:cNvSpPr>
                  <a:spLocks/>
                </p:cNvSpPr>
                <p:nvPr/>
              </p:nvSpPr>
              <p:spPr bwMode="auto">
                <a:xfrm>
                  <a:off x="1346" y="2927"/>
                  <a:ext cx="5154" cy="1836"/>
                </a:xfrm>
                <a:custGeom>
                  <a:avLst/>
                  <a:gdLst>
                    <a:gd name="T0" fmla="*/ 1369 w 2179"/>
                    <a:gd name="T1" fmla="*/ 167 h 776"/>
                    <a:gd name="T2" fmla="*/ 816 w 2179"/>
                    <a:gd name="T3" fmla="*/ 167 h 776"/>
                    <a:gd name="T4" fmla="*/ 816 w 2179"/>
                    <a:gd name="T5" fmla="*/ 0 h 776"/>
                    <a:gd name="T6" fmla="*/ 0 w 2179"/>
                    <a:gd name="T7" fmla="*/ 0 h 776"/>
                    <a:gd name="T8" fmla="*/ 0 w 2179"/>
                    <a:gd name="T9" fmla="*/ 693 h 776"/>
                    <a:gd name="T10" fmla="*/ 90 w 2179"/>
                    <a:gd name="T11" fmla="*/ 776 h 776"/>
                    <a:gd name="T12" fmla="*/ 2095 w 2179"/>
                    <a:gd name="T13" fmla="*/ 776 h 776"/>
                    <a:gd name="T14" fmla="*/ 2179 w 2179"/>
                    <a:gd name="T15" fmla="*/ 693 h 776"/>
                    <a:gd name="T16" fmla="*/ 2179 w 2179"/>
                    <a:gd name="T17" fmla="*/ 0 h 776"/>
                    <a:gd name="T18" fmla="*/ 1369 w 2179"/>
                    <a:gd name="T19" fmla="*/ 0 h 776"/>
                    <a:gd name="T20" fmla="*/ 1369 w 2179"/>
                    <a:gd name="T21" fmla="*/ 167 h 776"/>
                    <a:gd name="T22" fmla="*/ 1369 w 2179"/>
                    <a:gd name="T23" fmla="*/ 167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9" h="776">
                      <a:moveTo>
                        <a:pt x="1369" y="167"/>
                      </a:moveTo>
                      <a:cubicBezTo>
                        <a:pt x="816" y="167"/>
                        <a:pt x="816" y="167"/>
                        <a:pt x="816" y="167"/>
                      </a:cubicBezTo>
                      <a:cubicBezTo>
                        <a:pt x="816" y="0"/>
                        <a:pt x="816" y="0"/>
                        <a:pt x="816" y="0"/>
                      </a:cubicBezTo>
                      <a:cubicBezTo>
                        <a:pt x="0" y="0"/>
                        <a:pt x="0" y="0"/>
                        <a:pt x="0" y="0"/>
                      </a:cubicBezTo>
                      <a:cubicBezTo>
                        <a:pt x="0" y="693"/>
                        <a:pt x="0" y="693"/>
                        <a:pt x="0" y="693"/>
                      </a:cubicBezTo>
                      <a:cubicBezTo>
                        <a:pt x="0" y="738"/>
                        <a:pt x="39" y="776"/>
                        <a:pt x="90" y="776"/>
                      </a:cubicBezTo>
                      <a:cubicBezTo>
                        <a:pt x="2095" y="776"/>
                        <a:pt x="2095" y="776"/>
                        <a:pt x="2095" y="776"/>
                      </a:cubicBezTo>
                      <a:cubicBezTo>
                        <a:pt x="2140" y="776"/>
                        <a:pt x="2179" y="738"/>
                        <a:pt x="2179" y="693"/>
                      </a:cubicBezTo>
                      <a:cubicBezTo>
                        <a:pt x="2179" y="0"/>
                        <a:pt x="2179" y="0"/>
                        <a:pt x="2179" y="0"/>
                      </a:cubicBezTo>
                      <a:cubicBezTo>
                        <a:pt x="1369" y="0"/>
                        <a:pt x="1369" y="0"/>
                        <a:pt x="1369" y="0"/>
                      </a:cubicBezTo>
                      <a:cubicBezTo>
                        <a:pt x="1369" y="167"/>
                        <a:pt x="1369" y="167"/>
                        <a:pt x="1369" y="167"/>
                      </a:cubicBezTo>
                      <a:cubicBezTo>
                        <a:pt x="1369" y="167"/>
                        <a:pt x="1369" y="167"/>
                        <a:pt x="1369" y="167"/>
                      </a:cubicBezTo>
                      <a:close/>
                    </a:path>
                  </a:pathLst>
                </a:custGeom>
                <a:solidFill>
                  <a:schemeClr val="bg2">
                    <a:lumMod val="1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2200" kern="0" dirty="0">
                    <a:solidFill>
                      <a:srgbClr val="505050"/>
                    </a:solidFill>
                  </a:endParaRPr>
                </a:p>
              </p:txBody>
            </p:sp>
          </p:grpSp>
          <p:sp>
            <p:nvSpPr>
              <p:cNvPr id="13" name="Rectangle 7"/>
              <p:cNvSpPr/>
              <p:nvPr/>
            </p:nvSpPr>
            <p:spPr bwMode="auto">
              <a:xfrm>
                <a:off x="525203" y="3109913"/>
                <a:ext cx="249090" cy="60187"/>
              </a:xfrm>
              <a:prstGeom prst="rect">
                <a:avLst/>
              </a:prstGeom>
              <a:solidFill>
                <a:schemeClr val="bg2">
                  <a:lumMod val="10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1" name="Freeform 19"/>
            <p:cNvSpPr>
              <a:spLocks/>
            </p:cNvSpPr>
            <p:nvPr/>
          </p:nvSpPr>
          <p:spPr bwMode="auto">
            <a:xfrm>
              <a:off x="262685" y="3967047"/>
              <a:ext cx="766015" cy="700016"/>
            </a:xfrm>
            <a:custGeom>
              <a:avLst/>
              <a:gdLst>
                <a:gd name="T0" fmla="*/ 2120 w 2120"/>
                <a:gd name="T1" fmla="*/ 962 h 1936"/>
                <a:gd name="T2" fmla="*/ 1834 w 2120"/>
                <a:gd name="T3" fmla="*/ 559 h 1936"/>
                <a:gd name="T4" fmla="*/ 1060 w 2120"/>
                <a:gd name="T5" fmla="*/ 0 h 1936"/>
                <a:gd name="T6" fmla="*/ 286 w 2120"/>
                <a:gd name="T7" fmla="*/ 559 h 1936"/>
                <a:gd name="T8" fmla="*/ 0 w 2120"/>
                <a:gd name="T9" fmla="*/ 962 h 1936"/>
                <a:gd name="T10" fmla="*/ 429 w 2120"/>
                <a:gd name="T11" fmla="*/ 1384 h 1936"/>
                <a:gd name="T12" fmla="*/ 429 w 2120"/>
                <a:gd name="T13" fmla="*/ 612 h 1936"/>
                <a:gd name="T14" fmla="*/ 1060 w 2120"/>
                <a:gd name="T15" fmla="*/ 149 h 1936"/>
                <a:gd name="T16" fmla="*/ 1691 w 2120"/>
                <a:gd name="T17" fmla="*/ 606 h 1936"/>
                <a:gd name="T18" fmla="*/ 1691 w 2120"/>
                <a:gd name="T19" fmla="*/ 1331 h 1936"/>
                <a:gd name="T20" fmla="*/ 1251 w 2120"/>
                <a:gd name="T21" fmla="*/ 1758 h 1936"/>
                <a:gd name="T22" fmla="*/ 1126 w 2120"/>
                <a:gd name="T23" fmla="*/ 1675 h 1936"/>
                <a:gd name="T24" fmla="*/ 994 w 2120"/>
                <a:gd name="T25" fmla="*/ 1806 h 1936"/>
                <a:gd name="T26" fmla="*/ 1126 w 2120"/>
                <a:gd name="T27" fmla="*/ 1936 h 1936"/>
                <a:gd name="T28" fmla="*/ 1251 w 2120"/>
                <a:gd name="T29" fmla="*/ 1847 h 1936"/>
                <a:gd name="T30" fmla="*/ 1769 w 2120"/>
                <a:gd name="T31" fmla="*/ 1378 h 1936"/>
                <a:gd name="T32" fmla="*/ 2120 w 2120"/>
                <a:gd name="T33" fmla="*/ 962 h 1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20" h="1936">
                  <a:moveTo>
                    <a:pt x="2120" y="962"/>
                  </a:moveTo>
                  <a:cubicBezTo>
                    <a:pt x="2120" y="772"/>
                    <a:pt x="2001" y="618"/>
                    <a:pt x="1834" y="559"/>
                  </a:cubicBezTo>
                  <a:cubicBezTo>
                    <a:pt x="1727" y="238"/>
                    <a:pt x="1423" y="0"/>
                    <a:pt x="1060" y="0"/>
                  </a:cubicBezTo>
                  <a:cubicBezTo>
                    <a:pt x="703" y="0"/>
                    <a:pt x="393" y="232"/>
                    <a:pt x="286" y="559"/>
                  </a:cubicBezTo>
                  <a:cubicBezTo>
                    <a:pt x="119" y="618"/>
                    <a:pt x="0" y="772"/>
                    <a:pt x="0" y="962"/>
                  </a:cubicBezTo>
                  <a:cubicBezTo>
                    <a:pt x="0" y="1194"/>
                    <a:pt x="191" y="1384"/>
                    <a:pt x="429" y="1384"/>
                  </a:cubicBezTo>
                  <a:cubicBezTo>
                    <a:pt x="429" y="612"/>
                    <a:pt x="429" y="612"/>
                    <a:pt x="429" y="612"/>
                  </a:cubicBezTo>
                  <a:cubicBezTo>
                    <a:pt x="512" y="339"/>
                    <a:pt x="762" y="149"/>
                    <a:pt x="1060" y="149"/>
                  </a:cubicBezTo>
                  <a:cubicBezTo>
                    <a:pt x="1358" y="149"/>
                    <a:pt x="1608" y="339"/>
                    <a:pt x="1691" y="606"/>
                  </a:cubicBezTo>
                  <a:cubicBezTo>
                    <a:pt x="1691" y="1331"/>
                    <a:pt x="1691" y="1331"/>
                    <a:pt x="1691" y="1331"/>
                  </a:cubicBezTo>
                  <a:cubicBezTo>
                    <a:pt x="1661" y="1396"/>
                    <a:pt x="1483" y="1752"/>
                    <a:pt x="1251" y="1758"/>
                  </a:cubicBezTo>
                  <a:cubicBezTo>
                    <a:pt x="1233" y="1711"/>
                    <a:pt x="1185" y="1675"/>
                    <a:pt x="1126" y="1675"/>
                  </a:cubicBezTo>
                  <a:cubicBezTo>
                    <a:pt x="1054" y="1675"/>
                    <a:pt x="994" y="1735"/>
                    <a:pt x="994" y="1806"/>
                  </a:cubicBezTo>
                  <a:cubicBezTo>
                    <a:pt x="994" y="1877"/>
                    <a:pt x="1054" y="1936"/>
                    <a:pt x="1126" y="1936"/>
                  </a:cubicBezTo>
                  <a:cubicBezTo>
                    <a:pt x="1185" y="1936"/>
                    <a:pt x="1233" y="1901"/>
                    <a:pt x="1251" y="1847"/>
                  </a:cubicBezTo>
                  <a:cubicBezTo>
                    <a:pt x="1530" y="1841"/>
                    <a:pt x="1727" y="1467"/>
                    <a:pt x="1769" y="1378"/>
                  </a:cubicBezTo>
                  <a:cubicBezTo>
                    <a:pt x="1971" y="1343"/>
                    <a:pt x="2120" y="1170"/>
                    <a:pt x="2120" y="962"/>
                  </a:cubicBezTo>
                  <a:close/>
                </a:path>
              </a:pathLst>
            </a:custGeom>
            <a:grpFill/>
            <a:ln>
              <a:noFill/>
            </a:ln>
          </p:spPr>
          <p:txBody>
            <a:bodyPr vert="horz" wrap="square" lIns="91414" tIns="45706" rIns="91414" bIns="45706" numCol="1" anchor="t" anchorCtr="0" compatLnSpc="1">
              <a:prstTxWarp prst="textNoShape">
                <a:avLst/>
              </a:prstTxWarp>
            </a:bodyPr>
            <a:lstStyle/>
            <a:p>
              <a:pPr defTabSz="932384">
                <a:defRPr/>
              </a:pPr>
              <a:endParaRPr lang="en-US" sz="2200" kern="0" dirty="0">
                <a:solidFill>
                  <a:srgbClr val="505050"/>
                </a:solidFill>
              </a:endParaRPr>
            </a:p>
          </p:txBody>
        </p:sp>
      </p:grpSp>
      <p:grpSp>
        <p:nvGrpSpPr>
          <p:cNvPr id="17" name="Group 20"/>
          <p:cNvGrpSpPr/>
          <p:nvPr/>
        </p:nvGrpSpPr>
        <p:grpSpPr>
          <a:xfrm>
            <a:off x="329151" y="5163048"/>
            <a:ext cx="3231425" cy="1251219"/>
            <a:chOff x="327478" y="5262456"/>
            <a:chExt cx="3232346" cy="1251574"/>
          </a:xfrm>
        </p:grpSpPr>
        <p:sp>
          <p:nvSpPr>
            <p:cNvPr id="18" name="Rectangle 21"/>
            <p:cNvSpPr/>
            <p:nvPr/>
          </p:nvSpPr>
          <p:spPr bwMode="auto">
            <a:xfrm>
              <a:off x="1219475" y="5262456"/>
              <a:ext cx="2340349" cy="125157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14" tIns="91414" rIns="91414" bIns="91414" numCol="1" spcCol="0" rtlCol="0" fromWordArt="0" anchor="ctr" anchorCtr="0" forceAA="0" compatLnSpc="1">
              <a:prstTxWarp prst="textNoShape">
                <a:avLst/>
              </a:prstTxWarp>
              <a:noAutofit/>
            </a:bodyPr>
            <a:lstStyle/>
            <a:p>
              <a:pPr defTabSz="932114" fontAlgn="base">
                <a:lnSpc>
                  <a:spcPct val="90000"/>
                </a:lnSpc>
                <a:spcBef>
                  <a:spcPct val="0"/>
                </a:spcBef>
                <a:spcAft>
                  <a:spcPct val="0"/>
                </a:spcAft>
                <a:defRPr/>
              </a:pPr>
              <a:r>
                <a:rPr lang="en-US" sz="1800" kern="0" dirty="0">
                  <a:solidFill>
                    <a:schemeClr val="bg2">
                      <a:lumMod val="10000"/>
                    </a:schemeClr>
                  </a:solidFill>
                </a:rPr>
                <a:t>Create cloud subscription + partner offer</a:t>
              </a:r>
            </a:p>
          </p:txBody>
        </p:sp>
        <p:sp>
          <p:nvSpPr>
            <p:cNvPr id="19" name="Oval 22"/>
            <p:cNvSpPr/>
            <p:nvPr/>
          </p:nvSpPr>
          <p:spPr bwMode="auto">
            <a:xfrm>
              <a:off x="327478" y="5503037"/>
              <a:ext cx="770413" cy="770413"/>
            </a:xfrm>
            <a:prstGeom prst="ellipse">
              <a:avLst/>
            </a:prstGeom>
            <a:solidFill>
              <a:srgbClr val="FFC000"/>
            </a:solidFill>
            <a:ln w="3810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US" sz="3598" kern="0" dirty="0">
                  <a:solidFill>
                    <a:schemeClr val="bg2">
                      <a:lumMod val="10000"/>
                    </a:schemeClr>
                  </a:solidFill>
                  <a:ea typeface="Segoe UI" pitchFamily="34" charset="0"/>
                  <a:cs typeface="Segoe UI" pitchFamily="34" charset="0"/>
                </a:rPr>
                <a:t>1</a:t>
              </a:r>
            </a:p>
          </p:txBody>
        </p:sp>
      </p:grpSp>
      <p:grpSp>
        <p:nvGrpSpPr>
          <p:cNvPr id="20" name="Group 28"/>
          <p:cNvGrpSpPr/>
          <p:nvPr/>
        </p:nvGrpSpPr>
        <p:grpSpPr>
          <a:xfrm>
            <a:off x="3541192" y="5163048"/>
            <a:ext cx="3163698" cy="1251219"/>
            <a:chOff x="471451" y="5262456"/>
            <a:chExt cx="3164598" cy="1251574"/>
          </a:xfrm>
        </p:grpSpPr>
        <p:sp>
          <p:nvSpPr>
            <p:cNvPr id="21" name="Rectangle 29"/>
            <p:cNvSpPr/>
            <p:nvPr/>
          </p:nvSpPr>
          <p:spPr bwMode="auto">
            <a:xfrm>
              <a:off x="1295700" y="5262456"/>
              <a:ext cx="2340349" cy="125157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14" tIns="91414" rIns="91414" bIns="91414" numCol="1" spcCol="0" rtlCol="0" fromWordArt="0" anchor="ctr" anchorCtr="0" forceAA="0" compatLnSpc="1">
              <a:prstTxWarp prst="textNoShape">
                <a:avLst/>
              </a:prstTxWarp>
              <a:noAutofit/>
            </a:bodyPr>
            <a:lstStyle/>
            <a:p>
              <a:pPr defTabSz="932114" fontAlgn="base">
                <a:lnSpc>
                  <a:spcPct val="90000"/>
                </a:lnSpc>
                <a:spcBef>
                  <a:spcPct val="0"/>
                </a:spcBef>
                <a:spcAft>
                  <a:spcPct val="0"/>
                </a:spcAft>
                <a:defRPr/>
              </a:pPr>
              <a:r>
                <a:rPr lang="en-US" sz="1800" kern="0" dirty="0">
                  <a:solidFill>
                    <a:schemeClr val="bg2">
                      <a:lumMod val="10000"/>
                    </a:schemeClr>
                  </a:solidFill>
                </a:rPr>
                <a:t>Set package </a:t>
              </a:r>
              <a:br>
                <a:rPr lang="en-US" sz="1800" kern="0" dirty="0">
                  <a:solidFill>
                    <a:schemeClr val="bg2">
                      <a:lumMod val="10000"/>
                    </a:schemeClr>
                  </a:solidFill>
                </a:rPr>
              </a:br>
              <a:r>
                <a:rPr lang="en-US" sz="1800" kern="0" dirty="0">
                  <a:solidFill>
                    <a:schemeClr val="bg2">
                      <a:lumMod val="10000"/>
                    </a:schemeClr>
                  </a:solidFill>
                </a:rPr>
                <a:t>price and sell </a:t>
              </a:r>
              <a:br>
                <a:rPr lang="en-US" sz="1800" kern="0" dirty="0">
                  <a:solidFill>
                    <a:schemeClr val="bg2">
                      <a:lumMod val="10000"/>
                    </a:schemeClr>
                  </a:solidFill>
                </a:rPr>
              </a:br>
              <a:r>
                <a:rPr lang="en-US" sz="1800" kern="0" dirty="0">
                  <a:solidFill>
                    <a:schemeClr val="bg2">
                      <a:lumMod val="10000"/>
                    </a:schemeClr>
                  </a:solidFill>
                </a:rPr>
                <a:t>to customers</a:t>
              </a:r>
            </a:p>
          </p:txBody>
        </p:sp>
        <p:sp>
          <p:nvSpPr>
            <p:cNvPr id="22" name="Oval 30"/>
            <p:cNvSpPr/>
            <p:nvPr/>
          </p:nvSpPr>
          <p:spPr bwMode="auto">
            <a:xfrm>
              <a:off x="471451" y="5503037"/>
              <a:ext cx="770413" cy="770413"/>
            </a:xfrm>
            <a:prstGeom prst="ellipse">
              <a:avLst/>
            </a:prstGeom>
            <a:solidFill>
              <a:srgbClr val="FFC000"/>
            </a:solidFill>
            <a:ln w="3810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US" sz="3598" kern="0" dirty="0">
                  <a:solidFill>
                    <a:schemeClr val="bg2">
                      <a:lumMod val="10000"/>
                    </a:schemeClr>
                  </a:solidFill>
                  <a:ea typeface="Segoe UI" pitchFamily="34" charset="0"/>
                  <a:cs typeface="Segoe UI" pitchFamily="34" charset="0"/>
                </a:rPr>
                <a:t>2</a:t>
              </a:r>
            </a:p>
          </p:txBody>
        </p:sp>
      </p:grpSp>
      <p:grpSp>
        <p:nvGrpSpPr>
          <p:cNvPr id="23" name="Group 34"/>
          <p:cNvGrpSpPr/>
          <p:nvPr/>
        </p:nvGrpSpPr>
        <p:grpSpPr>
          <a:xfrm>
            <a:off x="6537190" y="5163048"/>
            <a:ext cx="3189098" cy="1251219"/>
            <a:chOff x="446044" y="5262456"/>
            <a:chExt cx="3190005" cy="1251574"/>
          </a:xfrm>
        </p:grpSpPr>
        <p:sp>
          <p:nvSpPr>
            <p:cNvPr id="24" name="Rectangle 35"/>
            <p:cNvSpPr/>
            <p:nvPr/>
          </p:nvSpPr>
          <p:spPr bwMode="auto">
            <a:xfrm>
              <a:off x="1295700" y="5262456"/>
              <a:ext cx="2340349" cy="125157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14" tIns="91414" rIns="91414" bIns="91414" numCol="1" spcCol="0" rtlCol="0" fromWordArt="0" anchor="ctr" anchorCtr="0" forceAA="0" compatLnSpc="1">
              <a:prstTxWarp prst="textNoShape">
                <a:avLst/>
              </a:prstTxWarp>
              <a:noAutofit/>
            </a:bodyPr>
            <a:lstStyle/>
            <a:p>
              <a:pPr defTabSz="932114" fontAlgn="base">
                <a:lnSpc>
                  <a:spcPct val="90000"/>
                </a:lnSpc>
                <a:spcBef>
                  <a:spcPct val="0"/>
                </a:spcBef>
                <a:spcAft>
                  <a:spcPct val="0"/>
                </a:spcAft>
                <a:defRPr/>
              </a:pPr>
              <a:r>
                <a:rPr lang="en-US" sz="1800" kern="0" dirty="0">
                  <a:solidFill>
                    <a:schemeClr val="bg2">
                      <a:lumMod val="10000"/>
                    </a:schemeClr>
                  </a:solidFill>
                </a:rPr>
                <a:t>Place order </a:t>
              </a:r>
              <a:br>
                <a:rPr lang="en-US" sz="1800" kern="0" dirty="0">
                  <a:solidFill>
                    <a:schemeClr val="bg2">
                      <a:lumMod val="10000"/>
                    </a:schemeClr>
                  </a:solidFill>
                </a:rPr>
              </a:br>
              <a:r>
                <a:rPr lang="en-US" sz="1800" kern="0" dirty="0">
                  <a:solidFill>
                    <a:schemeClr val="bg2">
                      <a:lumMod val="10000"/>
                    </a:schemeClr>
                  </a:solidFill>
                </a:rPr>
                <a:t>for Microsoft </a:t>
              </a:r>
              <a:br>
                <a:rPr lang="en-US" sz="1800" kern="0" dirty="0">
                  <a:solidFill>
                    <a:schemeClr val="bg2">
                      <a:lumMod val="10000"/>
                    </a:schemeClr>
                  </a:solidFill>
                </a:rPr>
              </a:br>
              <a:r>
                <a:rPr lang="en-US" sz="1800" kern="0" dirty="0">
                  <a:solidFill>
                    <a:schemeClr val="bg2">
                      <a:lumMod val="10000"/>
                    </a:schemeClr>
                  </a:solidFill>
                </a:rPr>
                <a:t>Cloud Services</a:t>
              </a:r>
            </a:p>
          </p:txBody>
        </p:sp>
        <p:sp>
          <p:nvSpPr>
            <p:cNvPr id="25" name="Oval 36"/>
            <p:cNvSpPr/>
            <p:nvPr/>
          </p:nvSpPr>
          <p:spPr bwMode="auto">
            <a:xfrm>
              <a:off x="446044" y="5503037"/>
              <a:ext cx="770413" cy="770413"/>
            </a:xfrm>
            <a:prstGeom prst="ellipse">
              <a:avLst/>
            </a:prstGeom>
            <a:solidFill>
              <a:srgbClr val="FFC000"/>
            </a:solidFill>
            <a:ln w="3810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US" sz="3598" kern="0" dirty="0">
                  <a:solidFill>
                    <a:schemeClr val="bg2">
                      <a:lumMod val="10000"/>
                    </a:schemeClr>
                  </a:solidFill>
                  <a:ea typeface="Segoe UI" pitchFamily="34" charset="0"/>
                  <a:cs typeface="Segoe UI" pitchFamily="34" charset="0"/>
                </a:rPr>
                <a:t>3</a:t>
              </a:r>
            </a:p>
          </p:txBody>
        </p:sp>
      </p:grpSp>
      <p:grpSp>
        <p:nvGrpSpPr>
          <p:cNvPr id="26" name="Group 41"/>
          <p:cNvGrpSpPr/>
          <p:nvPr/>
        </p:nvGrpSpPr>
        <p:grpSpPr>
          <a:xfrm>
            <a:off x="9760496" y="5163048"/>
            <a:ext cx="3163698" cy="1251219"/>
            <a:chOff x="471451" y="5262456"/>
            <a:chExt cx="3164598" cy="1251574"/>
          </a:xfrm>
        </p:grpSpPr>
        <p:sp>
          <p:nvSpPr>
            <p:cNvPr id="27" name="Rectangle 43"/>
            <p:cNvSpPr/>
            <p:nvPr/>
          </p:nvSpPr>
          <p:spPr bwMode="auto">
            <a:xfrm>
              <a:off x="1295700" y="5262456"/>
              <a:ext cx="2340349" cy="125157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14" tIns="91414" rIns="91414" bIns="91414" numCol="1" spcCol="0" rtlCol="0" fromWordArt="0" anchor="ctr" anchorCtr="0" forceAA="0" compatLnSpc="1">
              <a:prstTxWarp prst="textNoShape">
                <a:avLst/>
              </a:prstTxWarp>
              <a:noAutofit/>
            </a:bodyPr>
            <a:lstStyle/>
            <a:p>
              <a:pPr defTabSz="932114" fontAlgn="base">
                <a:lnSpc>
                  <a:spcPct val="90000"/>
                </a:lnSpc>
                <a:spcBef>
                  <a:spcPct val="0"/>
                </a:spcBef>
                <a:spcAft>
                  <a:spcPct val="0"/>
                </a:spcAft>
                <a:defRPr/>
              </a:pPr>
              <a:r>
                <a:rPr lang="en-US" sz="1800" kern="0" dirty="0">
                  <a:solidFill>
                    <a:schemeClr val="bg2">
                      <a:lumMod val="10000"/>
                    </a:schemeClr>
                  </a:solidFill>
                </a:rPr>
                <a:t>Offer single packaged </a:t>
              </a:r>
              <a:br>
                <a:rPr lang="en-US" sz="1800" kern="0" dirty="0">
                  <a:solidFill>
                    <a:schemeClr val="bg2">
                      <a:lumMod val="10000"/>
                    </a:schemeClr>
                  </a:solidFill>
                </a:rPr>
              </a:br>
              <a:r>
                <a:rPr lang="en-US" sz="1800" kern="0" dirty="0">
                  <a:solidFill>
                    <a:schemeClr val="bg2">
                      <a:lumMod val="10000"/>
                    </a:schemeClr>
                  </a:solidFill>
                </a:rPr>
                <a:t>solution</a:t>
              </a:r>
            </a:p>
          </p:txBody>
        </p:sp>
        <p:sp>
          <p:nvSpPr>
            <p:cNvPr id="28" name="Oval 47"/>
            <p:cNvSpPr/>
            <p:nvPr/>
          </p:nvSpPr>
          <p:spPr bwMode="auto">
            <a:xfrm>
              <a:off x="471451" y="5503037"/>
              <a:ext cx="770413" cy="770413"/>
            </a:xfrm>
            <a:prstGeom prst="ellipse">
              <a:avLst/>
            </a:prstGeom>
            <a:solidFill>
              <a:srgbClr val="FFC000"/>
            </a:solidFill>
            <a:ln w="3810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US" sz="3598" kern="0" dirty="0">
                  <a:solidFill>
                    <a:schemeClr val="bg2">
                      <a:lumMod val="10000"/>
                    </a:schemeClr>
                  </a:solidFill>
                  <a:ea typeface="Segoe UI" pitchFamily="34" charset="0"/>
                  <a:cs typeface="Segoe UI" pitchFamily="34" charset="0"/>
                </a:rPr>
                <a:t>4</a:t>
              </a:r>
            </a:p>
          </p:txBody>
        </p:sp>
      </p:grpSp>
      <p:sp>
        <p:nvSpPr>
          <p:cNvPr id="29" name="Freeform 23"/>
          <p:cNvSpPr>
            <a:spLocks noEditPoints="1"/>
          </p:cNvSpPr>
          <p:nvPr/>
        </p:nvSpPr>
        <p:spPr bwMode="auto">
          <a:xfrm>
            <a:off x="2963163" y="5596047"/>
            <a:ext cx="404925" cy="433266"/>
          </a:xfrm>
          <a:custGeom>
            <a:avLst/>
            <a:gdLst>
              <a:gd name="T0" fmla="*/ 1398 w 1406"/>
              <a:gd name="T1" fmla="*/ 501 h 1505"/>
              <a:gd name="T2" fmla="*/ 680 w 1406"/>
              <a:gd name="T3" fmla="*/ 0 h 1505"/>
              <a:gd name="T4" fmla="*/ 680 w 1406"/>
              <a:gd name="T5" fmla="*/ 308 h 1505"/>
              <a:gd name="T6" fmla="*/ 8 w 1406"/>
              <a:gd name="T7" fmla="*/ 308 h 1505"/>
              <a:gd name="T8" fmla="*/ 8 w 1406"/>
              <a:gd name="T9" fmla="*/ 687 h 1505"/>
              <a:gd name="T10" fmla="*/ 440 w 1406"/>
              <a:gd name="T11" fmla="*/ 687 h 1505"/>
              <a:gd name="T12" fmla="*/ 680 w 1406"/>
              <a:gd name="T13" fmla="*/ 524 h 1505"/>
              <a:gd name="T14" fmla="*/ 680 w 1406"/>
              <a:gd name="T15" fmla="*/ 1003 h 1505"/>
              <a:gd name="T16" fmla="*/ 1398 w 1406"/>
              <a:gd name="T17" fmla="*/ 501 h 1505"/>
              <a:gd name="T18" fmla="*/ 147 w 1406"/>
              <a:gd name="T19" fmla="*/ 980 h 1505"/>
              <a:gd name="T20" fmla="*/ 680 w 1406"/>
              <a:gd name="T21" fmla="*/ 1327 h 1505"/>
              <a:gd name="T22" fmla="*/ 680 w 1406"/>
              <a:gd name="T23" fmla="*/ 1096 h 1505"/>
              <a:gd name="T24" fmla="*/ 1375 w 1406"/>
              <a:gd name="T25" fmla="*/ 1096 h 1505"/>
              <a:gd name="T26" fmla="*/ 1375 w 1406"/>
              <a:gd name="T27" fmla="*/ 1181 h 1505"/>
              <a:gd name="T28" fmla="*/ 773 w 1406"/>
              <a:gd name="T29" fmla="*/ 1181 h 1505"/>
              <a:gd name="T30" fmla="*/ 773 w 1406"/>
              <a:gd name="T31" fmla="*/ 1505 h 1505"/>
              <a:gd name="T32" fmla="*/ 0 w 1406"/>
              <a:gd name="T33" fmla="*/ 980 h 1505"/>
              <a:gd name="T34" fmla="*/ 147 w 1406"/>
              <a:gd name="T35" fmla="*/ 980 h 1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6" h="1505">
                <a:moveTo>
                  <a:pt x="1398" y="501"/>
                </a:moveTo>
                <a:cubicBezTo>
                  <a:pt x="680" y="0"/>
                  <a:pt x="680" y="0"/>
                  <a:pt x="680" y="0"/>
                </a:cubicBezTo>
                <a:cubicBezTo>
                  <a:pt x="680" y="308"/>
                  <a:pt x="680" y="308"/>
                  <a:pt x="680" y="308"/>
                </a:cubicBezTo>
                <a:cubicBezTo>
                  <a:pt x="8" y="308"/>
                  <a:pt x="8" y="308"/>
                  <a:pt x="8" y="308"/>
                </a:cubicBezTo>
                <a:cubicBezTo>
                  <a:pt x="8" y="687"/>
                  <a:pt x="8" y="687"/>
                  <a:pt x="8" y="687"/>
                </a:cubicBezTo>
                <a:cubicBezTo>
                  <a:pt x="440" y="687"/>
                  <a:pt x="440" y="687"/>
                  <a:pt x="440" y="687"/>
                </a:cubicBezTo>
                <a:cubicBezTo>
                  <a:pt x="680" y="524"/>
                  <a:pt x="680" y="524"/>
                  <a:pt x="680" y="524"/>
                </a:cubicBezTo>
                <a:cubicBezTo>
                  <a:pt x="680" y="1003"/>
                  <a:pt x="680" y="1003"/>
                  <a:pt x="680" y="1003"/>
                </a:cubicBezTo>
                <a:cubicBezTo>
                  <a:pt x="1398" y="501"/>
                  <a:pt x="1398" y="501"/>
                  <a:pt x="1398" y="501"/>
                </a:cubicBezTo>
                <a:close/>
                <a:moveTo>
                  <a:pt x="147" y="980"/>
                </a:moveTo>
                <a:cubicBezTo>
                  <a:pt x="680" y="1327"/>
                  <a:pt x="680" y="1327"/>
                  <a:pt x="680" y="1327"/>
                </a:cubicBezTo>
                <a:cubicBezTo>
                  <a:pt x="680" y="1096"/>
                  <a:pt x="680" y="1096"/>
                  <a:pt x="680" y="1096"/>
                </a:cubicBezTo>
                <a:cubicBezTo>
                  <a:pt x="1375" y="1096"/>
                  <a:pt x="1375" y="1096"/>
                  <a:pt x="1375" y="1096"/>
                </a:cubicBezTo>
                <a:cubicBezTo>
                  <a:pt x="1406" y="1096"/>
                  <a:pt x="1406" y="1181"/>
                  <a:pt x="1375" y="1181"/>
                </a:cubicBezTo>
                <a:cubicBezTo>
                  <a:pt x="773" y="1181"/>
                  <a:pt x="773" y="1181"/>
                  <a:pt x="773" y="1181"/>
                </a:cubicBezTo>
                <a:cubicBezTo>
                  <a:pt x="773" y="1505"/>
                  <a:pt x="773" y="1505"/>
                  <a:pt x="773" y="1505"/>
                </a:cubicBezTo>
                <a:cubicBezTo>
                  <a:pt x="0" y="980"/>
                  <a:pt x="0" y="980"/>
                  <a:pt x="0" y="980"/>
                </a:cubicBezTo>
                <a:cubicBezTo>
                  <a:pt x="147" y="980"/>
                  <a:pt x="147" y="980"/>
                  <a:pt x="147" y="980"/>
                </a:cubicBezTo>
                <a:close/>
              </a:path>
            </a:pathLst>
          </a:custGeom>
          <a:solidFill>
            <a:schemeClr val="bg2">
              <a:lumMod val="10000"/>
            </a:schemeClr>
          </a:solidFill>
          <a:ln>
            <a:noFill/>
          </a:ln>
        </p:spPr>
        <p:txBody>
          <a:bodyPr vert="horz" wrap="square" lIns="91414" tIns="45706" rIns="91414" bIns="45706" numCol="1" anchor="t" anchorCtr="0" compatLnSpc="1">
            <a:prstTxWarp prst="textNoShape">
              <a:avLst/>
            </a:prstTxWarp>
          </a:bodyPr>
          <a:lstStyle/>
          <a:p>
            <a:pPr defTabSz="932384">
              <a:defRPr/>
            </a:pPr>
            <a:endParaRPr lang="en-US" sz="2200" kern="0" dirty="0">
              <a:solidFill>
                <a:srgbClr val="505050"/>
              </a:solidFill>
            </a:endParaRPr>
          </a:p>
        </p:txBody>
      </p:sp>
      <p:sp>
        <p:nvSpPr>
          <p:cNvPr id="30" name="Right Arrow 29"/>
          <p:cNvSpPr/>
          <p:nvPr/>
        </p:nvSpPr>
        <p:spPr bwMode="auto">
          <a:xfrm>
            <a:off x="5971454" y="5616446"/>
            <a:ext cx="372731" cy="344419"/>
          </a:xfrm>
          <a:prstGeom prst="rightArrow">
            <a:avLst>
              <a:gd name="adj1" fmla="val 43088"/>
              <a:gd name="adj2" fmla="val 62902"/>
            </a:avLst>
          </a:prstGeom>
          <a:solidFill>
            <a:schemeClr val="bg2">
              <a:lumMod val="10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31" name="Freeform 27"/>
          <p:cNvSpPr>
            <a:spLocks noEditPoints="1"/>
          </p:cNvSpPr>
          <p:nvPr/>
        </p:nvSpPr>
        <p:spPr bwMode="auto">
          <a:xfrm>
            <a:off x="9165673" y="5563429"/>
            <a:ext cx="252990" cy="450455"/>
          </a:xfrm>
          <a:custGeom>
            <a:avLst/>
            <a:gdLst>
              <a:gd name="T0" fmla="*/ 482 w 1266"/>
              <a:gd name="T1" fmla="*/ 1960 h 2257"/>
              <a:gd name="T2" fmla="*/ 324 w 1266"/>
              <a:gd name="T3" fmla="*/ 1807 h 2257"/>
              <a:gd name="T4" fmla="*/ 603 w 1266"/>
              <a:gd name="T5" fmla="*/ 1125 h 2257"/>
              <a:gd name="T6" fmla="*/ 324 w 1266"/>
              <a:gd name="T7" fmla="*/ 450 h 2257"/>
              <a:gd name="T8" fmla="*/ 482 w 1266"/>
              <a:gd name="T9" fmla="*/ 291 h 2257"/>
              <a:gd name="T10" fmla="*/ 822 w 1266"/>
              <a:gd name="T11" fmla="*/ 1125 h 2257"/>
              <a:gd name="T12" fmla="*/ 482 w 1266"/>
              <a:gd name="T13" fmla="*/ 1960 h 2257"/>
              <a:gd name="T14" fmla="*/ 1266 w 1266"/>
              <a:gd name="T15" fmla="*/ 1125 h 2257"/>
              <a:gd name="T16" fmla="*/ 800 w 1266"/>
              <a:gd name="T17" fmla="*/ 0 h 2257"/>
              <a:gd name="T18" fmla="*/ 647 w 1266"/>
              <a:gd name="T19" fmla="*/ 153 h 2257"/>
              <a:gd name="T20" fmla="*/ 1047 w 1266"/>
              <a:gd name="T21" fmla="*/ 1125 h 2257"/>
              <a:gd name="T22" fmla="*/ 647 w 1266"/>
              <a:gd name="T23" fmla="*/ 2098 h 2257"/>
              <a:gd name="T24" fmla="*/ 800 w 1266"/>
              <a:gd name="T25" fmla="*/ 2257 h 2257"/>
              <a:gd name="T26" fmla="*/ 1266 w 1266"/>
              <a:gd name="T27" fmla="*/ 1125 h 2257"/>
              <a:gd name="T28" fmla="*/ 159 w 1266"/>
              <a:gd name="T29" fmla="*/ 576 h 2257"/>
              <a:gd name="T30" fmla="*/ 0 w 1266"/>
              <a:gd name="T31" fmla="*/ 736 h 2257"/>
              <a:gd name="T32" fmla="*/ 0 w 1266"/>
              <a:gd name="T33" fmla="*/ 1515 h 2257"/>
              <a:gd name="T34" fmla="*/ 159 w 1266"/>
              <a:gd name="T35" fmla="*/ 1675 h 2257"/>
              <a:gd name="T36" fmla="*/ 159 w 1266"/>
              <a:gd name="T37" fmla="*/ 576 h 2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66" h="2257">
                <a:moveTo>
                  <a:pt x="482" y="1960"/>
                </a:moveTo>
                <a:cubicBezTo>
                  <a:pt x="324" y="1807"/>
                  <a:pt x="324" y="1807"/>
                  <a:pt x="324" y="1807"/>
                </a:cubicBezTo>
                <a:cubicBezTo>
                  <a:pt x="504" y="1625"/>
                  <a:pt x="603" y="1384"/>
                  <a:pt x="603" y="1125"/>
                </a:cubicBezTo>
                <a:cubicBezTo>
                  <a:pt x="603" y="867"/>
                  <a:pt x="504" y="631"/>
                  <a:pt x="324" y="450"/>
                </a:cubicBezTo>
                <a:cubicBezTo>
                  <a:pt x="482" y="291"/>
                  <a:pt x="482" y="291"/>
                  <a:pt x="482" y="291"/>
                </a:cubicBezTo>
                <a:cubicBezTo>
                  <a:pt x="702" y="516"/>
                  <a:pt x="822" y="812"/>
                  <a:pt x="822" y="1125"/>
                </a:cubicBezTo>
                <a:cubicBezTo>
                  <a:pt x="822" y="1439"/>
                  <a:pt x="702" y="1735"/>
                  <a:pt x="482" y="1960"/>
                </a:cubicBezTo>
                <a:close/>
                <a:moveTo>
                  <a:pt x="1266" y="1125"/>
                </a:moveTo>
                <a:cubicBezTo>
                  <a:pt x="1266" y="697"/>
                  <a:pt x="1102" y="296"/>
                  <a:pt x="800" y="0"/>
                </a:cubicBezTo>
                <a:cubicBezTo>
                  <a:pt x="647" y="153"/>
                  <a:pt x="647" y="153"/>
                  <a:pt x="647" y="153"/>
                </a:cubicBezTo>
                <a:cubicBezTo>
                  <a:pt x="905" y="411"/>
                  <a:pt x="1047" y="757"/>
                  <a:pt x="1047" y="1125"/>
                </a:cubicBezTo>
                <a:cubicBezTo>
                  <a:pt x="1047" y="1493"/>
                  <a:pt x="905" y="1839"/>
                  <a:pt x="647" y="2098"/>
                </a:cubicBezTo>
                <a:cubicBezTo>
                  <a:pt x="800" y="2257"/>
                  <a:pt x="800" y="2257"/>
                  <a:pt x="800" y="2257"/>
                </a:cubicBezTo>
                <a:cubicBezTo>
                  <a:pt x="1102" y="1955"/>
                  <a:pt x="1266" y="1554"/>
                  <a:pt x="1266" y="1125"/>
                </a:cubicBezTo>
                <a:close/>
                <a:moveTo>
                  <a:pt x="159" y="576"/>
                </a:moveTo>
                <a:cubicBezTo>
                  <a:pt x="0" y="736"/>
                  <a:pt x="0" y="736"/>
                  <a:pt x="0" y="736"/>
                </a:cubicBezTo>
                <a:cubicBezTo>
                  <a:pt x="219" y="950"/>
                  <a:pt x="219" y="1301"/>
                  <a:pt x="0" y="1515"/>
                </a:cubicBezTo>
                <a:cubicBezTo>
                  <a:pt x="159" y="1675"/>
                  <a:pt x="159" y="1675"/>
                  <a:pt x="159" y="1675"/>
                </a:cubicBezTo>
                <a:cubicBezTo>
                  <a:pt x="455" y="1373"/>
                  <a:pt x="455" y="878"/>
                  <a:pt x="159" y="576"/>
                </a:cubicBezTo>
                <a:close/>
              </a:path>
            </a:pathLst>
          </a:custGeom>
          <a:solidFill>
            <a:schemeClr val="bg2">
              <a:lumMod val="10000"/>
            </a:schemeClr>
          </a:solidFill>
          <a:ln>
            <a:noFill/>
          </a:ln>
        </p:spPr>
        <p:txBody>
          <a:bodyPr vert="horz" wrap="square" lIns="91414" tIns="45706" rIns="91414" bIns="45706" numCol="1" anchor="t" anchorCtr="0" compatLnSpc="1">
            <a:prstTxWarp prst="textNoShape">
              <a:avLst/>
            </a:prstTxWarp>
          </a:bodyPr>
          <a:lstStyle/>
          <a:p>
            <a:pPr defTabSz="932384">
              <a:defRPr/>
            </a:pPr>
            <a:endParaRPr lang="en-US" sz="2200" kern="0" dirty="0">
              <a:solidFill>
                <a:srgbClr val="505050"/>
              </a:solidFill>
            </a:endParaRPr>
          </a:p>
        </p:txBody>
      </p:sp>
    </p:spTree>
    <p:extLst>
      <p:ext uri="{BB962C8B-B14F-4D97-AF65-F5344CB8AC3E}">
        <p14:creationId xmlns:p14="http://schemas.microsoft.com/office/powerpoint/2010/main" val="1448242667"/>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Flowchart: Document 3"/>
          <p:cNvSpPr/>
          <p:nvPr/>
        </p:nvSpPr>
        <p:spPr bwMode="auto">
          <a:xfrm flipV="1">
            <a:off x="881" y="1440342"/>
            <a:ext cx="13833651" cy="5965245"/>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Flowchart: Document 3"/>
          <p:cNvSpPr/>
          <p:nvPr/>
        </p:nvSpPr>
        <p:spPr bwMode="auto">
          <a:xfrm flipV="1">
            <a:off x="881" y="2987034"/>
            <a:ext cx="13833651" cy="4297447"/>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chemeClr val="tx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Flowchart: Document 3"/>
          <p:cNvSpPr/>
          <p:nvPr/>
        </p:nvSpPr>
        <p:spPr bwMode="auto">
          <a:xfrm flipV="1">
            <a:off x="881" y="4765813"/>
            <a:ext cx="13833651" cy="2412594"/>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5" name="Group 14"/>
          <p:cNvGrpSpPr/>
          <p:nvPr/>
        </p:nvGrpSpPr>
        <p:grpSpPr>
          <a:xfrm>
            <a:off x="607312" y="1816150"/>
            <a:ext cx="2874903" cy="690745"/>
            <a:chOff x="9130727" y="1692794"/>
            <a:chExt cx="2959183" cy="710999"/>
          </a:xfrm>
          <a:solidFill>
            <a:srgbClr val="EDC30D"/>
          </a:solidFill>
        </p:grpSpPr>
        <p:sp>
          <p:nvSpPr>
            <p:cNvPr id="16" name="Freeform 13"/>
            <p:cNvSpPr>
              <a:spLocks noChangeAspect="1" noEditPoints="1"/>
            </p:cNvSpPr>
            <p:nvPr/>
          </p:nvSpPr>
          <p:spPr bwMode="auto">
            <a:xfrm>
              <a:off x="11432426" y="1692794"/>
              <a:ext cx="657484" cy="667042"/>
            </a:xfrm>
            <a:custGeom>
              <a:avLst/>
              <a:gdLst>
                <a:gd name="T0" fmla="*/ 147 w 288"/>
                <a:gd name="T1" fmla="*/ 116 h 293"/>
                <a:gd name="T2" fmla="*/ 147 w 288"/>
                <a:gd name="T3" fmla="*/ 116 h 293"/>
                <a:gd name="T4" fmla="*/ 147 w 288"/>
                <a:gd name="T5" fmla="*/ 116 h 293"/>
                <a:gd name="T6" fmla="*/ 203 w 288"/>
                <a:gd name="T7" fmla="*/ 58 h 293"/>
                <a:gd name="T8" fmla="*/ 146 w 288"/>
                <a:gd name="T9" fmla="*/ 1 h 293"/>
                <a:gd name="T10" fmla="*/ 106 w 288"/>
                <a:gd name="T11" fmla="*/ 18 h 293"/>
                <a:gd name="T12" fmla="*/ 90 w 288"/>
                <a:gd name="T13" fmla="*/ 59 h 293"/>
                <a:gd name="T14" fmla="*/ 107 w 288"/>
                <a:gd name="T15" fmla="*/ 99 h 293"/>
                <a:gd name="T16" fmla="*/ 147 w 288"/>
                <a:gd name="T17" fmla="*/ 116 h 293"/>
                <a:gd name="T18" fmla="*/ 240 w 288"/>
                <a:gd name="T19" fmla="*/ 293 h 293"/>
                <a:gd name="T20" fmla="*/ 288 w 288"/>
                <a:gd name="T21" fmla="*/ 292 h 293"/>
                <a:gd name="T22" fmla="*/ 255 w 288"/>
                <a:gd name="T23" fmla="*/ 185 h 293"/>
                <a:gd name="T24" fmla="*/ 189 w 288"/>
                <a:gd name="T25" fmla="*/ 135 h 293"/>
                <a:gd name="T26" fmla="*/ 172 w 288"/>
                <a:gd name="T27" fmla="*/ 135 h 293"/>
                <a:gd name="T28" fmla="*/ 172 w 288"/>
                <a:gd name="T29" fmla="*/ 136 h 293"/>
                <a:gd name="T30" fmla="*/ 173 w 288"/>
                <a:gd name="T31" fmla="*/ 137 h 293"/>
                <a:gd name="T32" fmla="*/ 172 w 288"/>
                <a:gd name="T33" fmla="*/ 139 h 293"/>
                <a:gd name="T34" fmla="*/ 161 w 288"/>
                <a:gd name="T35" fmla="*/ 155 h 293"/>
                <a:gd name="T36" fmla="*/ 173 w 288"/>
                <a:gd name="T37" fmla="*/ 232 h 293"/>
                <a:gd name="T38" fmla="*/ 148 w 288"/>
                <a:gd name="T39" fmla="*/ 263 h 293"/>
                <a:gd name="T40" fmla="*/ 138 w 288"/>
                <a:gd name="T41" fmla="*/ 250 h 293"/>
                <a:gd name="T42" fmla="*/ 123 w 288"/>
                <a:gd name="T43" fmla="*/ 233 h 293"/>
                <a:gd name="T44" fmla="*/ 133 w 288"/>
                <a:gd name="T45" fmla="*/ 155 h 293"/>
                <a:gd name="T46" fmla="*/ 122 w 288"/>
                <a:gd name="T47" fmla="*/ 139 h 293"/>
                <a:gd name="T48" fmla="*/ 122 w 288"/>
                <a:gd name="T49" fmla="*/ 138 h 293"/>
                <a:gd name="T50" fmla="*/ 122 w 288"/>
                <a:gd name="T51" fmla="*/ 136 h 293"/>
                <a:gd name="T52" fmla="*/ 122 w 288"/>
                <a:gd name="T53" fmla="*/ 135 h 293"/>
                <a:gd name="T54" fmla="*/ 101 w 288"/>
                <a:gd name="T55" fmla="*/ 135 h 293"/>
                <a:gd name="T56" fmla="*/ 33 w 288"/>
                <a:gd name="T57" fmla="*/ 185 h 293"/>
                <a:gd name="T58" fmla="*/ 0 w 288"/>
                <a:gd name="T59" fmla="*/ 293 h 293"/>
                <a:gd name="T60" fmla="*/ 49 w 288"/>
                <a:gd name="T61" fmla="*/ 293 h 293"/>
                <a:gd name="T62" fmla="*/ 69 w 288"/>
                <a:gd name="T63" fmla="*/ 222 h 293"/>
                <a:gd name="T64" fmla="*/ 84 w 288"/>
                <a:gd name="T65" fmla="*/ 222 h 293"/>
                <a:gd name="T66" fmla="*/ 63 w 288"/>
                <a:gd name="T67" fmla="*/ 293 h 293"/>
                <a:gd name="T68" fmla="*/ 225 w 288"/>
                <a:gd name="T69" fmla="*/ 293 h 293"/>
                <a:gd name="T70" fmla="*/ 205 w 288"/>
                <a:gd name="T71" fmla="*/ 221 h 293"/>
                <a:gd name="T72" fmla="*/ 219 w 288"/>
                <a:gd name="T73" fmla="*/ 221 h 293"/>
                <a:gd name="T74" fmla="*/ 240 w 288"/>
                <a:gd name="T75" fmla="*/ 293 h 293"/>
                <a:gd name="T76" fmla="*/ 154 w 288"/>
                <a:gd name="T77" fmla="*/ 150 h 293"/>
                <a:gd name="T78" fmla="*/ 164 w 288"/>
                <a:gd name="T79" fmla="*/ 138 h 293"/>
                <a:gd name="T80" fmla="*/ 164 w 288"/>
                <a:gd name="T81" fmla="*/ 137 h 293"/>
                <a:gd name="T82" fmla="*/ 162 w 288"/>
                <a:gd name="T83" fmla="*/ 135 h 293"/>
                <a:gd name="T84" fmla="*/ 158 w 288"/>
                <a:gd name="T85" fmla="*/ 132 h 293"/>
                <a:gd name="T86" fmla="*/ 147 w 288"/>
                <a:gd name="T87" fmla="*/ 130 h 293"/>
                <a:gd name="T88" fmla="*/ 137 w 288"/>
                <a:gd name="T89" fmla="*/ 132 h 293"/>
                <a:gd name="T90" fmla="*/ 132 w 288"/>
                <a:gd name="T91" fmla="*/ 135 h 293"/>
                <a:gd name="T92" fmla="*/ 131 w 288"/>
                <a:gd name="T93" fmla="*/ 138 h 293"/>
                <a:gd name="T94" fmla="*/ 131 w 288"/>
                <a:gd name="T95" fmla="*/ 138 h 293"/>
                <a:gd name="T96" fmla="*/ 140 w 288"/>
                <a:gd name="T97" fmla="*/ 150 h 293"/>
                <a:gd name="T98" fmla="*/ 143 w 288"/>
                <a:gd name="T99" fmla="*/ 152 h 293"/>
                <a:gd name="T100" fmla="*/ 132 w 288"/>
                <a:gd name="T101" fmla="*/ 230 h 293"/>
                <a:gd name="T102" fmla="*/ 144 w 288"/>
                <a:gd name="T103" fmla="*/ 244 h 293"/>
                <a:gd name="T104" fmla="*/ 146 w 288"/>
                <a:gd name="T105" fmla="*/ 247 h 293"/>
                <a:gd name="T106" fmla="*/ 148 w 288"/>
                <a:gd name="T107" fmla="*/ 249 h 293"/>
                <a:gd name="T108" fmla="*/ 150 w 288"/>
                <a:gd name="T109" fmla="*/ 247 h 293"/>
                <a:gd name="T110" fmla="*/ 152 w 288"/>
                <a:gd name="T111" fmla="*/ 244 h 293"/>
                <a:gd name="T112" fmla="*/ 164 w 288"/>
                <a:gd name="T113" fmla="*/ 230 h 293"/>
                <a:gd name="T114" fmla="*/ 152 w 288"/>
                <a:gd name="T115" fmla="*/ 152 h 293"/>
                <a:gd name="T116" fmla="*/ 154 w 288"/>
                <a:gd name="T117" fmla="*/ 15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 h="293">
                  <a:moveTo>
                    <a:pt x="147" y="116"/>
                  </a:moveTo>
                  <a:cubicBezTo>
                    <a:pt x="147" y="116"/>
                    <a:pt x="147" y="116"/>
                    <a:pt x="147" y="116"/>
                  </a:cubicBezTo>
                  <a:cubicBezTo>
                    <a:pt x="147" y="116"/>
                    <a:pt x="147" y="116"/>
                    <a:pt x="147" y="116"/>
                  </a:cubicBezTo>
                  <a:cubicBezTo>
                    <a:pt x="178" y="115"/>
                    <a:pt x="203" y="89"/>
                    <a:pt x="203" y="58"/>
                  </a:cubicBezTo>
                  <a:cubicBezTo>
                    <a:pt x="202" y="26"/>
                    <a:pt x="177" y="0"/>
                    <a:pt x="146" y="1"/>
                  </a:cubicBezTo>
                  <a:cubicBezTo>
                    <a:pt x="131" y="1"/>
                    <a:pt x="117" y="7"/>
                    <a:pt x="106" y="18"/>
                  </a:cubicBezTo>
                  <a:cubicBezTo>
                    <a:pt x="96" y="29"/>
                    <a:pt x="90" y="43"/>
                    <a:pt x="90" y="59"/>
                  </a:cubicBezTo>
                  <a:cubicBezTo>
                    <a:pt x="90" y="74"/>
                    <a:pt x="96" y="89"/>
                    <a:pt x="107" y="99"/>
                  </a:cubicBezTo>
                  <a:cubicBezTo>
                    <a:pt x="118" y="110"/>
                    <a:pt x="132" y="116"/>
                    <a:pt x="147" y="116"/>
                  </a:cubicBezTo>
                  <a:close/>
                  <a:moveTo>
                    <a:pt x="240" y="293"/>
                  </a:moveTo>
                  <a:cubicBezTo>
                    <a:pt x="288" y="292"/>
                    <a:pt x="288" y="292"/>
                    <a:pt x="288" y="292"/>
                  </a:cubicBezTo>
                  <a:cubicBezTo>
                    <a:pt x="255" y="185"/>
                    <a:pt x="255" y="185"/>
                    <a:pt x="255" y="185"/>
                  </a:cubicBezTo>
                  <a:cubicBezTo>
                    <a:pt x="250" y="167"/>
                    <a:pt x="228" y="136"/>
                    <a:pt x="189" y="135"/>
                  </a:cubicBezTo>
                  <a:cubicBezTo>
                    <a:pt x="172" y="135"/>
                    <a:pt x="172" y="135"/>
                    <a:pt x="172" y="135"/>
                  </a:cubicBezTo>
                  <a:cubicBezTo>
                    <a:pt x="172" y="135"/>
                    <a:pt x="172" y="135"/>
                    <a:pt x="172" y="136"/>
                  </a:cubicBezTo>
                  <a:cubicBezTo>
                    <a:pt x="173" y="137"/>
                    <a:pt x="173" y="137"/>
                    <a:pt x="173" y="137"/>
                  </a:cubicBezTo>
                  <a:cubicBezTo>
                    <a:pt x="172" y="139"/>
                    <a:pt x="172" y="139"/>
                    <a:pt x="172" y="139"/>
                  </a:cubicBezTo>
                  <a:cubicBezTo>
                    <a:pt x="172" y="143"/>
                    <a:pt x="168" y="148"/>
                    <a:pt x="161" y="155"/>
                  </a:cubicBezTo>
                  <a:cubicBezTo>
                    <a:pt x="173" y="232"/>
                    <a:pt x="173" y="232"/>
                    <a:pt x="173" y="232"/>
                  </a:cubicBezTo>
                  <a:cubicBezTo>
                    <a:pt x="148" y="263"/>
                    <a:pt x="148" y="263"/>
                    <a:pt x="148" y="263"/>
                  </a:cubicBezTo>
                  <a:cubicBezTo>
                    <a:pt x="138" y="250"/>
                    <a:pt x="138" y="250"/>
                    <a:pt x="138" y="250"/>
                  </a:cubicBezTo>
                  <a:cubicBezTo>
                    <a:pt x="123" y="233"/>
                    <a:pt x="123" y="233"/>
                    <a:pt x="123" y="233"/>
                  </a:cubicBezTo>
                  <a:cubicBezTo>
                    <a:pt x="133" y="155"/>
                    <a:pt x="133" y="155"/>
                    <a:pt x="133" y="155"/>
                  </a:cubicBezTo>
                  <a:cubicBezTo>
                    <a:pt x="126" y="149"/>
                    <a:pt x="122" y="143"/>
                    <a:pt x="122" y="139"/>
                  </a:cubicBezTo>
                  <a:cubicBezTo>
                    <a:pt x="122" y="138"/>
                    <a:pt x="122" y="138"/>
                    <a:pt x="122" y="138"/>
                  </a:cubicBezTo>
                  <a:cubicBezTo>
                    <a:pt x="122" y="136"/>
                    <a:pt x="122" y="136"/>
                    <a:pt x="122" y="136"/>
                  </a:cubicBezTo>
                  <a:cubicBezTo>
                    <a:pt x="122" y="136"/>
                    <a:pt x="122" y="135"/>
                    <a:pt x="122" y="135"/>
                  </a:cubicBezTo>
                  <a:cubicBezTo>
                    <a:pt x="101" y="135"/>
                    <a:pt x="101" y="135"/>
                    <a:pt x="101" y="135"/>
                  </a:cubicBezTo>
                  <a:cubicBezTo>
                    <a:pt x="61" y="135"/>
                    <a:pt x="39" y="167"/>
                    <a:pt x="33" y="185"/>
                  </a:cubicBezTo>
                  <a:cubicBezTo>
                    <a:pt x="0" y="293"/>
                    <a:pt x="0" y="293"/>
                    <a:pt x="0" y="293"/>
                  </a:cubicBezTo>
                  <a:cubicBezTo>
                    <a:pt x="49" y="293"/>
                    <a:pt x="49" y="293"/>
                    <a:pt x="49" y="293"/>
                  </a:cubicBezTo>
                  <a:cubicBezTo>
                    <a:pt x="69" y="222"/>
                    <a:pt x="69" y="222"/>
                    <a:pt x="69" y="222"/>
                  </a:cubicBezTo>
                  <a:cubicBezTo>
                    <a:pt x="84" y="222"/>
                    <a:pt x="84" y="222"/>
                    <a:pt x="84" y="222"/>
                  </a:cubicBezTo>
                  <a:cubicBezTo>
                    <a:pt x="63" y="293"/>
                    <a:pt x="63" y="293"/>
                    <a:pt x="63" y="293"/>
                  </a:cubicBezTo>
                  <a:cubicBezTo>
                    <a:pt x="225" y="293"/>
                    <a:pt x="225" y="293"/>
                    <a:pt x="225" y="293"/>
                  </a:cubicBezTo>
                  <a:cubicBezTo>
                    <a:pt x="205" y="221"/>
                    <a:pt x="205" y="221"/>
                    <a:pt x="205" y="221"/>
                  </a:cubicBezTo>
                  <a:cubicBezTo>
                    <a:pt x="219" y="221"/>
                    <a:pt x="219" y="221"/>
                    <a:pt x="219" y="221"/>
                  </a:cubicBezTo>
                  <a:lnTo>
                    <a:pt x="240" y="293"/>
                  </a:lnTo>
                  <a:close/>
                  <a:moveTo>
                    <a:pt x="154" y="150"/>
                  </a:moveTo>
                  <a:cubicBezTo>
                    <a:pt x="163" y="142"/>
                    <a:pt x="164" y="138"/>
                    <a:pt x="164" y="138"/>
                  </a:cubicBezTo>
                  <a:cubicBezTo>
                    <a:pt x="164" y="137"/>
                    <a:pt x="164" y="137"/>
                    <a:pt x="164" y="137"/>
                  </a:cubicBezTo>
                  <a:cubicBezTo>
                    <a:pt x="164" y="137"/>
                    <a:pt x="163" y="136"/>
                    <a:pt x="162" y="135"/>
                  </a:cubicBezTo>
                  <a:cubicBezTo>
                    <a:pt x="161" y="134"/>
                    <a:pt x="160" y="133"/>
                    <a:pt x="158" y="132"/>
                  </a:cubicBezTo>
                  <a:cubicBezTo>
                    <a:pt x="155" y="131"/>
                    <a:pt x="151" y="130"/>
                    <a:pt x="147" y="130"/>
                  </a:cubicBezTo>
                  <a:cubicBezTo>
                    <a:pt x="144" y="130"/>
                    <a:pt x="140" y="131"/>
                    <a:pt x="137" y="132"/>
                  </a:cubicBezTo>
                  <a:cubicBezTo>
                    <a:pt x="135" y="133"/>
                    <a:pt x="133" y="134"/>
                    <a:pt x="132" y="135"/>
                  </a:cubicBezTo>
                  <a:cubicBezTo>
                    <a:pt x="131" y="136"/>
                    <a:pt x="131" y="137"/>
                    <a:pt x="131" y="138"/>
                  </a:cubicBezTo>
                  <a:cubicBezTo>
                    <a:pt x="131" y="138"/>
                    <a:pt x="131" y="138"/>
                    <a:pt x="131" y="138"/>
                  </a:cubicBezTo>
                  <a:cubicBezTo>
                    <a:pt x="131" y="138"/>
                    <a:pt x="131" y="142"/>
                    <a:pt x="140" y="150"/>
                  </a:cubicBezTo>
                  <a:cubicBezTo>
                    <a:pt x="143" y="152"/>
                    <a:pt x="143" y="152"/>
                    <a:pt x="143" y="152"/>
                  </a:cubicBezTo>
                  <a:cubicBezTo>
                    <a:pt x="132" y="230"/>
                    <a:pt x="132" y="230"/>
                    <a:pt x="132" y="230"/>
                  </a:cubicBezTo>
                  <a:cubicBezTo>
                    <a:pt x="144" y="244"/>
                    <a:pt x="144" y="244"/>
                    <a:pt x="144" y="244"/>
                  </a:cubicBezTo>
                  <a:cubicBezTo>
                    <a:pt x="146" y="247"/>
                    <a:pt x="146" y="247"/>
                    <a:pt x="146" y="247"/>
                  </a:cubicBezTo>
                  <a:cubicBezTo>
                    <a:pt x="148" y="249"/>
                    <a:pt x="148" y="249"/>
                    <a:pt x="148" y="249"/>
                  </a:cubicBezTo>
                  <a:cubicBezTo>
                    <a:pt x="150" y="247"/>
                    <a:pt x="150" y="247"/>
                    <a:pt x="150" y="247"/>
                  </a:cubicBezTo>
                  <a:cubicBezTo>
                    <a:pt x="152" y="244"/>
                    <a:pt x="152" y="244"/>
                    <a:pt x="152" y="244"/>
                  </a:cubicBezTo>
                  <a:cubicBezTo>
                    <a:pt x="164" y="230"/>
                    <a:pt x="164" y="230"/>
                    <a:pt x="164" y="230"/>
                  </a:cubicBezTo>
                  <a:cubicBezTo>
                    <a:pt x="152" y="152"/>
                    <a:pt x="152" y="152"/>
                    <a:pt x="152" y="152"/>
                  </a:cubicBezTo>
                  <a:lnTo>
                    <a:pt x="154" y="150"/>
                  </a:lnTo>
                  <a:close/>
                </a:path>
              </a:pathLst>
            </a:custGeom>
            <a:grpFill/>
            <a:ln>
              <a:noFill/>
            </a:ln>
            <a:extLst/>
          </p:spPr>
          <p:txBody>
            <a:bodyPr vert="horz" wrap="square" lIns="93234" tIns="46616" rIns="93234" bIns="46616" numCol="1" anchor="t" anchorCtr="0" compatLnSpc="1">
              <a:prstTxWarp prst="textNoShape">
                <a:avLst/>
              </a:prstTxWarp>
            </a:bodyPr>
            <a:lstStyle/>
            <a:p>
              <a:pPr algn="ctr" defTabSz="932239"/>
              <a:endParaRPr lang="en-US" sz="1836" kern="0" dirty="0">
                <a:solidFill>
                  <a:srgbClr val="505050"/>
                </a:solidFill>
              </a:endParaRPr>
            </a:p>
          </p:txBody>
        </p:sp>
        <p:sp>
          <p:nvSpPr>
            <p:cNvPr id="17" name="Freeform 25"/>
            <p:cNvSpPr>
              <a:spLocks noChangeAspect="1" noEditPoints="1"/>
            </p:cNvSpPr>
            <p:nvPr/>
          </p:nvSpPr>
          <p:spPr bwMode="auto">
            <a:xfrm>
              <a:off x="10631623" y="1717993"/>
              <a:ext cx="637477" cy="685800"/>
            </a:xfrm>
            <a:custGeom>
              <a:avLst/>
              <a:gdLst>
                <a:gd name="T0" fmla="*/ 106 w 287"/>
                <a:gd name="T1" fmla="*/ 17 h 309"/>
                <a:gd name="T2" fmla="*/ 147 w 287"/>
                <a:gd name="T3" fmla="*/ 115 h 309"/>
                <a:gd name="T4" fmla="*/ 107 w 287"/>
                <a:gd name="T5" fmla="*/ 99 h 309"/>
                <a:gd name="T6" fmla="*/ 195 w 287"/>
                <a:gd name="T7" fmla="*/ 238 h 309"/>
                <a:gd name="T8" fmla="*/ 207 w 287"/>
                <a:gd name="T9" fmla="*/ 218 h 309"/>
                <a:gd name="T10" fmla="*/ 226 w 287"/>
                <a:gd name="T11" fmla="*/ 216 h 309"/>
                <a:gd name="T12" fmla="*/ 243 w 287"/>
                <a:gd name="T13" fmla="*/ 180 h 309"/>
                <a:gd name="T14" fmla="*/ 241 w 287"/>
                <a:gd name="T15" fmla="*/ 177 h 309"/>
                <a:gd name="T16" fmla="*/ 229 w 287"/>
                <a:gd name="T17" fmla="*/ 191 h 309"/>
                <a:gd name="T18" fmla="*/ 217 w 287"/>
                <a:gd name="T19" fmla="*/ 203 h 309"/>
                <a:gd name="T20" fmla="*/ 208 w 287"/>
                <a:gd name="T21" fmla="*/ 200 h 309"/>
                <a:gd name="T22" fmla="*/ 198 w 287"/>
                <a:gd name="T23" fmla="*/ 191 h 309"/>
                <a:gd name="T24" fmla="*/ 204 w 287"/>
                <a:gd name="T25" fmla="*/ 175 h 309"/>
                <a:gd name="T26" fmla="*/ 217 w 287"/>
                <a:gd name="T27" fmla="*/ 172 h 309"/>
                <a:gd name="T28" fmla="*/ 211 w 287"/>
                <a:gd name="T29" fmla="*/ 157 h 309"/>
                <a:gd name="T30" fmla="*/ 191 w 287"/>
                <a:gd name="T31" fmla="*/ 166 h 309"/>
                <a:gd name="T32" fmla="*/ 189 w 287"/>
                <a:gd name="T33" fmla="*/ 203 h 309"/>
                <a:gd name="T34" fmla="*/ 159 w 287"/>
                <a:gd name="T35" fmla="*/ 250 h 309"/>
                <a:gd name="T36" fmla="*/ 144 w 287"/>
                <a:gd name="T37" fmla="*/ 250 h 309"/>
                <a:gd name="T38" fmla="*/ 128 w 287"/>
                <a:gd name="T39" fmla="*/ 288 h 309"/>
                <a:gd name="T40" fmla="*/ 140 w 287"/>
                <a:gd name="T41" fmla="*/ 287 h 309"/>
                <a:gd name="T42" fmla="*/ 142 w 287"/>
                <a:gd name="T43" fmla="*/ 272 h 309"/>
                <a:gd name="T44" fmla="*/ 163 w 287"/>
                <a:gd name="T45" fmla="*/ 264 h 309"/>
                <a:gd name="T46" fmla="*/ 171 w 287"/>
                <a:gd name="T47" fmla="*/ 279 h 309"/>
                <a:gd name="T48" fmla="*/ 164 w 287"/>
                <a:gd name="T49" fmla="*/ 292 h 309"/>
                <a:gd name="T50" fmla="*/ 154 w 287"/>
                <a:gd name="T51" fmla="*/ 297 h 309"/>
                <a:gd name="T52" fmla="*/ 158 w 287"/>
                <a:gd name="T53" fmla="*/ 309 h 309"/>
                <a:gd name="T54" fmla="*/ 183 w 287"/>
                <a:gd name="T55" fmla="*/ 292 h 309"/>
                <a:gd name="T56" fmla="*/ 187 w 287"/>
                <a:gd name="T57" fmla="*/ 274 h 309"/>
                <a:gd name="T58" fmla="*/ 189 w 287"/>
                <a:gd name="T59" fmla="*/ 134 h 309"/>
                <a:gd name="T60" fmla="*/ 122 w 287"/>
                <a:gd name="T61" fmla="*/ 134 h 309"/>
                <a:gd name="T62" fmla="*/ 109 w 287"/>
                <a:gd name="T63" fmla="*/ 134 h 309"/>
                <a:gd name="T64" fmla="*/ 0 w 287"/>
                <a:gd name="T65" fmla="*/ 292 h 309"/>
                <a:gd name="T66" fmla="*/ 83 w 287"/>
                <a:gd name="T67" fmla="*/ 221 h 309"/>
                <a:gd name="T68" fmla="*/ 119 w 287"/>
                <a:gd name="T69" fmla="*/ 290 h 309"/>
                <a:gd name="T70" fmla="*/ 121 w 287"/>
                <a:gd name="T71" fmla="*/ 261 h 309"/>
                <a:gd name="T72" fmla="*/ 145 w 287"/>
                <a:gd name="T73" fmla="*/ 241 h 309"/>
                <a:gd name="T74" fmla="*/ 181 w 287"/>
                <a:gd name="T75" fmla="*/ 205 h 309"/>
                <a:gd name="T76" fmla="*/ 176 w 287"/>
                <a:gd name="T77" fmla="*/ 194 h 309"/>
                <a:gd name="T78" fmla="*/ 175 w 287"/>
                <a:gd name="T79" fmla="*/ 187 h 309"/>
                <a:gd name="T80" fmla="*/ 207 w 287"/>
                <a:gd name="T81" fmla="*/ 150 h 309"/>
                <a:gd name="T82" fmla="*/ 211 w 287"/>
                <a:gd name="T83" fmla="*/ 149 h 309"/>
                <a:gd name="T84" fmla="*/ 222 w 287"/>
                <a:gd name="T85" fmla="*/ 156 h 309"/>
                <a:gd name="T86" fmla="*/ 225 w 287"/>
                <a:gd name="T87" fmla="*/ 173 h 309"/>
                <a:gd name="T88" fmla="*/ 241 w 287"/>
                <a:gd name="T89" fmla="*/ 169 h 309"/>
                <a:gd name="T90" fmla="*/ 251 w 287"/>
                <a:gd name="T91" fmla="*/ 178 h 309"/>
                <a:gd name="T92" fmla="*/ 254 w 287"/>
                <a:gd name="T93" fmla="*/ 199 h 309"/>
                <a:gd name="T94" fmla="*/ 250 w 287"/>
                <a:gd name="T95" fmla="*/ 204 h 309"/>
                <a:gd name="T96" fmla="*/ 225 w 287"/>
                <a:gd name="T97" fmla="*/ 226 h 309"/>
                <a:gd name="T98" fmla="*/ 220 w 287"/>
                <a:gd name="T99" fmla="*/ 226 h 309"/>
                <a:gd name="T100" fmla="*/ 255 w 287"/>
                <a:gd name="T101" fmla="*/ 184 h 309"/>
                <a:gd name="T102" fmla="*/ 194 w 287"/>
                <a:gd name="T103" fmla="*/ 270 h 309"/>
                <a:gd name="T104" fmla="*/ 195 w 287"/>
                <a:gd name="T105" fmla="*/ 277 h 309"/>
                <a:gd name="T106" fmla="*/ 191 w 287"/>
                <a:gd name="T107" fmla="*/ 292 h 309"/>
                <a:gd name="T108" fmla="*/ 188 w 287"/>
                <a:gd name="T109" fmla="*/ 263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7" h="309">
                  <a:moveTo>
                    <a:pt x="107" y="99"/>
                  </a:moveTo>
                  <a:cubicBezTo>
                    <a:pt x="96" y="88"/>
                    <a:pt x="90" y="74"/>
                    <a:pt x="90" y="58"/>
                  </a:cubicBezTo>
                  <a:cubicBezTo>
                    <a:pt x="90" y="43"/>
                    <a:pt x="95" y="28"/>
                    <a:pt x="106" y="17"/>
                  </a:cubicBezTo>
                  <a:cubicBezTo>
                    <a:pt x="117" y="6"/>
                    <a:pt x="131" y="0"/>
                    <a:pt x="146" y="0"/>
                  </a:cubicBezTo>
                  <a:cubicBezTo>
                    <a:pt x="177" y="0"/>
                    <a:pt x="202" y="26"/>
                    <a:pt x="202" y="57"/>
                  </a:cubicBezTo>
                  <a:cubicBezTo>
                    <a:pt x="203" y="89"/>
                    <a:pt x="178" y="115"/>
                    <a:pt x="147" y="115"/>
                  </a:cubicBezTo>
                  <a:cubicBezTo>
                    <a:pt x="147" y="115"/>
                    <a:pt x="147" y="115"/>
                    <a:pt x="147" y="115"/>
                  </a:cubicBezTo>
                  <a:cubicBezTo>
                    <a:pt x="146" y="115"/>
                    <a:pt x="146" y="115"/>
                    <a:pt x="146" y="115"/>
                  </a:cubicBezTo>
                  <a:cubicBezTo>
                    <a:pt x="131" y="115"/>
                    <a:pt x="117" y="110"/>
                    <a:pt x="107" y="99"/>
                  </a:cubicBezTo>
                  <a:close/>
                  <a:moveTo>
                    <a:pt x="180" y="264"/>
                  </a:moveTo>
                  <a:cubicBezTo>
                    <a:pt x="180" y="264"/>
                    <a:pt x="179" y="262"/>
                    <a:pt x="180" y="260"/>
                  </a:cubicBezTo>
                  <a:cubicBezTo>
                    <a:pt x="186" y="251"/>
                    <a:pt x="191" y="244"/>
                    <a:pt x="195" y="238"/>
                  </a:cubicBezTo>
                  <a:cubicBezTo>
                    <a:pt x="205" y="221"/>
                    <a:pt x="207" y="219"/>
                    <a:pt x="207" y="219"/>
                  </a:cubicBezTo>
                  <a:cubicBezTo>
                    <a:pt x="207" y="218"/>
                    <a:pt x="207" y="218"/>
                    <a:pt x="207" y="218"/>
                  </a:cubicBezTo>
                  <a:cubicBezTo>
                    <a:pt x="207" y="218"/>
                    <a:pt x="207" y="218"/>
                    <a:pt x="207" y="218"/>
                  </a:cubicBezTo>
                  <a:cubicBezTo>
                    <a:pt x="209" y="217"/>
                    <a:pt x="210" y="216"/>
                    <a:pt x="210" y="216"/>
                  </a:cubicBezTo>
                  <a:cubicBezTo>
                    <a:pt x="224" y="218"/>
                    <a:pt x="224" y="218"/>
                    <a:pt x="224" y="218"/>
                  </a:cubicBezTo>
                  <a:cubicBezTo>
                    <a:pt x="224" y="218"/>
                    <a:pt x="225" y="218"/>
                    <a:pt x="226" y="216"/>
                  </a:cubicBezTo>
                  <a:cubicBezTo>
                    <a:pt x="244" y="199"/>
                    <a:pt x="244" y="199"/>
                    <a:pt x="244" y="199"/>
                  </a:cubicBezTo>
                  <a:cubicBezTo>
                    <a:pt x="245" y="197"/>
                    <a:pt x="245" y="197"/>
                    <a:pt x="245" y="197"/>
                  </a:cubicBezTo>
                  <a:cubicBezTo>
                    <a:pt x="243" y="180"/>
                    <a:pt x="243" y="180"/>
                    <a:pt x="243" y="180"/>
                  </a:cubicBezTo>
                  <a:cubicBezTo>
                    <a:pt x="243" y="178"/>
                    <a:pt x="243" y="178"/>
                    <a:pt x="243" y="178"/>
                  </a:cubicBezTo>
                  <a:cubicBezTo>
                    <a:pt x="243" y="178"/>
                    <a:pt x="242" y="177"/>
                    <a:pt x="241" y="177"/>
                  </a:cubicBezTo>
                  <a:cubicBezTo>
                    <a:pt x="241" y="177"/>
                    <a:pt x="241" y="177"/>
                    <a:pt x="241" y="177"/>
                  </a:cubicBezTo>
                  <a:cubicBezTo>
                    <a:pt x="230" y="179"/>
                    <a:pt x="230" y="179"/>
                    <a:pt x="230" y="179"/>
                  </a:cubicBezTo>
                  <a:cubicBezTo>
                    <a:pt x="228" y="179"/>
                    <a:pt x="229" y="181"/>
                    <a:pt x="229" y="183"/>
                  </a:cubicBezTo>
                  <a:cubicBezTo>
                    <a:pt x="229" y="191"/>
                    <a:pt x="229" y="191"/>
                    <a:pt x="229" y="191"/>
                  </a:cubicBezTo>
                  <a:cubicBezTo>
                    <a:pt x="229" y="192"/>
                    <a:pt x="228" y="194"/>
                    <a:pt x="228" y="194"/>
                  </a:cubicBezTo>
                  <a:cubicBezTo>
                    <a:pt x="220" y="203"/>
                    <a:pt x="220" y="203"/>
                    <a:pt x="220" y="203"/>
                  </a:cubicBezTo>
                  <a:cubicBezTo>
                    <a:pt x="220" y="203"/>
                    <a:pt x="219" y="203"/>
                    <a:pt x="217" y="203"/>
                  </a:cubicBezTo>
                  <a:cubicBezTo>
                    <a:pt x="212" y="203"/>
                    <a:pt x="212" y="203"/>
                    <a:pt x="212" y="203"/>
                  </a:cubicBezTo>
                  <a:cubicBezTo>
                    <a:pt x="212" y="203"/>
                    <a:pt x="212" y="203"/>
                    <a:pt x="211" y="203"/>
                  </a:cubicBezTo>
                  <a:cubicBezTo>
                    <a:pt x="210" y="203"/>
                    <a:pt x="209" y="202"/>
                    <a:pt x="208" y="200"/>
                  </a:cubicBezTo>
                  <a:cubicBezTo>
                    <a:pt x="205" y="199"/>
                    <a:pt x="205" y="199"/>
                    <a:pt x="205" y="199"/>
                  </a:cubicBezTo>
                  <a:cubicBezTo>
                    <a:pt x="203" y="198"/>
                    <a:pt x="203" y="197"/>
                    <a:pt x="201" y="195"/>
                  </a:cubicBezTo>
                  <a:cubicBezTo>
                    <a:pt x="198" y="191"/>
                    <a:pt x="198" y="191"/>
                    <a:pt x="198" y="191"/>
                  </a:cubicBezTo>
                  <a:cubicBezTo>
                    <a:pt x="198" y="191"/>
                    <a:pt x="198" y="189"/>
                    <a:pt x="199" y="188"/>
                  </a:cubicBezTo>
                  <a:cubicBezTo>
                    <a:pt x="202" y="179"/>
                    <a:pt x="202" y="179"/>
                    <a:pt x="202" y="179"/>
                  </a:cubicBezTo>
                  <a:cubicBezTo>
                    <a:pt x="202" y="177"/>
                    <a:pt x="203" y="175"/>
                    <a:pt x="204" y="175"/>
                  </a:cubicBezTo>
                  <a:cubicBezTo>
                    <a:pt x="214" y="173"/>
                    <a:pt x="214" y="173"/>
                    <a:pt x="214" y="173"/>
                  </a:cubicBezTo>
                  <a:cubicBezTo>
                    <a:pt x="215" y="172"/>
                    <a:pt x="215" y="172"/>
                    <a:pt x="215" y="172"/>
                  </a:cubicBezTo>
                  <a:cubicBezTo>
                    <a:pt x="215" y="172"/>
                    <a:pt x="215" y="172"/>
                    <a:pt x="217" y="172"/>
                  </a:cubicBezTo>
                  <a:cubicBezTo>
                    <a:pt x="217" y="172"/>
                    <a:pt x="216" y="171"/>
                    <a:pt x="216" y="169"/>
                  </a:cubicBezTo>
                  <a:cubicBezTo>
                    <a:pt x="214" y="158"/>
                    <a:pt x="214" y="158"/>
                    <a:pt x="214" y="158"/>
                  </a:cubicBezTo>
                  <a:cubicBezTo>
                    <a:pt x="214" y="158"/>
                    <a:pt x="212" y="157"/>
                    <a:pt x="211" y="157"/>
                  </a:cubicBezTo>
                  <a:cubicBezTo>
                    <a:pt x="211" y="157"/>
                    <a:pt x="210" y="157"/>
                    <a:pt x="210" y="157"/>
                  </a:cubicBezTo>
                  <a:cubicBezTo>
                    <a:pt x="194" y="164"/>
                    <a:pt x="194" y="164"/>
                    <a:pt x="194" y="164"/>
                  </a:cubicBezTo>
                  <a:cubicBezTo>
                    <a:pt x="192" y="164"/>
                    <a:pt x="191" y="165"/>
                    <a:pt x="191" y="166"/>
                  </a:cubicBezTo>
                  <a:cubicBezTo>
                    <a:pt x="183" y="189"/>
                    <a:pt x="183" y="189"/>
                    <a:pt x="183" y="189"/>
                  </a:cubicBezTo>
                  <a:cubicBezTo>
                    <a:pt x="183" y="189"/>
                    <a:pt x="183" y="191"/>
                    <a:pt x="184" y="193"/>
                  </a:cubicBezTo>
                  <a:cubicBezTo>
                    <a:pt x="189" y="203"/>
                    <a:pt x="189" y="203"/>
                    <a:pt x="189" y="203"/>
                  </a:cubicBezTo>
                  <a:cubicBezTo>
                    <a:pt x="191" y="204"/>
                    <a:pt x="190" y="206"/>
                    <a:pt x="190" y="206"/>
                  </a:cubicBezTo>
                  <a:cubicBezTo>
                    <a:pt x="162" y="250"/>
                    <a:pt x="162" y="250"/>
                    <a:pt x="162" y="250"/>
                  </a:cubicBezTo>
                  <a:cubicBezTo>
                    <a:pt x="162" y="250"/>
                    <a:pt x="160" y="250"/>
                    <a:pt x="159" y="250"/>
                  </a:cubicBezTo>
                  <a:cubicBezTo>
                    <a:pt x="147" y="250"/>
                    <a:pt x="147" y="250"/>
                    <a:pt x="147" y="250"/>
                  </a:cubicBezTo>
                  <a:cubicBezTo>
                    <a:pt x="146" y="249"/>
                    <a:pt x="145" y="249"/>
                    <a:pt x="145" y="249"/>
                  </a:cubicBezTo>
                  <a:cubicBezTo>
                    <a:pt x="144" y="249"/>
                    <a:pt x="144" y="249"/>
                    <a:pt x="144" y="250"/>
                  </a:cubicBezTo>
                  <a:cubicBezTo>
                    <a:pt x="126" y="267"/>
                    <a:pt x="126" y="267"/>
                    <a:pt x="126" y="267"/>
                  </a:cubicBezTo>
                  <a:cubicBezTo>
                    <a:pt x="125" y="268"/>
                    <a:pt x="125" y="269"/>
                    <a:pt x="125" y="271"/>
                  </a:cubicBezTo>
                  <a:cubicBezTo>
                    <a:pt x="128" y="288"/>
                    <a:pt x="128" y="288"/>
                    <a:pt x="128" y="288"/>
                  </a:cubicBezTo>
                  <a:cubicBezTo>
                    <a:pt x="126" y="289"/>
                    <a:pt x="127" y="290"/>
                    <a:pt x="129" y="290"/>
                  </a:cubicBezTo>
                  <a:cubicBezTo>
                    <a:pt x="129" y="290"/>
                    <a:pt x="129" y="290"/>
                    <a:pt x="129" y="290"/>
                  </a:cubicBezTo>
                  <a:cubicBezTo>
                    <a:pt x="140" y="287"/>
                    <a:pt x="140" y="287"/>
                    <a:pt x="140" y="287"/>
                  </a:cubicBezTo>
                  <a:cubicBezTo>
                    <a:pt x="142" y="287"/>
                    <a:pt x="142" y="285"/>
                    <a:pt x="142" y="285"/>
                  </a:cubicBezTo>
                  <a:cubicBezTo>
                    <a:pt x="141" y="275"/>
                    <a:pt x="141" y="275"/>
                    <a:pt x="141" y="275"/>
                  </a:cubicBezTo>
                  <a:cubicBezTo>
                    <a:pt x="141" y="274"/>
                    <a:pt x="140" y="272"/>
                    <a:pt x="142" y="272"/>
                  </a:cubicBezTo>
                  <a:cubicBezTo>
                    <a:pt x="149" y="266"/>
                    <a:pt x="149" y="266"/>
                    <a:pt x="149" y="266"/>
                  </a:cubicBezTo>
                  <a:cubicBezTo>
                    <a:pt x="150" y="264"/>
                    <a:pt x="152" y="263"/>
                    <a:pt x="153" y="263"/>
                  </a:cubicBezTo>
                  <a:cubicBezTo>
                    <a:pt x="163" y="264"/>
                    <a:pt x="163" y="264"/>
                    <a:pt x="163" y="264"/>
                  </a:cubicBezTo>
                  <a:cubicBezTo>
                    <a:pt x="164" y="266"/>
                    <a:pt x="165" y="265"/>
                    <a:pt x="165" y="267"/>
                  </a:cubicBezTo>
                  <a:cubicBezTo>
                    <a:pt x="171" y="276"/>
                    <a:pt x="171" y="276"/>
                    <a:pt x="171" y="276"/>
                  </a:cubicBezTo>
                  <a:cubicBezTo>
                    <a:pt x="173" y="277"/>
                    <a:pt x="171" y="279"/>
                    <a:pt x="171" y="279"/>
                  </a:cubicBezTo>
                  <a:cubicBezTo>
                    <a:pt x="169" y="289"/>
                    <a:pt x="169" y="289"/>
                    <a:pt x="169" y="289"/>
                  </a:cubicBezTo>
                  <a:cubicBezTo>
                    <a:pt x="167" y="289"/>
                    <a:pt x="167" y="291"/>
                    <a:pt x="166" y="291"/>
                  </a:cubicBezTo>
                  <a:cubicBezTo>
                    <a:pt x="165" y="292"/>
                    <a:pt x="165" y="292"/>
                    <a:pt x="164" y="292"/>
                  </a:cubicBezTo>
                  <a:cubicBezTo>
                    <a:pt x="157" y="295"/>
                    <a:pt x="157" y="295"/>
                    <a:pt x="157" y="295"/>
                  </a:cubicBezTo>
                  <a:cubicBezTo>
                    <a:pt x="155" y="295"/>
                    <a:pt x="154" y="296"/>
                    <a:pt x="154" y="296"/>
                  </a:cubicBezTo>
                  <a:cubicBezTo>
                    <a:pt x="154" y="296"/>
                    <a:pt x="154" y="296"/>
                    <a:pt x="154" y="297"/>
                  </a:cubicBezTo>
                  <a:cubicBezTo>
                    <a:pt x="156" y="308"/>
                    <a:pt x="156" y="308"/>
                    <a:pt x="156" y="308"/>
                  </a:cubicBezTo>
                  <a:cubicBezTo>
                    <a:pt x="157" y="309"/>
                    <a:pt x="157" y="309"/>
                    <a:pt x="158" y="309"/>
                  </a:cubicBezTo>
                  <a:cubicBezTo>
                    <a:pt x="158" y="309"/>
                    <a:pt x="158" y="309"/>
                    <a:pt x="158" y="309"/>
                  </a:cubicBezTo>
                  <a:cubicBezTo>
                    <a:pt x="177" y="304"/>
                    <a:pt x="177" y="304"/>
                    <a:pt x="177" y="304"/>
                  </a:cubicBezTo>
                  <a:cubicBezTo>
                    <a:pt x="177" y="304"/>
                    <a:pt x="178" y="302"/>
                    <a:pt x="180" y="302"/>
                  </a:cubicBezTo>
                  <a:cubicBezTo>
                    <a:pt x="181" y="298"/>
                    <a:pt x="182" y="295"/>
                    <a:pt x="183" y="292"/>
                  </a:cubicBezTo>
                  <a:cubicBezTo>
                    <a:pt x="187" y="280"/>
                    <a:pt x="188" y="279"/>
                    <a:pt x="188" y="278"/>
                  </a:cubicBezTo>
                  <a:cubicBezTo>
                    <a:pt x="188" y="278"/>
                    <a:pt x="188" y="278"/>
                    <a:pt x="188" y="278"/>
                  </a:cubicBezTo>
                  <a:cubicBezTo>
                    <a:pt x="187" y="277"/>
                    <a:pt x="187" y="275"/>
                    <a:pt x="187" y="274"/>
                  </a:cubicBezTo>
                  <a:cubicBezTo>
                    <a:pt x="180" y="264"/>
                    <a:pt x="180" y="264"/>
                    <a:pt x="180" y="264"/>
                  </a:cubicBezTo>
                  <a:close/>
                  <a:moveTo>
                    <a:pt x="255" y="184"/>
                  </a:moveTo>
                  <a:cubicBezTo>
                    <a:pt x="249" y="167"/>
                    <a:pt x="227" y="135"/>
                    <a:pt x="189" y="134"/>
                  </a:cubicBezTo>
                  <a:cubicBezTo>
                    <a:pt x="172" y="134"/>
                    <a:pt x="172" y="134"/>
                    <a:pt x="172" y="134"/>
                  </a:cubicBezTo>
                  <a:cubicBezTo>
                    <a:pt x="172" y="134"/>
                    <a:pt x="172" y="134"/>
                    <a:pt x="172" y="134"/>
                  </a:cubicBezTo>
                  <a:cubicBezTo>
                    <a:pt x="122" y="134"/>
                    <a:pt x="122" y="134"/>
                    <a:pt x="122" y="134"/>
                  </a:cubicBezTo>
                  <a:cubicBezTo>
                    <a:pt x="122" y="134"/>
                    <a:pt x="122" y="134"/>
                    <a:pt x="122" y="134"/>
                  </a:cubicBezTo>
                  <a:cubicBezTo>
                    <a:pt x="111" y="134"/>
                    <a:pt x="111" y="134"/>
                    <a:pt x="111" y="134"/>
                  </a:cubicBezTo>
                  <a:cubicBezTo>
                    <a:pt x="109" y="134"/>
                    <a:pt x="109" y="134"/>
                    <a:pt x="109" y="134"/>
                  </a:cubicBezTo>
                  <a:cubicBezTo>
                    <a:pt x="100" y="134"/>
                    <a:pt x="100" y="134"/>
                    <a:pt x="100" y="134"/>
                  </a:cubicBezTo>
                  <a:cubicBezTo>
                    <a:pt x="61" y="135"/>
                    <a:pt x="38" y="167"/>
                    <a:pt x="33" y="185"/>
                  </a:cubicBezTo>
                  <a:cubicBezTo>
                    <a:pt x="0" y="292"/>
                    <a:pt x="0" y="292"/>
                    <a:pt x="0" y="292"/>
                  </a:cubicBezTo>
                  <a:cubicBezTo>
                    <a:pt x="48" y="292"/>
                    <a:pt x="48" y="292"/>
                    <a:pt x="48" y="292"/>
                  </a:cubicBezTo>
                  <a:cubicBezTo>
                    <a:pt x="69" y="221"/>
                    <a:pt x="69" y="221"/>
                    <a:pt x="69" y="221"/>
                  </a:cubicBezTo>
                  <a:cubicBezTo>
                    <a:pt x="83" y="221"/>
                    <a:pt x="83" y="221"/>
                    <a:pt x="83" y="221"/>
                  </a:cubicBezTo>
                  <a:cubicBezTo>
                    <a:pt x="63" y="292"/>
                    <a:pt x="63" y="292"/>
                    <a:pt x="63" y="292"/>
                  </a:cubicBezTo>
                  <a:cubicBezTo>
                    <a:pt x="120" y="292"/>
                    <a:pt x="120" y="292"/>
                    <a:pt x="120" y="292"/>
                  </a:cubicBezTo>
                  <a:cubicBezTo>
                    <a:pt x="119" y="291"/>
                    <a:pt x="119" y="291"/>
                    <a:pt x="119" y="290"/>
                  </a:cubicBezTo>
                  <a:cubicBezTo>
                    <a:pt x="119" y="289"/>
                    <a:pt x="119" y="287"/>
                    <a:pt x="119" y="286"/>
                  </a:cubicBezTo>
                  <a:cubicBezTo>
                    <a:pt x="117" y="272"/>
                    <a:pt x="117" y="272"/>
                    <a:pt x="117" y="272"/>
                  </a:cubicBezTo>
                  <a:cubicBezTo>
                    <a:pt x="116" y="265"/>
                    <a:pt x="119" y="262"/>
                    <a:pt x="121" y="261"/>
                  </a:cubicBezTo>
                  <a:cubicBezTo>
                    <a:pt x="137" y="246"/>
                    <a:pt x="137" y="246"/>
                    <a:pt x="137" y="246"/>
                  </a:cubicBezTo>
                  <a:cubicBezTo>
                    <a:pt x="137" y="246"/>
                    <a:pt x="137" y="245"/>
                    <a:pt x="138" y="244"/>
                  </a:cubicBezTo>
                  <a:cubicBezTo>
                    <a:pt x="139" y="242"/>
                    <a:pt x="142" y="241"/>
                    <a:pt x="145" y="241"/>
                  </a:cubicBezTo>
                  <a:cubicBezTo>
                    <a:pt x="146" y="241"/>
                    <a:pt x="148" y="241"/>
                    <a:pt x="149" y="242"/>
                  </a:cubicBezTo>
                  <a:cubicBezTo>
                    <a:pt x="157" y="242"/>
                    <a:pt x="157" y="242"/>
                    <a:pt x="157" y="242"/>
                  </a:cubicBezTo>
                  <a:cubicBezTo>
                    <a:pt x="181" y="205"/>
                    <a:pt x="181" y="205"/>
                    <a:pt x="181" y="205"/>
                  </a:cubicBezTo>
                  <a:cubicBezTo>
                    <a:pt x="177" y="196"/>
                    <a:pt x="177" y="196"/>
                    <a:pt x="177" y="196"/>
                  </a:cubicBezTo>
                  <a:cubicBezTo>
                    <a:pt x="176" y="195"/>
                    <a:pt x="176" y="195"/>
                    <a:pt x="176" y="195"/>
                  </a:cubicBezTo>
                  <a:cubicBezTo>
                    <a:pt x="176" y="194"/>
                    <a:pt x="176" y="194"/>
                    <a:pt x="176" y="194"/>
                  </a:cubicBezTo>
                  <a:cubicBezTo>
                    <a:pt x="175" y="191"/>
                    <a:pt x="175" y="191"/>
                    <a:pt x="175" y="191"/>
                  </a:cubicBezTo>
                  <a:cubicBezTo>
                    <a:pt x="175" y="189"/>
                    <a:pt x="175" y="189"/>
                    <a:pt x="175" y="189"/>
                  </a:cubicBezTo>
                  <a:cubicBezTo>
                    <a:pt x="175" y="187"/>
                    <a:pt x="175" y="187"/>
                    <a:pt x="175" y="187"/>
                  </a:cubicBezTo>
                  <a:cubicBezTo>
                    <a:pt x="183" y="165"/>
                    <a:pt x="183" y="165"/>
                    <a:pt x="183" y="165"/>
                  </a:cubicBezTo>
                  <a:cubicBezTo>
                    <a:pt x="183" y="162"/>
                    <a:pt x="185" y="158"/>
                    <a:pt x="191" y="156"/>
                  </a:cubicBezTo>
                  <a:cubicBezTo>
                    <a:pt x="207" y="150"/>
                    <a:pt x="207" y="150"/>
                    <a:pt x="207" y="150"/>
                  </a:cubicBezTo>
                  <a:cubicBezTo>
                    <a:pt x="208" y="150"/>
                    <a:pt x="208" y="150"/>
                    <a:pt x="208" y="150"/>
                  </a:cubicBezTo>
                  <a:cubicBezTo>
                    <a:pt x="209" y="149"/>
                    <a:pt x="209" y="149"/>
                    <a:pt x="209" y="149"/>
                  </a:cubicBezTo>
                  <a:cubicBezTo>
                    <a:pt x="209" y="149"/>
                    <a:pt x="210" y="149"/>
                    <a:pt x="211" y="149"/>
                  </a:cubicBezTo>
                  <a:cubicBezTo>
                    <a:pt x="214" y="149"/>
                    <a:pt x="217" y="151"/>
                    <a:pt x="218" y="151"/>
                  </a:cubicBezTo>
                  <a:cubicBezTo>
                    <a:pt x="221" y="153"/>
                    <a:pt x="221" y="153"/>
                    <a:pt x="221" y="153"/>
                  </a:cubicBezTo>
                  <a:cubicBezTo>
                    <a:pt x="222" y="156"/>
                    <a:pt x="222" y="156"/>
                    <a:pt x="222" y="156"/>
                  </a:cubicBezTo>
                  <a:cubicBezTo>
                    <a:pt x="224" y="167"/>
                    <a:pt x="224" y="167"/>
                    <a:pt x="224" y="167"/>
                  </a:cubicBezTo>
                  <a:cubicBezTo>
                    <a:pt x="225" y="170"/>
                    <a:pt x="225" y="170"/>
                    <a:pt x="225" y="170"/>
                  </a:cubicBezTo>
                  <a:cubicBezTo>
                    <a:pt x="225" y="173"/>
                    <a:pt x="225" y="173"/>
                    <a:pt x="225" y="173"/>
                  </a:cubicBezTo>
                  <a:cubicBezTo>
                    <a:pt x="227" y="172"/>
                    <a:pt x="228" y="171"/>
                    <a:pt x="228" y="171"/>
                  </a:cubicBezTo>
                  <a:cubicBezTo>
                    <a:pt x="239" y="169"/>
                    <a:pt x="239" y="169"/>
                    <a:pt x="239" y="169"/>
                  </a:cubicBezTo>
                  <a:cubicBezTo>
                    <a:pt x="240" y="169"/>
                    <a:pt x="240" y="169"/>
                    <a:pt x="241" y="169"/>
                  </a:cubicBezTo>
                  <a:cubicBezTo>
                    <a:pt x="246" y="169"/>
                    <a:pt x="250" y="172"/>
                    <a:pt x="250" y="176"/>
                  </a:cubicBezTo>
                  <a:cubicBezTo>
                    <a:pt x="251" y="178"/>
                    <a:pt x="251" y="178"/>
                    <a:pt x="251" y="178"/>
                  </a:cubicBezTo>
                  <a:cubicBezTo>
                    <a:pt x="251" y="178"/>
                    <a:pt x="251" y="178"/>
                    <a:pt x="251" y="178"/>
                  </a:cubicBezTo>
                  <a:cubicBezTo>
                    <a:pt x="251" y="179"/>
                    <a:pt x="251" y="179"/>
                    <a:pt x="251" y="179"/>
                  </a:cubicBezTo>
                  <a:cubicBezTo>
                    <a:pt x="253" y="196"/>
                    <a:pt x="253" y="196"/>
                    <a:pt x="253" y="196"/>
                  </a:cubicBezTo>
                  <a:cubicBezTo>
                    <a:pt x="254" y="199"/>
                    <a:pt x="254" y="199"/>
                    <a:pt x="254" y="199"/>
                  </a:cubicBezTo>
                  <a:cubicBezTo>
                    <a:pt x="252" y="201"/>
                    <a:pt x="252" y="201"/>
                    <a:pt x="252" y="201"/>
                  </a:cubicBezTo>
                  <a:cubicBezTo>
                    <a:pt x="251" y="203"/>
                    <a:pt x="251" y="203"/>
                    <a:pt x="251" y="203"/>
                  </a:cubicBezTo>
                  <a:cubicBezTo>
                    <a:pt x="250" y="204"/>
                    <a:pt x="250" y="204"/>
                    <a:pt x="250" y="204"/>
                  </a:cubicBezTo>
                  <a:cubicBezTo>
                    <a:pt x="250" y="205"/>
                    <a:pt x="250" y="205"/>
                    <a:pt x="250" y="205"/>
                  </a:cubicBezTo>
                  <a:cubicBezTo>
                    <a:pt x="232" y="221"/>
                    <a:pt x="232" y="221"/>
                    <a:pt x="232" y="221"/>
                  </a:cubicBezTo>
                  <a:cubicBezTo>
                    <a:pt x="230" y="225"/>
                    <a:pt x="226" y="226"/>
                    <a:pt x="225" y="226"/>
                  </a:cubicBezTo>
                  <a:cubicBezTo>
                    <a:pt x="224" y="226"/>
                    <a:pt x="224" y="226"/>
                    <a:pt x="224" y="226"/>
                  </a:cubicBezTo>
                  <a:cubicBezTo>
                    <a:pt x="222" y="226"/>
                    <a:pt x="222" y="226"/>
                    <a:pt x="222" y="226"/>
                  </a:cubicBezTo>
                  <a:cubicBezTo>
                    <a:pt x="220" y="226"/>
                    <a:pt x="220" y="226"/>
                    <a:pt x="220" y="226"/>
                  </a:cubicBezTo>
                  <a:cubicBezTo>
                    <a:pt x="240" y="292"/>
                    <a:pt x="240" y="292"/>
                    <a:pt x="240" y="292"/>
                  </a:cubicBezTo>
                  <a:cubicBezTo>
                    <a:pt x="287" y="292"/>
                    <a:pt x="287" y="292"/>
                    <a:pt x="287" y="292"/>
                  </a:cubicBezTo>
                  <a:lnTo>
                    <a:pt x="255" y="184"/>
                  </a:lnTo>
                  <a:close/>
                  <a:moveTo>
                    <a:pt x="188" y="263"/>
                  </a:moveTo>
                  <a:cubicBezTo>
                    <a:pt x="193" y="269"/>
                    <a:pt x="193" y="269"/>
                    <a:pt x="193" y="269"/>
                  </a:cubicBezTo>
                  <a:cubicBezTo>
                    <a:pt x="194" y="270"/>
                    <a:pt x="194" y="270"/>
                    <a:pt x="194" y="270"/>
                  </a:cubicBezTo>
                  <a:cubicBezTo>
                    <a:pt x="194" y="272"/>
                    <a:pt x="194" y="272"/>
                    <a:pt x="194" y="272"/>
                  </a:cubicBezTo>
                  <a:cubicBezTo>
                    <a:pt x="195" y="275"/>
                    <a:pt x="195" y="275"/>
                    <a:pt x="195" y="275"/>
                  </a:cubicBezTo>
                  <a:cubicBezTo>
                    <a:pt x="195" y="277"/>
                    <a:pt x="195" y="277"/>
                    <a:pt x="195" y="277"/>
                  </a:cubicBezTo>
                  <a:cubicBezTo>
                    <a:pt x="196" y="279"/>
                    <a:pt x="196" y="279"/>
                    <a:pt x="196" y="279"/>
                  </a:cubicBezTo>
                  <a:cubicBezTo>
                    <a:pt x="195" y="281"/>
                    <a:pt x="195" y="281"/>
                    <a:pt x="195" y="281"/>
                  </a:cubicBezTo>
                  <a:cubicBezTo>
                    <a:pt x="191" y="292"/>
                    <a:pt x="191" y="292"/>
                    <a:pt x="191" y="292"/>
                  </a:cubicBezTo>
                  <a:cubicBezTo>
                    <a:pt x="225" y="292"/>
                    <a:pt x="225" y="292"/>
                    <a:pt x="225" y="292"/>
                  </a:cubicBezTo>
                  <a:cubicBezTo>
                    <a:pt x="208" y="233"/>
                    <a:pt x="208" y="233"/>
                    <a:pt x="208" y="233"/>
                  </a:cubicBezTo>
                  <a:lnTo>
                    <a:pt x="188" y="263"/>
                  </a:lnTo>
                  <a:close/>
                </a:path>
              </a:pathLst>
            </a:custGeom>
            <a:grpFill/>
            <a:ln>
              <a:noFill/>
            </a:ln>
            <a:extLst/>
          </p:spPr>
          <p:txBody>
            <a:bodyPr vert="horz" wrap="square" lIns="93234" tIns="46616" rIns="93234" bIns="46616" numCol="1" anchor="t" anchorCtr="0" compatLnSpc="1">
              <a:prstTxWarp prst="textNoShape">
                <a:avLst/>
              </a:prstTxWarp>
            </a:bodyPr>
            <a:lstStyle/>
            <a:p>
              <a:pPr algn="ctr" defTabSz="932239"/>
              <a:endParaRPr lang="en-US" sz="1836" kern="0">
                <a:solidFill>
                  <a:srgbClr val="505050"/>
                </a:solidFill>
              </a:endParaRPr>
            </a:p>
          </p:txBody>
        </p:sp>
        <p:sp>
          <p:nvSpPr>
            <p:cNvPr id="18" name="Freeform 5"/>
            <p:cNvSpPr>
              <a:spLocks noChangeAspect="1" noEditPoints="1"/>
            </p:cNvSpPr>
            <p:nvPr/>
          </p:nvSpPr>
          <p:spPr bwMode="auto">
            <a:xfrm>
              <a:off x="9130727" y="1717993"/>
              <a:ext cx="633114" cy="664924"/>
            </a:xfrm>
            <a:custGeom>
              <a:avLst/>
              <a:gdLst>
                <a:gd name="T0" fmla="*/ 81 w 258"/>
                <a:gd name="T1" fmla="*/ 52 h 271"/>
                <a:gd name="T2" fmla="*/ 131 w 258"/>
                <a:gd name="T3" fmla="*/ 0 h 271"/>
                <a:gd name="T4" fmla="*/ 132 w 258"/>
                <a:gd name="T5" fmla="*/ 103 h 271"/>
                <a:gd name="T6" fmla="*/ 96 w 258"/>
                <a:gd name="T7" fmla="*/ 89 h 271"/>
                <a:gd name="T8" fmla="*/ 217 w 258"/>
                <a:gd name="T9" fmla="*/ 263 h 271"/>
                <a:gd name="T10" fmla="*/ 118 w 258"/>
                <a:gd name="T11" fmla="*/ 271 h 271"/>
                <a:gd name="T12" fmla="*/ 110 w 258"/>
                <a:gd name="T13" fmla="*/ 197 h 271"/>
                <a:gd name="T14" fmla="*/ 209 w 258"/>
                <a:gd name="T15" fmla="*/ 189 h 271"/>
                <a:gd name="T16" fmla="*/ 203 w 258"/>
                <a:gd name="T17" fmla="*/ 253 h 271"/>
                <a:gd name="T18" fmla="*/ 124 w 258"/>
                <a:gd name="T19" fmla="*/ 203 h 271"/>
                <a:gd name="T20" fmla="*/ 203 w 258"/>
                <a:gd name="T21" fmla="*/ 253 h 271"/>
                <a:gd name="T22" fmla="*/ 164 w 258"/>
                <a:gd name="T23" fmla="*/ 266 h 271"/>
                <a:gd name="T24" fmla="*/ 160 w 258"/>
                <a:gd name="T25" fmla="*/ 262 h 271"/>
                <a:gd name="T26" fmla="*/ 164 w 258"/>
                <a:gd name="T27" fmla="*/ 266 h 271"/>
                <a:gd name="T28" fmla="*/ 164 w 258"/>
                <a:gd name="T29" fmla="*/ 261 h 271"/>
                <a:gd name="T30" fmla="*/ 160 w 258"/>
                <a:gd name="T31" fmla="*/ 259 h 271"/>
                <a:gd name="T32" fmla="*/ 164 w 258"/>
                <a:gd name="T33" fmla="*/ 261 h 271"/>
                <a:gd name="T34" fmla="*/ 170 w 258"/>
                <a:gd name="T35" fmla="*/ 266 h 271"/>
                <a:gd name="T36" fmla="*/ 164 w 258"/>
                <a:gd name="T37" fmla="*/ 262 h 271"/>
                <a:gd name="T38" fmla="*/ 170 w 258"/>
                <a:gd name="T39" fmla="*/ 266 h 271"/>
                <a:gd name="T40" fmla="*/ 170 w 258"/>
                <a:gd name="T41" fmla="*/ 261 h 271"/>
                <a:gd name="T42" fmla="*/ 164 w 258"/>
                <a:gd name="T43" fmla="*/ 258 h 271"/>
                <a:gd name="T44" fmla="*/ 170 w 258"/>
                <a:gd name="T45" fmla="*/ 261 h 271"/>
                <a:gd name="T46" fmla="*/ 62 w 258"/>
                <a:gd name="T47" fmla="*/ 262 h 271"/>
                <a:gd name="T48" fmla="*/ 75 w 258"/>
                <a:gd name="T49" fmla="*/ 198 h 271"/>
                <a:gd name="T50" fmla="*/ 43 w 258"/>
                <a:gd name="T51" fmla="*/ 262 h 271"/>
                <a:gd name="T52" fmla="*/ 0 w 258"/>
                <a:gd name="T53" fmla="*/ 262 h 271"/>
                <a:gd name="T54" fmla="*/ 88 w 258"/>
                <a:gd name="T55" fmla="*/ 120 h 271"/>
                <a:gd name="T56" fmla="*/ 168 w 258"/>
                <a:gd name="T57" fmla="*/ 120 h 271"/>
                <a:gd name="T58" fmla="*/ 229 w 258"/>
                <a:gd name="T59" fmla="*/ 165 h 271"/>
                <a:gd name="T60" fmla="*/ 223 w 258"/>
                <a:gd name="T61" fmla="*/ 262 h 271"/>
                <a:gd name="T62" fmla="*/ 209 w 258"/>
                <a:gd name="T63" fmla="*/ 183 h 271"/>
                <a:gd name="T64" fmla="*/ 104 w 258"/>
                <a:gd name="T65" fmla="*/ 197 h 271"/>
                <a:gd name="T66" fmla="*/ 223 w 258"/>
                <a:gd name="T67" fmla="*/ 154 h 271"/>
                <a:gd name="T68" fmla="*/ 223 w 258"/>
                <a:gd name="T69" fmla="*/ 154 h 271"/>
                <a:gd name="T70" fmla="*/ 33 w 258"/>
                <a:gd name="T71" fmla="*/ 15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8" h="271">
                  <a:moveTo>
                    <a:pt x="96" y="89"/>
                  </a:moveTo>
                  <a:cubicBezTo>
                    <a:pt x="86" y="79"/>
                    <a:pt x="81" y="66"/>
                    <a:pt x="81" y="52"/>
                  </a:cubicBezTo>
                  <a:cubicBezTo>
                    <a:pt x="81" y="38"/>
                    <a:pt x="85" y="25"/>
                    <a:pt x="95" y="15"/>
                  </a:cubicBezTo>
                  <a:cubicBezTo>
                    <a:pt x="105" y="5"/>
                    <a:pt x="118" y="0"/>
                    <a:pt x="131" y="0"/>
                  </a:cubicBezTo>
                  <a:cubicBezTo>
                    <a:pt x="159" y="0"/>
                    <a:pt x="182" y="23"/>
                    <a:pt x="182" y="51"/>
                  </a:cubicBezTo>
                  <a:cubicBezTo>
                    <a:pt x="182" y="80"/>
                    <a:pt x="160" y="103"/>
                    <a:pt x="132" y="103"/>
                  </a:cubicBezTo>
                  <a:cubicBezTo>
                    <a:pt x="131" y="103"/>
                    <a:pt x="131" y="103"/>
                    <a:pt x="131" y="103"/>
                  </a:cubicBezTo>
                  <a:cubicBezTo>
                    <a:pt x="118" y="103"/>
                    <a:pt x="105" y="99"/>
                    <a:pt x="96" y="89"/>
                  </a:cubicBezTo>
                  <a:close/>
                  <a:moveTo>
                    <a:pt x="217" y="197"/>
                  </a:moveTo>
                  <a:cubicBezTo>
                    <a:pt x="217" y="263"/>
                    <a:pt x="217" y="263"/>
                    <a:pt x="217" y="263"/>
                  </a:cubicBezTo>
                  <a:cubicBezTo>
                    <a:pt x="217" y="267"/>
                    <a:pt x="213" y="271"/>
                    <a:pt x="209" y="271"/>
                  </a:cubicBezTo>
                  <a:cubicBezTo>
                    <a:pt x="118" y="271"/>
                    <a:pt x="118" y="271"/>
                    <a:pt x="118" y="271"/>
                  </a:cubicBezTo>
                  <a:cubicBezTo>
                    <a:pt x="114" y="271"/>
                    <a:pt x="110" y="267"/>
                    <a:pt x="110" y="263"/>
                  </a:cubicBezTo>
                  <a:cubicBezTo>
                    <a:pt x="110" y="197"/>
                    <a:pt x="110" y="197"/>
                    <a:pt x="110" y="197"/>
                  </a:cubicBezTo>
                  <a:cubicBezTo>
                    <a:pt x="110" y="193"/>
                    <a:pt x="113" y="189"/>
                    <a:pt x="118" y="189"/>
                  </a:cubicBezTo>
                  <a:cubicBezTo>
                    <a:pt x="209" y="189"/>
                    <a:pt x="209" y="189"/>
                    <a:pt x="209" y="189"/>
                  </a:cubicBezTo>
                  <a:cubicBezTo>
                    <a:pt x="214" y="189"/>
                    <a:pt x="217" y="193"/>
                    <a:pt x="217" y="197"/>
                  </a:cubicBezTo>
                  <a:close/>
                  <a:moveTo>
                    <a:pt x="203" y="253"/>
                  </a:moveTo>
                  <a:cubicBezTo>
                    <a:pt x="203" y="203"/>
                    <a:pt x="203" y="203"/>
                    <a:pt x="203" y="203"/>
                  </a:cubicBezTo>
                  <a:cubicBezTo>
                    <a:pt x="124" y="203"/>
                    <a:pt x="124" y="203"/>
                    <a:pt x="124" y="203"/>
                  </a:cubicBezTo>
                  <a:cubicBezTo>
                    <a:pt x="124" y="253"/>
                    <a:pt x="124" y="253"/>
                    <a:pt x="124" y="253"/>
                  </a:cubicBezTo>
                  <a:lnTo>
                    <a:pt x="203" y="253"/>
                  </a:lnTo>
                  <a:close/>
                  <a:moveTo>
                    <a:pt x="164" y="266"/>
                  </a:moveTo>
                  <a:cubicBezTo>
                    <a:pt x="164" y="266"/>
                    <a:pt x="164" y="266"/>
                    <a:pt x="164" y="266"/>
                  </a:cubicBezTo>
                  <a:cubicBezTo>
                    <a:pt x="164" y="262"/>
                    <a:pt x="164" y="262"/>
                    <a:pt x="164" y="262"/>
                  </a:cubicBezTo>
                  <a:cubicBezTo>
                    <a:pt x="164" y="262"/>
                    <a:pt x="164" y="262"/>
                    <a:pt x="160" y="262"/>
                  </a:cubicBezTo>
                  <a:cubicBezTo>
                    <a:pt x="160" y="262"/>
                    <a:pt x="160" y="262"/>
                    <a:pt x="160" y="265"/>
                  </a:cubicBezTo>
                  <a:cubicBezTo>
                    <a:pt x="160" y="265"/>
                    <a:pt x="160" y="265"/>
                    <a:pt x="164" y="266"/>
                  </a:cubicBezTo>
                  <a:close/>
                  <a:moveTo>
                    <a:pt x="164" y="261"/>
                  </a:moveTo>
                  <a:cubicBezTo>
                    <a:pt x="164" y="261"/>
                    <a:pt x="164" y="261"/>
                    <a:pt x="164" y="261"/>
                  </a:cubicBezTo>
                  <a:cubicBezTo>
                    <a:pt x="164" y="258"/>
                    <a:pt x="164" y="258"/>
                    <a:pt x="164" y="258"/>
                  </a:cubicBezTo>
                  <a:cubicBezTo>
                    <a:pt x="164" y="258"/>
                    <a:pt x="164" y="258"/>
                    <a:pt x="160" y="259"/>
                  </a:cubicBezTo>
                  <a:cubicBezTo>
                    <a:pt x="160" y="259"/>
                    <a:pt x="160" y="259"/>
                    <a:pt x="160" y="261"/>
                  </a:cubicBezTo>
                  <a:cubicBezTo>
                    <a:pt x="160" y="261"/>
                    <a:pt x="160" y="261"/>
                    <a:pt x="164" y="261"/>
                  </a:cubicBezTo>
                  <a:close/>
                  <a:moveTo>
                    <a:pt x="170" y="266"/>
                  </a:moveTo>
                  <a:cubicBezTo>
                    <a:pt x="170" y="266"/>
                    <a:pt x="170" y="266"/>
                    <a:pt x="170" y="266"/>
                  </a:cubicBezTo>
                  <a:cubicBezTo>
                    <a:pt x="170" y="262"/>
                    <a:pt x="170" y="262"/>
                    <a:pt x="170" y="262"/>
                  </a:cubicBezTo>
                  <a:cubicBezTo>
                    <a:pt x="170" y="262"/>
                    <a:pt x="170" y="262"/>
                    <a:pt x="164" y="262"/>
                  </a:cubicBezTo>
                  <a:cubicBezTo>
                    <a:pt x="164" y="262"/>
                    <a:pt x="164" y="262"/>
                    <a:pt x="164" y="266"/>
                  </a:cubicBezTo>
                  <a:cubicBezTo>
                    <a:pt x="164" y="266"/>
                    <a:pt x="164" y="266"/>
                    <a:pt x="170" y="266"/>
                  </a:cubicBezTo>
                  <a:close/>
                  <a:moveTo>
                    <a:pt x="170" y="261"/>
                  </a:moveTo>
                  <a:cubicBezTo>
                    <a:pt x="170" y="261"/>
                    <a:pt x="170" y="261"/>
                    <a:pt x="170" y="261"/>
                  </a:cubicBezTo>
                  <a:cubicBezTo>
                    <a:pt x="170" y="257"/>
                    <a:pt x="170" y="257"/>
                    <a:pt x="170" y="257"/>
                  </a:cubicBezTo>
                  <a:cubicBezTo>
                    <a:pt x="170" y="257"/>
                    <a:pt x="170" y="257"/>
                    <a:pt x="164" y="258"/>
                  </a:cubicBezTo>
                  <a:cubicBezTo>
                    <a:pt x="164" y="258"/>
                    <a:pt x="164" y="258"/>
                    <a:pt x="164" y="261"/>
                  </a:cubicBezTo>
                  <a:cubicBezTo>
                    <a:pt x="164" y="261"/>
                    <a:pt x="164" y="261"/>
                    <a:pt x="170" y="261"/>
                  </a:cubicBezTo>
                  <a:close/>
                  <a:moveTo>
                    <a:pt x="104" y="262"/>
                  </a:moveTo>
                  <a:cubicBezTo>
                    <a:pt x="62" y="262"/>
                    <a:pt x="62" y="262"/>
                    <a:pt x="62" y="262"/>
                  </a:cubicBezTo>
                  <a:cubicBezTo>
                    <a:pt x="57" y="262"/>
                    <a:pt x="57" y="262"/>
                    <a:pt x="57" y="262"/>
                  </a:cubicBezTo>
                  <a:cubicBezTo>
                    <a:pt x="57" y="262"/>
                    <a:pt x="57" y="262"/>
                    <a:pt x="75" y="198"/>
                  </a:cubicBezTo>
                  <a:cubicBezTo>
                    <a:pt x="75" y="198"/>
                    <a:pt x="75" y="198"/>
                    <a:pt x="62" y="198"/>
                  </a:cubicBezTo>
                  <a:cubicBezTo>
                    <a:pt x="62" y="198"/>
                    <a:pt x="62" y="198"/>
                    <a:pt x="43" y="262"/>
                  </a:cubicBezTo>
                  <a:cubicBezTo>
                    <a:pt x="43" y="262"/>
                    <a:pt x="43" y="262"/>
                    <a:pt x="42" y="262"/>
                  </a:cubicBezTo>
                  <a:cubicBezTo>
                    <a:pt x="40" y="262"/>
                    <a:pt x="31" y="262"/>
                    <a:pt x="0" y="262"/>
                  </a:cubicBezTo>
                  <a:cubicBezTo>
                    <a:pt x="29" y="165"/>
                    <a:pt x="29" y="165"/>
                    <a:pt x="29" y="165"/>
                  </a:cubicBezTo>
                  <a:cubicBezTo>
                    <a:pt x="34" y="150"/>
                    <a:pt x="54" y="121"/>
                    <a:pt x="88" y="120"/>
                  </a:cubicBezTo>
                  <a:cubicBezTo>
                    <a:pt x="89" y="120"/>
                    <a:pt x="89" y="120"/>
                    <a:pt x="90" y="120"/>
                  </a:cubicBezTo>
                  <a:cubicBezTo>
                    <a:pt x="90" y="120"/>
                    <a:pt x="165" y="120"/>
                    <a:pt x="168" y="120"/>
                  </a:cubicBezTo>
                  <a:cubicBezTo>
                    <a:pt x="169" y="120"/>
                    <a:pt x="169" y="120"/>
                    <a:pt x="170" y="120"/>
                  </a:cubicBezTo>
                  <a:cubicBezTo>
                    <a:pt x="204" y="121"/>
                    <a:pt x="224" y="150"/>
                    <a:pt x="229" y="165"/>
                  </a:cubicBezTo>
                  <a:cubicBezTo>
                    <a:pt x="258" y="262"/>
                    <a:pt x="258" y="262"/>
                    <a:pt x="258" y="262"/>
                  </a:cubicBezTo>
                  <a:cubicBezTo>
                    <a:pt x="258" y="262"/>
                    <a:pt x="258" y="262"/>
                    <a:pt x="223" y="262"/>
                  </a:cubicBezTo>
                  <a:cubicBezTo>
                    <a:pt x="223" y="197"/>
                    <a:pt x="223" y="197"/>
                    <a:pt x="223" y="197"/>
                  </a:cubicBezTo>
                  <a:cubicBezTo>
                    <a:pt x="223" y="190"/>
                    <a:pt x="217" y="183"/>
                    <a:pt x="209" y="183"/>
                  </a:cubicBezTo>
                  <a:cubicBezTo>
                    <a:pt x="118" y="183"/>
                    <a:pt x="118" y="183"/>
                    <a:pt x="118" y="183"/>
                  </a:cubicBezTo>
                  <a:cubicBezTo>
                    <a:pt x="110" y="183"/>
                    <a:pt x="104" y="190"/>
                    <a:pt x="104" y="197"/>
                  </a:cubicBezTo>
                  <a:lnTo>
                    <a:pt x="104" y="262"/>
                  </a:lnTo>
                  <a:close/>
                  <a:moveTo>
                    <a:pt x="223" y="154"/>
                  </a:moveTo>
                  <a:cubicBezTo>
                    <a:pt x="224" y="155"/>
                    <a:pt x="224" y="156"/>
                    <a:pt x="225" y="157"/>
                  </a:cubicBezTo>
                  <a:cubicBezTo>
                    <a:pt x="224" y="156"/>
                    <a:pt x="224" y="155"/>
                    <a:pt x="223" y="154"/>
                  </a:cubicBezTo>
                  <a:close/>
                  <a:moveTo>
                    <a:pt x="35" y="154"/>
                  </a:moveTo>
                  <a:cubicBezTo>
                    <a:pt x="34" y="155"/>
                    <a:pt x="34" y="156"/>
                    <a:pt x="33" y="157"/>
                  </a:cubicBezTo>
                  <a:cubicBezTo>
                    <a:pt x="34" y="156"/>
                    <a:pt x="34" y="155"/>
                    <a:pt x="35" y="1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algn="ctr" defTabSz="932239"/>
              <a:endParaRPr lang="en-US" sz="1836" kern="0" dirty="0">
                <a:solidFill>
                  <a:srgbClr val="505050"/>
                </a:solidFill>
              </a:endParaRPr>
            </a:p>
          </p:txBody>
        </p:sp>
        <p:grpSp>
          <p:nvGrpSpPr>
            <p:cNvPr id="19" name="Group 4"/>
            <p:cNvGrpSpPr>
              <a:grpSpLocks/>
            </p:cNvGrpSpPr>
            <p:nvPr/>
          </p:nvGrpSpPr>
          <p:grpSpPr bwMode="auto">
            <a:xfrm>
              <a:off x="9890692" y="1712108"/>
              <a:ext cx="629033" cy="664924"/>
              <a:chOff x="3730" y="2047"/>
              <a:chExt cx="222" cy="226"/>
            </a:xfrm>
            <a:grpFill/>
          </p:grpSpPr>
          <p:sp>
            <p:nvSpPr>
              <p:cNvPr id="20" name="AutoShape 3"/>
              <p:cNvSpPr>
                <a:spLocks noChangeAspect="1" noChangeArrowheads="1" noTextEdit="1"/>
              </p:cNvSpPr>
              <p:nvPr/>
            </p:nvSpPr>
            <p:spPr bwMode="auto">
              <a:xfrm>
                <a:off x="3730" y="2047"/>
                <a:ext cx="220" cy="22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algn="ctr" defTabSz="932239"/>
                <a:endParaRPr lang="en-US" sz="1836" kern="0" baseline="-25000">
                  <a:solidFill>
                    <a:srgbClr val="505050"/>
                  </a:solidFill>
                </a:endParaRPr>
              </a:p>
            </p:txBody>
          </p:sp>
          <p:sp>
            <p:nvSpPr>
              <p:cNvPr id="21" name="Oval 5"/>
              <p:cNvSpPr>
                <a:spLocks noChangeArrowheads="1"/>
              </p:cNvSpPr>
              <p:nvPr/>
            </p:nvSpPr>
            <p:spPr bwMode="auto">
              <a:xfrm>
                <a:off x="3798" y="2049"/>
                <a:ext cx="88"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algn="ctr" defTabSz="932239"/>
                <a:endParaRPr lang="en-US" sz="1836" kern="0" baseline="-25000">
                  <a:solidFill>
                    <a:srgbClr val="505050"/>
                  </a:solidFill>
                </a:endParaRPr>
              </a:p>
            </p:txBody>
          </p:sp>
          <p:sp>
            <p:nvSpPr>
              <p:cNvPr id="22" name="Freeform 6"/>
              <p:cNvSpPr>
                <a:spLocks noEditPoints="1"/>
              </p:cNvSpPr>
              <p:nvPr/>
            </p:nvSpPr>
            <p:spPr bwMode="auto">
              <a:xfrm>
                <a:off x="3835" y="2181"/>
                <a:ext cx="58" cy="41"/>
              </a:xfrm>
              <a:custGeom>
                <a:avLst/>
                <a:gdLst>
                  <a:gd name="T0" fmla="*/ 12 w 24"/>
                  <a:gd name="T1" fmla="*/ 0 h 17"/>
                  <a:gd name="T2" fmla="*/ 0 w 24"/>
                  <a:gd name="T3" fmla="*/ 12 h 17"/>
                  <a:gd name="T4" fmla="*/ 0 w 24"/>
                  <a:gd name="T5" fmla="*/ 15 h 17"/>
                  <a:gd name="T6" fmla="*/ 7 w 24"/>
                  <a:gd name="T7" fmla="*/ 15 h 17"/>
                  <a:gd name="T8" fmla="*/ 12 w 24"/>
                  <a:gd name="T9" fmla="*/ 17 h 17"/>
                  <a:gd name="T10" fmla="*/ 17 w 24"/>
                  <a:gd name="T11" fmla="*/ 15 h 17"/>
                  <a:gd name="T12" fmla="*/ 21 w 24"/>
                  <a:gd name="T13" fmla="*/ 15 h 17"/>
                  <a:gd name="T14" fmla="*/ 21 w 24"/>
                  <a:gd name="T15" fmla="*/ 14 h 17"/>
                  <a:gd name="T16" fmla="*/ 24 w 24"/>
                  <a:gd name="T17" fmla="*/ 14 h 17"/>
                  <a:gd name="T18" fmla="*/ 24 w 24"/>
                  <a:gd name="T19" fmla="*/ 12 h 17"/>
                  <a:gd name="T20" fmla="*/ 12 w 24"/>
                  <a:gd name="T21" fmla="*/ 0 h 17"/>
                  <a:gd name="T22" fmla="*/ 5 w 24"/>
                  <a:gd name="T23" fmla="*/ 12 h 17"/>
                  <a:gd name="T24" fmla="*/ 3 w 24"/>
                  <a:gd name="T25" fmla="*/ 12 h 17"/>
                  <a:gd name="T26" fmla="*/ 2 w 24"/>
                  <a:gd name="T27" fmla="*/ 12 h 17"/>
                  <a:gd name="T28" fmla="*/ 3 w 24"/>
                  <a:gd name="T29" fmla="*/ 11 h 17"/>
                  <a:gd name="T30" fmla="*/ 5 w 24"/>
                  <a:gd name="T31" fmla="*/ 11 h 17"/>
                  <a:gd name="T32" fmla="*/ 5 w 24"/>
                  <a:gd name="T33" fmla="*/ 12 h 17"/>
                  <a:gd name="T34" fmla="*/ 5 w 24"/>
                  <a:gd name="T35" fmla="*/ 12 h 17"/>
                  <a:gd name="T36" fmla="*/ 7 w 24"/>
                  <a:gd name="T37" fmla="*/ 9 h 17"/>
                  <a:gd name="T38" fmla="*/ 6 w 24"/>
                  <a:gd name="T39" fmla="*/ 9 h 17"/>
                  <a:gd name="T40" fmla="*/ 6 w 24"/>
                  <a:gd name="T41" fmla="*/ 9 h 17"/>
                  <a:gd name="T42" fmla="*/ 4 w 24"/>
                  <a:gd name="T43" fmla="*/ 8 h 17"/>
                  <a:gd name="T44" fmla="*/ 4 w 24"/>
                  <a:gd name="T45" fmla="*/ 7 h 17"/>
                  <a:gd name="T46" fmla="*/ 5 w 24"/>
                  <a:gd name="T47" fmla="*/ 7 h 17"/>
                  <a:gd name="T48" fmla="*/ 6 w 24"/>
                  <a:gd name="T49" fmla="*/ 8 h 17"/>
                  <a:gd name="T50" fmla="*/ 7 w 24"/>
                  <a:gd name="T51" fmla="*/ 9 h 17"/>
                  <a:gd name="T52" fmla="*/ 12 w 24"/>
                  <a:gd name="T53" fmla="*/ 4 h 17"/>
                  <a:gd name="T54" fmla="*/ 12 w 24"/>
                  <a:gd name="T55" fmla="*/ 3 h 17"/>
                  <a:gd name="T56" fmla="*/ 13 w 24"/>
                  <a:gd name="T57" fmla="*/ 4 h 17"/>
                  <a:gd name="T58" fmla="*/ 13 w 24"/>
                  <a:gd name="T59" fmla="*/ 5 h 17"/>
                  <a:gd name="T60" fmla="*/ 12 w 24"/>
                  <a:gd name="T61" fmla="*/ 6 h 17"/>
                  <a:gd name="T62" fmla="*/ 12 w 24"/>
                  <a:gd name="T63" fmla="*/ 5 h 17"/>
                  <a:gd name="T64" fmla="*/ 12 w 24"/>
                  <a:gd name="T65" fmla="*/ 4 h 17"/>
                  <a:gd name="T66" fmla="*/ 13 w 24"/>
                  <a:gd name="T67" fmla="*/ 14 h 17"/>
                  <a:gd name="T68" fmla="*/ 10 w 24"/>
                  <a:gd name="T69" fmla="*/ 13 h 17"/>
                  <a:gd name="T70" fmla="*/ 7 w 24"/>
                  <a:gd name="T71" fmla="*/ 4 h 17"/>
                  <a:gd name="T72" fmla="*/ 14 w 24"/>
                  <a:gd name="T73" fmla="*/ 11 h 17"/>
                  <a:gd name="T74" fmla="*/ 13 w 24"/>
                  <a:gd name="T75" fmla="*/ 14 h 17"/>
                  <a:gd name="T76" fmla="*/ 17 w 24"/>
                  <a:gd name="T77" fmla="*/ 5 h 17"/>
                  <a:gd name="T78" fmla="*/ 16 w 24"/>
                  <a:gd name="T79" fmla="*/ 6 h 17"/>
                  <a:gd name="T80" fmla="*/ 15 w 24"/>
                  <a:gd name="T81" fmla="*/ 7 h 17"/>
                  <a:gd name="T82" fmla="*/ 15 w 24"/>
                  <a:gd name="T83" fmla="*/ 7 h 17"/>
                  <a:gd name="T84" fmla="*/ 15 w 24"/>
                  <a:gd name="T85" fmla="*/ 6 h 17"/>
                  <a:gd name="T86" fmla="*/ 16 w 24"/>
                  <a:gd name="T87" fmla="*/ 4 h 17"/>
                  <a:gd name="T88" fmla="*/ 17 w 24"/>
                  <a:gd name="T89" fmla="*/ 4 h 17"/>
                  <a:gd name="T90" fmla="*/ 17 w 24"/>
                  <a:gd name="T91" fmla="*/ 5 h 17"/>
                  <a:gd name="T92" fmla="*/ 18 w 24"/>
                  <a:gd name="T93" fmla="*/ 9 h 17"/>
                  <a:gd name="T94" fmla="*/ 17 w 24"/>
                  <a:gd name="T95" fmla="*/ 9 h 17"/>
                  <a:gd name="T96" fmla="*/ 18 w 24"/>
                  <a:gd name="T97" fmla="*/ 8 h 17"/>
                  <a:gd name="T98" fmla="*/ 19 w 24"/>
                  <a:gd name="T99" fmla="*/ 7 h 17"/>
                  <a:gd name="T100" fmla="*/ 20 w 24"/>
                  <a:gd name="T101" fmla="*/ 7 h 17"/>
                  <a:gd name="T102" fmla="*/ 20 w 24"/>
                  <a:gd name="T103" fmla="*/ 8 h 17"/>
                  <a:gd name="T104" fmla="*/ 18 w 24"/>
                  <a:gd name="T105" fmla="*/ 9 h 17"/>
                  <a:gd name="T106" fmla="*/ 18 w 24"/>
                  <a:gd name="T107" fmla="*/ 9 h 17"/>
                  <a:gd name="T108" fmla="*/ 22 w 24"/>
                  <a:gd name="T109" fmla="*/ 12 h 17"/>
                  <a:gd name="T110" fmla="*/ 21 w 24"/>
                  <a:gd name="T111" fmla="*/ 12 h 17"/>
                  <a:gd name="T112" fmla="*/ 19 w 24"/>
                  <a:gd name="T113" fmla="*/ 12 h 17"/>
                  <a:gd name="T114" fmla="*/ 19 w 24"/>
                  <a:gd name="T115" fmla="*/ 12 h 17"/>
                  <a:gd name="T116" fmla="*/ 19 w 24"/>
                  <a:gd name="T117" fmla="*/ 11 h 17"/>
                  <a:gd name="T118" fmla="*/ 21 w 24"/>
                  <a:gd name="T119" fmla="*/ 11 h 17"/>
                  <a:gd name="T120" fmla="*/ 22 w 24"/>
                  <a:gd name="T121"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 h="17">
                    <a:moveTo>
                      <a:pt x="12" y="0"/>
                    </a:moveTo>
                    <a:cubicBezTo>
                      <a:pt x="6" y="0"/>
                      <a:pt x="0" y="6"/>
                      <a:pt x="0" y="12"/>
                    </a:cubicBezTo>
                    <a:cubicBezTo>
                      <a:pt x="0" y="13"/>
                      <a:pt x="0" y="14"/>
                      <a:pt x="0" y="15"/>
                    </a:cubicBezTo>
                    <a:cubicBezTo>
                      <a:pt x="0" y="15"/>
                      <a:pt x="0" y="15"/>
                      <a:pt x="7" y="15"/>
                    </a:cubicBezTo>
                    <a:cubicBezTo>
                      <a:pt x="8" y="16"/>
                      <a:pt x="10" y="17"/>
                      <a:pt x="12" y="17"/>
                    </a:cubicBezTo>
                    <a:cubicBezTo>
                      <a:pt x="14" y="17"/>
                      <a:pt x="16" y="16"/>
                      <a:pt x="17" y="15"/>
                    </a:cubicBezTo>
                    <a:cubicBezTo>
                      <a:pt x="17" y="15"/>
                      <a:pt x="17" y="15"/>
                      <a:pt x="21" y="15"/>
                    </a:cubicBezTo>
                    <a:cubicBezTo>
                      <a:pt x="21" y="14"/>
                      <a:pt x="21" y="14"/>
                      <a:pt x="21" y="14"/>
                    </a:cubicBezTo>
                    <a:cubicBezTo>
                      <a:pt x="22" y="14"/>
                      <a:pt x="23" y="14"/>
                      <a:pt x="24" y="14"/>
                    </a:cubicBezTo>
                    <a:cubicBezTo>
                      <a:pt x="24" y="14"/>
                      <a:pt x="24" y="13"/>
                      <a:pt x="24" y="12"/>
                    </a:cubicBezTo>
                    <a:cubicBezTo>
                      <a:pt x="24" y="6"/>
                      <a:pt x="19" y="0"/>
                      <a:pt x="12" y="0"/>
                    </a:cubicBezTo>
                    <a:close/>
                    <a:moveTo>
                      <a:pt x="5" y="12"/>
                    </a:moveTo>
                    <a:cubicBezTo>
                      <a:pt x="3" y="12"/>
                      <a:pt x="3" y="12"/>
                      <a:pt x="3" y="12"/>
                    </a:cubicBezTo>
                    <a:cubicBezTo>
                      <a:pt x="3" y="12"/>
                      <a:pt x="2" y="12"/>
                      <a:pt x="2" y="12"/>
                    </a:cubicBezTo>
                    <a:cubicBezTo>
                      <a:pt x="2" y="11"/>
                      <a:pt x="3" y="11"/>
                      <a:pt x="3" y="11"/>
                    </a:cubicBezTo>
                    <a:cubicBezTo>
                      <a:pt x="5" y="11"/>
                      <a:pt x="5" y="11"/>
                      <a:pt x="5" y="11"/>
                    </a:cubicBezTo>
                    <a:cubicBezTo>
                      <a:pt x="5" y="11"/>
                      <a:pt x="5" y="11"/>
                      <a:pt x="5" y="12"/>
                    </a:cubicBezTo>
                    <a:cubicBezTo>
                      <a:pt x="5" y="12"/>
                      <a:pt x="5" y="12"/>
                      <a:pt x="5" y="12"/>
                    </a:cubicBezTo>
                    <a:close/>
                    <a:moveTo>
                      <a:pt x="7" y="9"/>
                    </a:moveTo>
                    <a:cubicBezTo>
                      <a:pt x="7" y="9"/>
                      <a:pt x="6" y="9"/>
                      <a:pt x="6" y="9"/>
                    </a:cubicBezTo>
                    <a:cubicBezTo>
                      <a:pt x="6" y="9"/>
                      <a:pt x="6" y="9"/>
                      <a:pt x="6" y="9"/>
                    </a:cubicBezTo>
                    <a:cubicBezTo>
                      <a:pt x="4" y="8"/>
                      <a:pt x="4" y="8"/>
                      <a:pt x="4" y="8"/>
                    </a:cubicBezTo>
                    <a:cubicBezTo>
                      <a:pt x="4" y="8"/>
                      <a:pt x="4" y="8"/>
                      <a:pt x="4" y="7"/>
                    </a:cubicBezTo>
                    <a:cubicBezTo>
                      <a:pt x="4" y="7"/>
                      <a:pt x="5" y="7"/>
                      <a:pt x="5" y="7"/>
                    </a:cubicBezTo>
                    <a:cubicBezTo>
                      <a:pt x="6" y="8"/>
                      <a:pt x="6" y="8"/>
                      <a:pt x="6" y="8"/>
                    </a:cubicBezTo>
                    <a:cubicBezTo>
                      <a:pt x="7" y="8"/>
                      <a:pt x="7" y="9"/>
                      <a:pt x="7" y="9"/>
                    </a:cubicBezTo>
                    <a:close/>
                    <a:moveTo>
                      <a:pt x="12" y="4"/>
                    </a:moveTo>
                    <a:cubicBezTo>
                      <a:pt x="12" y="3"/>
                      <a:pt x="12" y="3"/>
                      <a:pt x="12" y="3"/>
                    </a:cubicBezTo>
                    <a:cubicBezTo>
                      <a:pt x="12" y="3"/>
                      <a:pt x="13" y="3"/>
                      <a:pt x="13" y="4"/>
                    </a:cubicBezTo>
                    <a:cubicBezTo>
                      <a:pt x="13" y="5"/>
                      <a:pt x="13" y="5"/>
                      <a:pt x="13" y="5"/>
                    </a:cubicBezTo>
                    <a:cubicBezTo>
                      <a:pt x="13" y="6"/>
                      <a:pt x="12" y="6"/>
                      <a:pt x="12" y="6"/>
                    </a:cubicBezTo>
                    <a:cubicBezTo>
                      <a:pt x="12" y="6"/>
                      <a:pt x="12" y="6"/>
                      <a:pt x="12" y="5"/>
                    </a:cubicBezTo>
                    <a:cubicBezTo>
                      <a:pt x="12" y="4"/>
                      <a:pt x="12" y="4"/>
                      <a:pt x="12" y="4"/>
                    </a:cubicBezTo>
                    <a:close/>
                    <a:moveTo>
                      <a:pt x="13" y="14"/>
                    </a:moveTo>
                    <a:cubicBezTo>
                      <a:pt x="12" y="15"/>
                      <a:pt x="11" y="14"/>
                      <a:pt x="10" y="13"/>
                    </a:cubicBezTo>
                    <a:cubicBezTo>
                      <a:pt x="9" y="12"/>
                      <a:pt x="7" y="4"/>
                      <a:pt x="7" y="4"/>
                    </a:cubicBezTo>
                    <a:cubicBezTo>
                      <a:pt x="7" y="4"/>
                      <a:pt x="13" y="10"/>
                      <a:pt x="14" y="11"/>
                    </a:cubicBezTo>
                    <a:cubicBezTo>
                      <a:pt x="14" y="12"/>
                      <a:pt x="14" y="14"/>
                      <a:pt x="13" y="14"/>
                    </a:cubicBezTo>
                    <a:close/>
                    <a:moveTo>
                      <a:pt x="17" y="5"/>
                    </a:moveTo>
                    <a:cubicBezTo>
                      <a:pt x="16" y="6"/>
                      <a:pt x="16" y="6"/>
                      <a:pt x="16" y="6"/>
                    </a:cubicBezTo>
                    <a:cubicBezTo>
                      <a:pt x="16" y="7"/>
                      <a:pt x="16" y="7"/>
                      <a:pt x="15" y="7"/>
                    </a:cubicBezTo>
                    <a:cubicBezTo>
                      <a:pt x="15" y="7"/>
                      <a:pt x="15" y="7"/>
                      <a:pt x="15" y="7"/>
                    </a:cubicBezTo>
                    <a:cubicBezTo>
                      <a:pt x="15" y="6"/>
                      <a:pt x="15" y="6"/>
                      <a:pt x="15" y="6"/>
                    </a:cubicBezTo>
                    <a:cubicBezTo>
                      <a:pt x="16" y="4"/>
                      <a:pt x="16" y="4"/>
                      <a:pt x="16" y="4"/>
                    </a:cubicBezTo>
                    <a:cubicBezTo>
                      <a:pt x="16" y="4"/>
                      <a:pt x="16" y="4"/>
                      <a:pt x="17" y="4"/>
                    </a:cubicBezTo>
                    <a:cubicBezTo>
                      <a:pt x="17" y="4"/>
                      <a:pt x="17" y="5"/>
                      <a:pt x="17" y="5"/>
                    </a:cubicBezTo>
                    <a:close/>
                    <a:moveTo>
                      <a:pt x="18" y="9"/>
                    </a:moveTo>
                    <a:cubicBezTo>
                      <a:pt x="18" y="9"/>
                      <a:pt x="18" y="9"/>
                      <a:pt x="17" y="9"/>
                    </a:cubicBezTo>
                    <a:cubicBezTo>
                      <a:pt x="17" y="8"/>
                      <a:pt x="17" y="8"/>
                      <a:pt x="18" y="8"/>
                    </a:cubicBezTo>
                    <a:cubicBezTo>
                      <a:pt x="19" y="7"/>
                      <a:pt x="19" y="7"/>
                      <a:pt x="19" y="7"/>
                    </a:cubicBezTo>
                    <a:cubicBezTo>
                      <a:pt x="19" y="7"/>
                      <a:pt x="20" y="7"/>
                      <a:pt x="20" y="7"/>
                    </a:cubicBezTo>
                    <a:cubicBezTo>
                      <a:pt x="20" y="7"/>
                      <a:pt x="20" y="8"/>
                      <a:pt x="20" y="8"/>
                    </a:cubicBezTo>
                    <a:cubicBezTo>
                      <a:pt x="18" y="9"/>
                      <a:pt x="18" y="9"/>
                      <a:pt x="18" y="9"/>
                    </a:cubicBezTo>
                    <a:cubicBezTo>
                      <a:pt x="18" y="9"/>
                      <a:pt x="18" y="9"/>
                      <a:pt x="18" y="9"/>
                    </a:cubicBezTo>
                    <a:close/>
                    <a:moveTo>
                      <a:pt x="22" y="12"/>
                    </a:moveTo>
                    <a:cubicBezTo>
                      <a:pt x="22" y="12"/>
                      <a:pt x="21" y="12"/>
                      <a:pt x="21" y="12"/>
                    </a:cubicBezTo>
                    <a:cubicBezTo>
                      <a:pt x="19" y="12"/>
                      <a:pt x="19" y="12"/>
                      <a:pt x="19" y="12"/>
                    </a:cubicBezTo>
                    <a:cubicBezTo>
                      <a:pt x="19" y="12"/>
                      <a:pt x="19" y="12"/>
                      <a:pt x="19" y="12"/>
                    </a:cubicBezTo>
                    <a:cubicBezTo>
                      <a:pt x="19" y="11"/>
                      <a:pt x="19" y="11"/>
                      <a:pt x="19" y="11"/>
                    </a:cubicBezTo>
                    <a:cubicBezTo>
                      <a:pt x="21" y="11"/>
                      <a:pt x="21" y="11"/>
                      <a:pt x="21" y="11"/>
                    </a:cubicBezTo>
                    <a:cubicBezTo>
                      <a:pt x="21" y="11"/>
                      <a:pt x="22" y="11"/>
                      <a:pt x="2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algn="ctr" defTabSz="932239"/>
                <a:endParaRPr lang="en-US" sz="1836" kern="0" baseline="-25000">
                  <a:solidFill>
                    <a:srgbClr val="505050"/>
                  </a:solidFill>
                </a:endParaRPr>
              </a:p>
            </p:txBody>
          </p:sp>
          <p:sp>
            <p:nvSpPr>
              <p:cNvPr id="23" name="Freeform 7"/>
              <p:cNvSpPr>
                <a:spLocks/>
              </p:cNvSpPr>
              <p:nvPr/>
            </p:nvSpPr>
            <p:spPr bwMode="auto">
              <a:xfrm>
                <a:off x="3730" y="2149"/>
                <a:ext cx="222" cy="122"/>
              </a:xfrm>
              <a:custGeom>
                <a:avLst/>
                <a:gdLst>
                  <a:gd name="T0" fmla="*/ 76 w 91"/>
                  <a:gd name="T1" fmla="*/ 50 h 50"/>
                  <a:gd name="T2" fmla="*/ 91 w 91"/>
                  <a:gd name="T3" fmla="*/ 50 h 50"/>
                  <a:gd name="T4" fmla="*/ 81 w 91"/>
                  <a:gd name="T5" fmla="*/ 16 h 50"/>
                  <a:gd name="T6" fmla="*/ 60 w 91"/>
                  <a:gd name="T7" fmla="*/ 0 h 50"/>
                  <a:gd name="T8" fmla="*/ 32 w 91"/>
                  <a:gd name="T9" fmla="*/ 0 h 50"/>
                  <a:gd name="T10" fmla="*/ 10 w 91"/>
                  <a:gd name="T11" fmla="*/ 16 h 50"/>
                  <a:gd name="T12" fmla="*/ 0 w 91"/>
                  <a:gd name="T13" fmla="*/ 50 h 50"/>
                  <a:gd name="T14" fmla="*/ 15 w 91"/>
                  <a:gd name="T15" fmla="*/ 50 h 50"/>
                  <a:gd name="T16" fmla="*/ 22 w 91"/>
                  <a:gd name="T17" fmla="*/ 27 h 50"/>
                  <a:gd name="T18" fmla="*/ 27 w 91"/>
                  <a:gd name="T19" fmla="*/ 27 h 50"/>
                  <a:gd name="T20" fmla="*/ 20 w 91"/>
                  <a:gd name="T21" fmla="*/ 50 h 50"/>
                  <a:gd name="T22" fmla="*/ 72 w 91"/>
                  <a:gd name="T23" fmla="*/ 50 h 50"/>
                  <a:gd name="T24" fmla="*/ 68 w 91"/>
                  <a:gd name="T25" fmla="*/ 36 h 50"/>
                  <a:gd name="T26" fmla="*/ 56 w 91"/>
                  <a:gd name="T27" fmla="*/ 41 h 50"/>
                  <a:gd name="T28" fmla="*/ 40 w 91"/>
                  <a:gd name="T29" fmla="*/ 25 h 50"/>
                  <a:gd name="T30" fmla="*/ 56 w 91"/>
                  <a:gd name="T31" fmla="*/ 9 h 50"/>
                  <a:gd name="T32" fmla="*/ 72 w 91"/>
                  <a:gd name="T33" fmla="*/ 25 h 50"/>
                  <a:gd name="T34" fmla="*/ 71 w 91"/>
                  <a:gd name="T35" fmla="*/ 31 h 50"/>
                  <a:gd name="T36" fmla="*/ 76 w 91"/>
                  <a:gd name="T3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50">
                    <a:moveTo>
                      <a:pt x="76" y="50"/>
                    </a:moveTo>
                    <a:cubicBezTo>
                      <a:pt x="91" y="50"/>
                      <a:pt x="91" y="50"/>
                      <a:pt x="91" y="50"/>
                    </a:cubicBezTo>
                    <a:cubicBezTo>
                      <a:pt x="81" y="16"/>
                      <a:pt x="81" y="16"/>
                      <a:pt x="81" y="16"/>
                    </a:cubicBezTo>
                    <a:cubicBezTo>
                      <a:pt x="80" y="10"/>
                      <a:pt x="73" y="0"/>
                      <a:pt x="60" y="0"/>
                    </a:cubicBezTo>
                    <a:cubicBezTo>
                      <a:pt x="32" y="0"/>
                      <a:pt x="32" y="0"/>
                      <a:pt x="32" y="0"/>
                    </a:cubicBezTo>
                    <a:cubicBezTo>
                      <a:pt x="19" y="0"/>
                      <a:pt x="12" y="10"/>
                      <a:pt x="10" y="16"/>
                    </a:cubicBezTo>
                    <a:cubicBezTo>
                      <a:pt x="0" y="50"/>
                      <a:pt x="0" y="50"/>
                      <a:pt x="0" y="50"/>
                    </a:cubicBezTo>
                    <a:cubicBezTo>
                      <a:pt x="15" y="50"/>
                      <a:pt x="15" y="50"/>
                      <a:pt x="15" y="50"/>
                    </a:cubicBezTo>
                    <a:cubicBezTo>
                      <a:pt x="22" y="27"/>
                      <a:pt x="22" y="27"/>
                      <a:pt x="22" y="27"/>
                    </a:cubicBezTo>
                    <a:cubicBezTo>
                      <a:pt x="27" y="27"/>
                      <a:pt x="27" y="27"/>
                      <a:pt x="27" y="27"/>
                    </a:cubicBezTo>
                    <a:cubicBezTo>
                      <a:pt x="20" y="50"/>
                      <a:pt x="20" y="50"/>
                      <a:pt x="20" y="50"/>
                    </a:cubicBezTo>
                    <a:cubicBezTo>
                      <a:pt x="72" y="50"/>
                      <a:pt x="72" y="50"/>
                      <a:pt x="72" y="50"/>
                    </a:cubicBezTo>
                    <a:cubicBezTo>
                      <a:pt x="70" y="44"/>
                      <a:pt x="69" y="39"/>
                      <a:pt x="68" y="36"/>
                    </a:cubicBezTo>
                    <a:cubicBezTo>
                      <a:pt x="65" y="39"/>
                      <a:pt x="61" y="41"/>
                      <a:pt x="56" y="41"/>
                    </a:cubicBezTo>
                    <a:cubicBezTo>
                      <a:pt x="47" y="41"/>
                      <a:pt x="40" y="34"/>
                      <a:pt x="40" y="25"/>
                    </a:cubicBezTo>
                    <a:cubicBezTo>
                      <a:pt x="40" y="17"/>
                      <a:pt x="47" y="9"/>
                      <a:pt x="56" y="9"/>
                    </a:cubicBezTo>
                    <a:cubicBezTo>
                      <a:pt x="65" y="9"/>
                      <a:pt x="72" y="17"/>
                      <a:pt x="72" y="25"/>
                    </a:cubicBezTo>
                    <a:cubicBezTo>
                      <a:pt x="72" y="27"/>
                      <a:pt x="72" y="29"/>
                      <a:pt x="71" y="31"/>
                    </a:cubicBezTo>
                    <a:cubicBezTo>
                      <a:pt x="76" y="50"/>
                      <a:pt x="76" y="50"/>
                      <a:pt x="76"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algn="ctr" defTabSz="932239"/>
                <a:endParaRPr lang="en-US" sz="1836" kern="0" baseline="-25000">
                  <a:solidFill>
                    <a:srgbClr val="505050"/>
                  </a:solidFill>
                </a:endParaRPr>
              </a:p>
            </p:txBody>
          </p:sp>
        </p:grpSp>
      </p:grpSp>
      <p:sp>
        <p:nvSpPr>
          <p:cNvPr id="27" name="TextBox 26"/>
          <p:cNvSpPr txBox="1"/>
          <p:nvPr/>
        </p:nvSpPr>
        <p:spPr>
          <a:xfrm>
            <a:off x="916239" y="2512611"/>
            <a:ext cx="2074536" cy="345816"/>
          </a:xfrm>
          <a:prstGeom prst="rect">
            <a:avLst/>
          </a:prstGeom>
          <a:noFill/>
        </p:spPr>
        <p:txBody>
          <a:bodyPr wrap="square" lIns="0" tIns="0" rIns="0" bIns="0" rtlCol="0">
            <a:spAutoFit/>
          </a:bodyPr>
          <a:lstStyle/>
          <a:p>
            <a:pPr algn="ctr" defTabSz="932205">
              <a:lnSpc>
                <a:spcPct val="90000"/>
              </a:lnSpc>
              <a:spcAft>
                <a:spcPts val="600"/>
              </a:spcAft>
            </a:pPr>
            <a:r>
              <a:rPr lang="en-US" sz="2448" kern="0" spc="-102" dirty="0">
                <a:ln w="3175">
                  <a:noFill/>
                </a:ln>
                <a:solidFill>
                  <a:srgbClr val="EDC30D"/>
                </a:solidFill>
                <a:cs typeface="Segoe UI Semibold" panose="020B0702040204020203" pitchFamily="34" charset="0"/>
              </a:rPr>
              <a:t>Everyone</a:t>
            </a:r>
          </a:p>
        </p:txBody>
      </p:sp>
      <p:grpSp>
        <p:nvGrpSpPr>
          <p:cNvPr id="28" name="Group 27"/>
          <p:cNvGrpSpPr/>
          <p:nvPr/>
        </p:nvGrpSpPr>
        <p:grpSpPr>
          <a:xfrm>
            <a:off x="770148" y="3250654"/>
            <a:ext cx="2362194" cy="1409085"/>
            <a:chOff x="9372283" y="3143744"/>
            <a:chExt cx="2431443" cy="1450393"/>
          </a:xfrm>
          <a:solidFill>
            <a:srgbClr val="EDC30D"/>
          </a:solidFill>
        </p:grpSpPr>
        <p:sp>
          <p:nvSpPr>
            <p:cNvPr id="29" name="TextBox 15"/>
            <p:cNvSpPr txBox="1"/>
            <p:nvPr/>
          </p:nvSpPr>
          <p:spPr>
            <a:xfrm>
              <a:off x="9372283" y="3896123"/>
              <a:ext cx="2431443" cy="698014"/>
            </a:xfrm>
            <a:prstGeom prst="rect">
              <a:avLst/>
            </a:prstGeom>
            <a:noFill/>
          </p:spPr>
          <p:txBody>
            <a:bodyPr wrap="square" lIns="0" tIns="0" rIns="0" bIns="0" rtlCol="0">
              <a:spAutoFit/>
            </a:bodyPr>
            <a:lstStyle/>
            <a:p>
              <a:pPr algn="ctr" defTabSz="932205">
                <a:lnSpc>
                  <a:spcPct val="90000"/>
                </a:lnSpc>
                <a:spcAft>
                  <a:spcPts val="600"/>
                </a:spcAft>
              </a:pPr>
              <a:r>
                <a:rPr lang="en-US" sz="2448" kern="0" spc="-102" dirty="0">
                  <a:ln w="3175">
                    <a:noFill/>
                  </a:ln>
                  <a:solidFill>
                    <a:srgbClr val="EDC30D"/>
                  </a:solidFill>
                  <a:cs typeface="Segoe UI Semibold" panose="020B0702040204020203" pitchFamily="34" charset="0"/>
                </a:rPr>
                <a:t>Analyst to </a:t>
              </a:r>
              <a:br>
                <a:rPr lang="en-US" sz="2448" kern="0" spc="-102" dirty="0">
                  <a:ln w="3175">
                    <a:noFill/>
                  </a:ln>
                  <a:solidFill>
                    <a:srgbClr val="EDC30D"/>
                  </a:solidFill>
                  <a:cs typeface="Segoe UI Semibold" panose="020B0702040204020203" pitchFamily="34" charset="0"/>
                </a:rPr>
              </a:br>
              <a:r>
                <a:rPr lang="en-US" sz="2448" kern="0" spc="-102" dirty="0">
                  <a:ln w="3175">
                    <a:noFill/>
                  </a:ln>
                  <a:solidFill>
                    <a:srgbClr val="EDC30D"/>
                  </a:solidFill>
                  <a:cs typeface="Segoe UI Semibold" panose="020B0702040204020203" pitchFamily="34" charset="0"/>
                </a:rPr>
                <a:t>end user</a:t>
              </a:r>
            </a:p>
          </p:txBody>
        </p:sp>
        <p:sp>
          <p:nvSpPr>
            <p:cNvPr id="30" name="Freeform 13"/>
            <p:cNvSpPr>
              <a:spLocks noChangeAspect="1" noEditPoints="1"/>
            </p:cNvSpPr>
            <p:nvPr/>
          </p:nvSpPr>
          <p:spPr bwMode="auto">
            <a:xfrm>
              <a:off x="10640907" y="3143744"/>
              <a:ext cx="657484" cy="667042"/>
            </a:xfrm>
            <a:custGeom>
              <a:avLst/>
              <a:gdLst>
                <a:gd name="T0" fmla="*/ 147 w 288"/>
                <a:gd name="T1" fmla="*/ 116 h 293"/>
                <a:gd name="T2" fmla="*/ 147 w 288"/>
                <a:gd name="T3" fmla="*/ 116 h 293"/>
                <a:gd name="T4" fmla="*/ 147 w 288"/>
                <a:gd name="T5" fmla="*/ 116 h 293"/>
                <a:gd name="T6" fmla="*/ 203 w 288"/>
                <a:gd name="T7" fmla="*/ 58 h 293"/>
                <a:gd name="T8" fmla="*/ 146 w 288"/>
                <a:gd name="T9" fmla="*/ 1 h 293"/>
                <a:gd name="T10" fmla="*/ 106 w 288"/>
                <a:gd name="T11" fmla="*/ 18 h 293"/>
                <a:gd name="T12" fmla="*/ 90 w 288"/>
                <a:gd name="T13" fmla="*/ 59 h 293"/>
                <a:gd name="T14" fmla="*/ 107 w 288"/>
                <a:gd name="T15" fmla="*/ 99 h 293"/>
                <a:gd name="T16" fmla="*/ 147 w 288"/>
                <a:gd name="T17" fmla="*/ 116 h 293"/>
                <a:gd name="T18" fmla="*/ 240 w 288"/>
                <a:gd name="T19" fmla="*/ 293 h 293"/>
                <a:gd name="T20" fmla="*/ 288 w 288"/>
                <a:gd name="T21" fmla="*/ 292 h 293"/>
                <a:gd name="T22" fmla="*/ 255 w 288"/>
                <a:gd name="T23" fmla="*/ 185 h 293"/>
                <a:gd name="T24" fmla="*/ 189 w 288"/>
                <a:gd name="T25" fmla="*/ 135 h 293"/>
                <a:gd name="T26" fmla="*/ 172 w 288"/>
                <a:gd name="T27" fmla="*/ 135 h 293"/>
                <a:gd name="T28" fmla="*/ 172 w 288"/>
                <a:gd name="T29" fmla="*/ 136 h 293"/>
                <a:gd name="T30" fmla="*/ 173 w 288"/>
                <a:gd name="T31" fmla="*/ 137 h 293"/>
                <a:gd name="T32" fmla="*/ 172 w 288"/>
                <a:gd name="T33" fmla="*/ 139 h 293"/>
                <a:gd name="T34" fmla="*/ 161 w 288"/>
                <a:gd name="T35" fmla="*/ 155 h 293"/>
                <a:gd name="T36" fmla="*/ 173 w 288"/>
                <a:gd name="T37" fmla="*/ 232 h 293"/>
                <a:gd name="T38" fmla="*/ 148 w 288"/>
                <a:gd name="T39" fmla="*/ 263 h 293"/>
                <a:gd name="T40" fmla="*/ 138 w 288"/>
                <a:gd name="T41" fmla="*/ 250 h 293"/>
                <a:gd name="T42" fmla="*/ 123 w 288"/>
                <a:gd name="T43" fmla="*/ 233 h 293"/>
                <a:gd name="T44" fmla="*/ 133 w 288"/>
                <a:gd name="T45" fmla="*/ 155 h 293"/>
                <a:gd name="T46" fmla="*/ 122 w 288"/>
                <a:gd name="T47" fmla="*/ 139 h 293"/>
                <a:gd name="T48" fmla="*/ 122 w 288"/>
                <a:gd name="T49" fmla="*/ 138 h 293"/>
                <a:gd name="T50" fmla="*/ 122 w 288"/>
                <a:gd name="T51" fmla="*/ 136 h 293"/>
                <a:gd name="T52" fmla="*/ 122 w 288"/>
                <a:gd name="T53" fmla="*/ 135 h 293"/>
                <a:gd name="T54" fmla="*/ 101 w 288"/>
                <a:gd name="T55" fmla="*/ 135 h 293"/>
                <a:gd name="T56" fmla="*/ 33 w 288"/>
                <a:gd name="T57" fmla="*/ 185 h 293"/>
                <a:gd name="T58" fmla="*/ 0 w 288"/>
                <a:gd name="T59" fmla="*/ 293 h 293"/>
                <a:gd name="T60" fmla="*/ 49 w 288"/>
                <a:gd name="T61" fmla="*/ 293 h 293"/>
                <a:gd name="T62" fmla="*/ 69 w 288"/>
                <a:gd name="T63" fmla="*/ 222 h 293"/>
                <a:gd name="T64" fmla="*/ 84 w 288"/>
                <a:gd name="T65" fmla="*/ 222 h 293"/>
                <a:gd name="T66" fmla="*/ 63 w 288"/>
                <a:gd name="T67" fmla="*/ 293 h 293"/>
                <a:gd name="T68" fmla="*/ 225 w 288"/>
                <a:gd name="T69" fmla="*/ 293 h 293"/>
                <a:gd name="T70" fmla="*/ 205 w 288"/>
                <a:gd name="T71" fmla="*/ 221 h 293"/>
                <a:gd name="T72" fmla="*/ 219 w 288"/>
                <a:gd name="T73" fmla="*/ 221 h 293"/>
                <a:gd name="T74" fmla="*/ 240 w 288"/>
                <a:gd name="T75" fmla="*/ 293 h 293"/>
                <a:gd name="T76" fmla="*/ 154 w 288"/>
                <a:gd name="T77" fmla="*/ 150 h 293"/>
                <a:gd name="T78" fmla="*/ 164 w 288"/>
                <a:gd name="T79" fmla="*/ 138 h 293"/>
                <a:gd name="T80" fmla="*/ 164 w 288"/>
                <a:gd name="T81" fmla="*/ 137 h 293"/>
                <a:gd name="T82" fmla="*/ 162 w 288"/>
                <a:gd name="T83" fmla="*/ 135 h 293"/>
                <a:gd name="T84" fmla="*/ 158 w 288"/>
                <a:gd name="T85" fmla="*/ 132 h 293"/>
                <a:gd name="T86" fmla="*/ 147 w 288"/>
                <a:gd name="T87" fmla="*/ 130 h 293"/>
                <a:gd name="T88" fmla="*/ 137 w 288"/>
                <a:gd name="T89" fmla="*/ 132 h 293"/>
                <a:gd name="T90" fmla="*/ 132 w 288"/>
                <a:gd name="T91" fmla="*/ 135 h 293"/>
                <a:gd name="T92" fmla="*/ 131 w 288"/>
                <a:gd name="T93" fmla="*/ 138 h 293"/>
                <a:gd name="T94" fmla="*/ 131 w 288"/>
                <a:gd name="T95" fmla="*/ 138 h 293"/>
                <a:gd name="T96" fmla="*/ 140 w 288"/>
                <a:gd name="T97" fmla="*/ 150 h 293"/>
                <a:gd name="T98" fmla="*/ 143 w 288"/>
                <a:gd name="T99" fmla="*/ 152 h 293"/>
                <a:gd name="T100" fmla="*/ 132 w 288"/>
                <a:gd name="T101" fmla="*/ 230 h 293"/>
                <a:gd name="T102" fmla="*/ 144 w 288"/>
                <a:gd name="T103" fmla="*/ 244 h 293"/>
                <a:gd name="T104" fmla="*/ 146 w 288"/>
                <a:gd name="T105" fmla="*/ 247 h 293"/>
                <a:gd name="T106" fmla="*/ 148 w 288"/>
                <a:gd name="T107" fmla="*/ 249 h 293"/>
                <a:gd name="T108" fmla="*/ 150 w 288"/>
                <a:gd name="T109" fmla="*/ 247 h 293"/>
                <a:gd name="T110" fmla="*/ 152 w 288"/>
                <a:gd name="T111" fmla="*/ 244 h 293"/>
                <a:gd name="T112" fmla="*/ 164 w 288"/>
                <a:gd name="T113" fmla="*/ 230 h 293"/>
                <a:gd name="T114" fmla="*/ 152 w 288"/>
                <a:gd name="T115" fmla="*/ 152 h 293"/>
                <a:gd name="T116" fmla="*/ 154 w 288"/>
                <a:gd name="T117" fmla="*/ 15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 h="293">
                  <a:moveTo>
                    <a:pt x="147" y="116"/>
                  </a:moveTo>
                  <a:cubicBezTo>
                    <a:pt x="147" y="116"/>
                    <a:pt x="147" y="116"/>
                    <a:pt x="147" y="116"/>
                  </a:cubicBezTo>
                  <a:cubicBezTo>
                    <a:pt x="147" y="116"/>
                    <a:pt x="147" y="116"/>
                    <a:pt x="147" y="116"/>
                  </a:cubicBezTo>
                  <a:cubicBezTo>
                    <a:pt x="178" y="115"/>
                    <a:pt x="203" y="89"/>
                    <a:pt x="203" y="58"/>
                  </a:cubicBezTo>
                  <a:cubicBezTo>
                    <a:pt x="202" y="26"/>
                    <a:pt x="177" y="0"/>
                    <a:pt x="146" y="1"/>
                  </a:cubicBezTo>
                  <a:cubicBezTo>
                    <a:pt x="131" y="1"/>
                    <a:pt x="117" y="7"/>
                    <a:pt x="106" y="18"/>
                  </a:cubicBezTo>
                  <a:cubicBezTo>
                    <a:pt x="96" y="29"/>
                    <a:pt x="90" y="43"/>
                    <a:pt x="90" y="59"/>
                  </a:cubicBezTo>
                  <a:cubicBezTo>
                    <a:pt x="90" y="74"/>
                    <a:pt x="96" y="89"/>
                    <a:pt x="107" y="99"/>
                  </a:cubicBezTo>
                  <a:cubicBezTo>
                    <a:pt x="118" y="110"/>
                    <a:pt x="132" y="116"/>
                    <a:pt x="147" y="116"/>
                  </a:cubicBezTo>
                  <a:close/>
                  <a:moveTo>
                    <a:pt x="240" y="293"/>
                  </a:moveTo>
                  <a:cubicBezTo>
                    <a:pt x="288" y="292"/>
                    <a:pt x="288" y="292"/>
                    <a:pt x="288" y="292"/>
                  </a:cubicBezTo>
                  <a:cubicBezTo>
                    <a:pt x="255" y="185"/>
                    <a:pt x="255" y="185"/>
                    <a:pt x="255" y="185"/>
                  </a:cubicBezTo>
                  <a:cubicBezTo>
                    <a:pt x="250" y="167"/>
                    <a:pt x="228" y="136"/>
                    <a:pt x="189" y="135"/>
                  </a:cubicBezTo>
                  <a:cubicBezTo>
                    <a:pt x="172" y="135"/>
                    <a:pt x="172" y="135"/>
                    <a:pt x="172" y="135"/>
                  </a:cubicBezTo>
                  <a:cubicBezTo>
                    <a:pt x="172" y="135"/>
                    <a:pt x="172" y="135"/>
                    <a:pt x="172" y="136"/>
                  </a:cubicBezTo>
                  <a:cubicBezTo>
                    <a:pt x="173" y="137"/>
                    <a:pt x="173" y="137"/>
                    <a:pt x="173" y="137"/>
                  </a:cubicBezTo>
                  <a:cubicBezTo>
                    <a:pt x="172" y="139"/>
                    <a:pt x="172" y="139"/>
                    <a:pt x="172" y="139"/>
                  </a:cubicBezTo>
                  <a:cubicBezTo>
                    <a:pt x="172" y="143"/>
                    <a:pt x="168" y="148"/>
                    <a:pt x="161" y="155"/>
                  </a:cubicBezTo>
                  <a:cubicBezTo>
                    <a:pt x="173" y="232"/>
                    <a:pt x="173" y="232"/>
                    <a:pt x="173" y="232"/>
                  </a:cubicBezTo>
                  <a:cubicBezTo>
                    <a:pt x="148" y="263"/>
                    <a:pt x="148" y="263"/>
                    <a:pt x="148" y="263"/>
                  </a:cubicBezTo>
                  <a:cubicBezTo>
                    <a:pt x="138" y="250"/>
                    <a:pt x="138" y="250"/>
                    <a:pt x="138" y="250"/>
                  </a:cubicBezTo>
                  <a:cubicBezTo>
                    <a:pt x="123" y="233"/>
                    <a:pt x="123" y="233"/>
                    <a:pt x="123" y="233"/>
                  </a:cubicBezTo>
                  <a:cubicBezTo>
                    <a:pt x="133" y="155"/>
                    <a:pt x="133" y="155"/>
                    <a:pt x="133" y="155"/>
                  </a:cubicBezTo>
                  <a:cubicBezTo>
                    <a:pt x="126" y="149"/>
                    <a:pt x="122" y="143"/>
                    <a:pt x="122" y="139"/>
                  </a:cubicBezTo>
                  <a:cubicBezTo>
                    <a:pt x="122" y="138"/>
                    <a:pt x="122" y="138"/>
                    <a:pt x="122" y="138"/>
                  </a:cubicBezTo>
                  <a:cubicBezTo>
                    <a:pt x="122" y="136"/>
                    <a:pt x="122" y="136"/>
                    <a:pt x="122" y="136"/>
                  </a:cubicBezTo>
                  <a:cubicBezTo>
                    <a:pt x="122" y="136"/>
                    <a:pt x="122" y="135"/>
                    <a:pt x="122" y="135"/>
                  </a:cubicBezTo>
                  <a:cubicBezTo>
                    <a:pt x="101" y="135"/>
                    <a:pt x="101" y="135"/>
                    <a:pt x="101" y="135"/>
                  </a:cubicBezTo>
                  <a:cubicBezTo>
                    <a:pt x="61" y="135"/>
                    <a:pt x="39" y="167"/>
                    <a:pt x="33" y="185"/>
                  </a:cubicBezTo>
                  <a:cubicBezTo>
                    <a:pt x="0" y="293"/>
                    <a:pt x="0" y="293"/>
                    <a:pt x="0" y="293"/>
                  </a:cubicBezTo>
                  <a:cubicBezTo>
                    <a:pt x="49" y="293"/>
                    <a:pt x="49" y="293"/>
                    <a:pt x="49" y="293"/>
                  </a:cubicBezTo>
                  <a:cubicBezTo>
                    <a:pt x="69" y="222"/>
                    <a:pt x="69" y="222"/>
                    <a:pt x="69" y="222"/>
                  </a:cubicBezTo>
                  <a:cubicBezTo>
                    <a:pt x="84" y="222"/>
                    <a:pt x="84" y="222"/>
                    <a:pt x="84" y="222"/>
                  </a:cubicBezTo>
                  <a:cubicBezTo>
                    <a:pt x="63" y="293"/>
                    <a:pt x="63" y="293"/>
                    <a:pt x="63" y="293"/>
                  </a:cubicBezTo>
                  <a:cubicBezTo>
                    <a:pt x="225" y="293"/>
                    <a:pt x="225" y="293"/>
                    <a:pt x="225" y="293"/>
                  </a:cubicBezTo>
                  <a:cubicBezTo>
                    <a:pt x="205" y="221"/>
                    <a:pt x="205" y="221"/>
                    <a:pt x="205" y="221"/>
                  </a:cubicBezTo>
                  <a:cubicBezTo>
                    <a:pt x="219" y="221"/>
                    <a:pt x="219" y="221"/>
                    <a:pt x="219" y="221"/>
                  </a:cubicBezTo>
                  <a:lnTo>
                    <a:pt x="240" y="293"/>
                  </a:lnTo>
                  <a:close/>
                  <a:moveTo>
                    <a:pt x="154" y="150"/>
                  </a:moveTo>
                  <a:cubicBezTo>
                    <a:pt x="163" y="142"/>
                    <a:pt x="164" y="138"/>
                    <a:pt x="164" y="138"/>
                  </a:cubicBezTo>
                  <a:cubicBezTo>
                    <a:pt x="164" y="137"/>
                    <a:pt x="164" y="137"/>
                    <a:pt x="164" y="137"/>
                  </a:cubicBezTo>
                  <a:cubicBezTo>
                    <a:pt x="164" y="137"/>
                    <a:pt x="163" y="136"/>
                    <a:pt x="162" y="135"/>
                  </a:cubicBezTo>
                  <a:cubicBezTo>
                    <a:pt x="161" y="134"/>
                    <a:pt x="160" y="133"/>
                    <a:pt x="158" y="132"/>
                  </a:cubicBezTo>
                  <a:cubicBezTo>
                    <a:pt x="155" y="131"/>
                    <a:pt x="151" y="130"/>
                    <a:pt x="147" y="130"/>
                  </a:cubicBezTo>
                  <a:cubicBezTo>
                    <a:pt x="144" y="130"/>
                    <a:pt x="140" y="131"/>
                    <a:pt x="137" y="132"/>
                  </a:cubicBezTo>
                  <a:cubicBezTo>
                    <a:pt x="135" y="133"/>
                    <a:pt x="133" y="134"/>
                    <a:pt x="132" y="135"/>
                  </a:cubicBezTo>
                  <a:cubicBezTo>
                    <a:pt x="131" y="136"/>
                    <a:pt x="131" y="137"/>
                    <a:pt x="131" y="138"/>
                  </a:cubicBezTo>
                  <a:cubicBezTo>
                    <a:pt x="131" y="138"/>
                    <a:pt x="131" y="138"/>
                    <a:pt x="131" y="138"/>
                  </a:cubicBezTo>
                  <a:cubicBezTo>
                    <a:pt x="131" y="138"/>
                    <a:pt x="131" y="142"/>
                    <a:pt x="140" y="150"/>
                  </a:cubicBezTo>
                  <a:cubicBezTo>
                    <a:pt x="143" y="152"/>
                    <a:pt x="143" y="152"/>
                    <a:pt x="143" y="152"/>
                  </a:cubicBezTo>
                  <a:cubicBezTo>
                    <a:pt x="132" y="230"/>
                    <a:pt x="132" y="230"/>
                    <a:pt x="132" y="230"/>
                  </a:cubicBezTo>
                  <a:cubicBezTo>
                    <a:pt x="144" y="244"/>
                    <a:pt x="144" y="244"/>
                    <a:pt x="144" y="244"/>
                  </a:cubicBezTo>
                  <a:cubicBezTo>
                    <a:pt x="146" y="247"/>
                    <a:pt x="146" y="247"/>
                    <a:pt x="146" y="247"/>
                  </a:cubicBezTo>
                  <a:cubicBezTo>
                    <a:pt x="148" y="249"/>
                    <a:pt x="148" y="249"/>
                    <a:pt x="148" y="249"/>
                  </a:cubicBezTo>
                  <a:cubicBezTo>
                    <a:pt x="150" y="247"/>
                    <a:pt x="150" y="247"/>
                    <a:pt x="150" y="247"/>
                  </a:cubicBezTo>
                  <a:cubicBezTo>
                    <a:pt x="152" y="244"/>
                    <a:pt x="152" y="244"/>
                    <a:pt x="152" y="244"/>
                  </a:cubicBezTo>
                  <a:cubicBezTo>
                    <a:pt x="164" y="230"/>
                    <a:pt x="164" y="230"/>
                    <a:pt x="164" y="230"/>
                  </a:cubicBezTo>
                  <a:cubicBezTo>
                    <a:pt x="152" y="152"/>
                    <a:pt x="152" y="152"/>
                    <a:pt x="152" y="152"/>
                  </a:cubicBezTo>
                  <a:lnTo>
                    <a:pt x="154" y="150"/>
                  </a:lnTo>
                  <a:close/>
                </a:path>
              </a:pathLst>
            </a:custGeom>
            <a:grpFill/>
            <a:ln>
              <a:noFill/>
            </a:ln>
            <a:extLst/>
          </p:spPr>
          <p:txBody>
            <a:bodyPr vert="horz" wrap="square" lIns="93234" tIns="46616" rIns="93234" bIns="46616" numCol="1" anchor="t" anchorCtr="0" compatLnSpc="1">
              <a:prstTxWarp prst="textNoShape">
                <a:avLst/>
              </a:prstTxWarp>
            </a:bodyPr>
            <a:lstStyle/>
            <a:p>
              <a:pPr defTabSz="932239"/>
              <a:endParaRPr lang="en-US" sz="1836" kern="0" dirty="0">
                <a:solidFill>
                  <a:srgbClr val="505050"/>
                </a:solidFill>
              </a:endParaRPr>
            </a:p>
          </p:txBody>
        </p:sp>
        <p:grpSp>
          <p:nvGrpSpPr>
            <p:cNvPr id="31" name="Group 4"/>
            <p:cNvGrpSpPr>
              <a:grpSpLocks/>
            </p:cNvGrpSpPr>
            <p:nvPr/>
          </p:nvGrpSpPr>
          <p:grpSpPr bwMode="auto">
            <a:xfrm>
              <a:off x="9890692" y="3156562"/>
              <a:ext cx="629033" cy="664924"/>
              <a:chOff x="3730" y="2047"/>
              <a:chExt cx="222" cy="226"/>
            </a:xfrm>
            <a:grpFill/>
          </p:grpSpPr>
          <p:sp>
            <p:nvSpPr>
              <p:cNvPr id="32" name="AutoShape 3"/>
              <p:cNvSpPr>
                <a:spLocks noChangeAspect="1" noChangeArrowheads="1" noTextEdit="1"/>
              </p:cNvSpPr>
              <p:nvPr/>
            </p:nvSpPr>
            <p:spPr bwMode="auto">
              <a:xfrm>
                <a:off x="3730" y="2047"/>
                <a:ext cx="220" cy="22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kern="0" baseline="-25000">
                  <a:solidFill>
                    <a:srgbClr val="505050"/>
                  </a:solidFill>
                </a:endParaRPr>
              </a:p>
            </p:txBody>
          </p:sp>
          <p:sp>
            <p:nvSpPr>
              <p:cNvPr id="33" name="Oval 5"/>
              <p:cNvSpPr>
                <a:spLocks noChangeArrowheads="1"/>
              </p:cNvSpPr>
              <p:nvPr/>
            </p:nvSpPr>
            <p:spPr bwMode="auto">
              <a:xfrm>
                <a:off x="3798" y="2049"/>
                <a:ext cx="88"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kern="0" baseline="-25000">
                  <a:solidFill>
                    <a:srgbClr val="505050"/>
                  </a:solidFill>
                </a:endParaRPr>
              </a:p>
            </p:txBody>
          </p:sp>
          <p:sp>
            <p:nvSpPr>
              <p:cNvPr id="34" name="Freeform 6"/>
              <p:cNvSpPr>
                <a:spLocks noEditPoints="1"/>
              </p:cNvSpPr>
              <p:nvPr/>
            </p:nvSpPr>
            <p:spPr bwMode="auto">
              <a:xfrm>
                <a:off x="3835" y="2181"/>
                <a:ext cx="58" cy="41"/>
              </a:xfrm>
              <a:custGeom>
                <a:avLst/>
                <a:gdLst>
                  <a:gd name="T0" fmla="*/ 12 w 24"/>
                  <a:gd name="T1" fmla="*/ 0 h 17"/>
                  <a:gd name="T2" fmla="*/ 0 w 24"/>
                  <a:gd name="T3" fmla="*/ 12 h 17"/>
                  <a:gd name="T4" fmla="*/ 0 w 24"/>
                  <a:gd name="T5" fmla="*/ 15 h 17"/>
                  <a:gd name="T6" fmla="*/ 7 w 24"/>
                  <a:gd name="T7" fmla="*/ 15 h 17"/>
                  <a:gd name="T8" fmla="*/ 12 w 24"/>
                  <a:gd name="T9" fmla="*/ 17 h 17"/>
                  <a:gd name="T10" fmla="*/ 17 w 24"/>
                  <a:gd name="T11" fmla="*/ 15 h 17"/>
                  <a:gd name="T12" fmla="*/ 21 w 24"/>
                  <a:gd name="T13" fmla="*/ 15 h 17"/>
                  <a:gd name="T14" fmla="*/ 21 w 24"/>
                  <a:gd name="T15" fmla="*/ 14 h 17"/>
                  <a:gd name="T16" fmla="*/ 24 w 24"/>
                  <a:gd name="T17" fmla="*/ 14 h 17"/>
                  <a:gd name="T18" fmla="*/ 24 w 24"/>
                  <a:gd name="T19" fmla="*/ 12 h 17"/>
                  <a:gd name="T20" fmla="*/ 12 w 24"/>
                  <a:gd name="T21" fmla="*/ 0 h 17"/>
                  <a:gd name="T22" fmla="*/ 5 w 24"/>
                  <a:gd name="T23" fmla="*/ 12 h 17"/>
                  <a:gd name="T24" fmla="*/ 3 w 24"/>
                  <a:gd name="T25" fmla="*/ 12 h 17"/>
                  <a:gd name="T26" fmla="*/ 2 w 24"/>
                  <a:gd name="T27" fmla="*/ 12 h 17"/>
                  <a:gd name="T28" fmla="*/ 3 w 24"/>
                  <a:gd name="T29" fmla="*/ 11 h 17"/>
                  <a:gd name="T30" fmla="*/ 5 w 24"/>
                  <a:gd name="T31" fmla="*/ 11 h 17"/>
                  <a:gd name="T32" fmla="*/ 5 w 24"/>
                  <a:gd name="T33" fmla="*/ 12 h 17"/>
                  <a:gd name="T34" fmla="*/ 5 w 24"/>
                  <a:gd name="T35" fmla="*/ 12 h 17"/>
                  <a:gd name="T36" fmla="*/ 7 w 24"/>
                  <a:gd name="T37" fmla="*/ 9 h 17"/>
                  <a:gd name="T38" fmla="*/ 6 w 24"/>
                  <a:gd name="T39" fmla="*/ 9 h 17"/>
                  <a:gd name="T40" fmla="*/ 6 w 24"/>
                  <a:gd name="T41" fmla="*/ 9 h 17"/>
                  <a:gd name="T42" fmla="*/ 4 w 24"/>
                  <a:gd name="T43" fmla="*/ 8 h 17"/>
                  <a:gd name="T44" fmla="*/ 4 w 24"/>
                  <a:gd name="T45" fmla="*/ 7 h 17"/>
                  <a:gd name="T46" fmla="*/ 5 w 24"/>
                  <a:gd name="T47" fmla="*/ 7 h 17"/>
                  <a:gd name="T48" fmla="*/ 6 w 24"/>
                  <a:gd name="T49" fmla="*/ 8 h 17"/>
                  <a:gd name="T50" fmla="*/ 7 w 24"/>
                  <a:gd name="T51" fmla="*/ 9 h 17"/>
                  <a:gd name="T52" fmla="*/ 12 w 24"/>
                  <a:gd name="T53" fmla="*/ 4 h 17"/>
                  <a:gd name="T54" fmla="*/ 12 w 24"/>
                  <a:gd name="T55" fmla="*/ 3 h 17"/>
                  <a:gd name="T56" fmla="*/ 13 w 24"/>
                  <a:gd name="T57" fmla="*/ 4 h 17"/>
                  <a:gd name="T58" fmla="*/ 13 w 24"/>
                  <a:gd name="T59" fmla="*/ 5 h 17"/>
                  <a:gd name="T60" fmla="*/ 12 w 24"/>
                  <a:gd name="T61" fmla="*/ 6 h 17"/>
                  <a:gd name="T62" fmla="*/ 12 w 24"/>
                  <a:gd name="T63" fmla="*/ 5 h 17"/>
                  <a:gd name="T64" fmla="*/ 12 w 24"/>
                  <a:gd name="T65" fmla="*/ 4 h 17"/>
                  <a:gd name="T66" fmla="*/ 13 w 24"/>
                  <a:gd name="T67" fmla="*/ 14 h 17"/>
                  <a:gd name="T68" fmla="*/ 10 w 24"/>
                  <a:gd name="T69" fmla="*/ 13 h 17"/>
                  <a:gd name="T70" fmla="*/ 7 w 24"/>
                  <a:gd name="T71" fmla="*/ 4 h 17"/>
                  <a:gd name="T72" fmla="*/ 14 w 24"/>
                  <a:gd name="T73" fmla="*/ 11 h 17"/>
                  <a:gd name="T74" fmla="*/ 13 w 24"/>
                  <a:gd name="T75" fmla="*/ 14 h 17"/>
                  <a:gd name="T76" fmla="*/ 17 w 24"/>
                  <a:gd name="T77" fmla="*/ 5 h 17"/>
                  <a:gd name="T78" fmla="*/ 16 w 24"/>
                  <a:gd name="T79" fmla="*/ 6 h 17"/>
                  <a:gd name="T80" fmla="*/ 15 w 24"/>
                  <a:gd name="T81" fmla="*/ 7 h 17"/>
                  <a:gd name="T82" fmla="*/ 15 w 24"/>
                  <a:gd name="T83" fmla="*/ 7 h 17"/>
                  <a:gd name="T84" fmla="*/ 15 w 24"/>
                  <a:gd name="T85" fmla="*/ 6 h 17"/>
                  <a:gd name="T86" fmla="*/ 16 w 24"/>
                  <a:gd name="T87" fmla="*/ 4 h 17"/>
                  <a:gd name="T88" fmla="*/ 17 w 24"/>
                  <a:gd name="T89" fmla="*/ 4 h 17"/>
                  <a:gd name="T90" fmla="*/ 17 w 24"/>
                  <a:gd name="T91" fmla="*/ 5 h 17"/>
                  <a:gd name="T92" fmla="*/ 18 w 24"/>
                  <a:gd name="T93" fmla="*/ 9 h 17"/>
                  <a:gd name="T94" fmla="*/ 17 w 24"/>
                  <a:gd name="T95" fmla="*/ 9 h 17"/>
                  <a:gd name="T96" fmla="*/ 18 w 24"/>
                  <a:gd name="T97" fmla="*/ 8 h 17"/>
                  <a:gd name="T98" fmla="*/ 19 w 24"/>
                  <a:gd name="T99" fmla="*/ 7 h 17"/>
                  <a:gd name="T100" fmla="*/ 20 w 24"/>
                  <a:gd name="T101" fmla="*/ 7 h 17"/>
                  <a:gd name="T102" fmla="*/ 20 w 24"/>
                  <a:gd name="T103" fmla="*/ 8 h 17"/>
                  <a:gd name="T104" fmla="*/ 18 w 24"/>
                  <a:gd name="T105" fmla="*/ 9 h 17"/>
                  <a:gd name="T106" fmla="*/ 18 w 24"/>
                  <a:gd name="T107" fmla="*/ 9 h 17"/>
                  <a:gd name="T108" fmla="*/ 22 w 24"/>
                  <a:gd name="T109" fmla="*/ 12 h 17"/>
                  <a:gd name="T110" fmla="*/ 21 w 24"/>
                  <a:gd name="T111" fmla="*/ 12 h 17"/>
                  <a:gd name="T112" fmla="*/ 19 w 24"/>
                  <a:gd name="T113" fmla="*/ 12 h 17"/>
                  <a:gd name="T114" fmla="*/ 19 w 24"/>
                  <a:gd name="T115" fmla="*/ 12 h 17"/>
                  <a:gd name="T116" fmla="*/ 19 w 24"/>
                  <a:gd name="T117" fmla="*/ 11 h 17"/>
                  <a:gd name="T118" fmla="*/ 21 w 24"/>
                  <a:gd name="T119" fmla="*/ 11 h 17"/>
                  <a:gd name="T120" fmla="*/ 22 w 24"/>
                  <a:gd name="T121"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 h="17">
                    <a:moveTo>
                      <a:pt x="12" y="0"/>
                    </a:moveTo>
                    <a:cubicBezTo>
                      <a:pt x="6" y="0"/>
                      <a:pt x="0" y="6"/>
                      <a:pt x="0" y="12"/>
                    </a:cubicBezTo>
                    <a:cubicBezTo>
                      <a:pt x="0" y="13"/>
                      <a:pt x="0" y="14"/>
                      <a:pt x="0" y="15"/>
                    </a:cubicBezTo>
                    <a:cubicBezTo>
                      <a:pt x="0" y="15"/>
                      <a:pt x="0" y="15"/>
                      <a:pt x="7" y="15"/>
                    </a:cubicBezTo>
                    <a:cubicBezTo>
                      <a:pt x="8" y="16"/>
                      <a:pt x="10" y="17"/>
                      <a:pt x="12" y="17"/>
                    </a:cubicBezTo>
                    <a:cubicBezTo>
                      <a:pt x="14" y="17"/>
                      <a:pt x="16" y="16"/>
                      <a:pt x="17" y="15"/>
                    </a:cubicBezTo>
                    <a:cubicBezTo>
                      <a:pt x="17" y="15"/>
                      <a:pt x="17" y="15"/>
                      <a:pt x="21" y="15"/>
                    </a:cubicBezTo>
                    <a:cubicBezTo>
                      <a:pt x="21" y="14"/>
                      <a:pt x="21" y="14"/>
                      <a:pt x="21" y="14"/>
                    </a:cubicBezTo>
                    <a:cubicBezTo>
                      <a:pt x="22" y="14"/>
                      <a:pt x="23" y="14"/>
                      <a:pt x="24" y="14"/>
                    </a:cubicBezTo>
                    <a:cubicBezTo>
                      <a:pt x="24" y="14"/>
                      <a:pt x="24" y="13"/>
                      <a:pt x="24" y="12"/>
                    </a:cubicBezTo>
                    <a:cubicBezTo>
                      <a:pt x="24" y="6"/>
                      <a:pt x="19" y="0"/>
                      <a:pt x="12" y="0"/>
                    </a:cubicBezTo>
                    <a:close/>
                    <a:moveTo>
                      <a:pt x="5" y="12"/>
                    </a:moveTo>
                    <a:cubicBezTo>
                      <a:pt x="3" y="12"/>
                      <a:pt x="3" y="12"/>
                      <a:pt x="3" y="12"/>
                    </a:cubicBezTo>
                    <a:cubicBezTo>
                      <a:pt x="3" y="12"/>
                      <a:pt x="2" y="12"/>
                      <a:pt x="2" y="12"/>
                    </a:cubicBezTo>
                    <a:cubicBezTo>
                      <a:pt x="2" y="11"/>
                      <a:pt x="3" y="11"/>
                      <a:pt x="3" y="11"/>
                    </a:cubicBezTo>
                    <a:cubicBezTo>
                      <a:pt x="5" y="11"/>
                      <a:pt x="5" y="11"/>
                      <a:pt x="5" y="11"/>
                    </a:cubicBezTo>
                    <a:cubicBezTo>
                      <a:pt x="5" y="11"/>
                      <a:pt x="5" y="11"/>
                      <a:pt x="5" y="12"/>
                    </a:cubicBezTo>
                    <a:cubicBezTo>
                      <a:pt x="5" y="12"/>
                      <a:pt x="5" y="12"/>
                      <a:pt x="5" y="12"/>
                    </a:cubicBezTo>
                    <a:close/>
                    <a:moveTo>
                      <a:pt x="7" y="9"/>
                    </a:moveTo>
                    <a:cubicBezTo>
                      <a:pt x="7" y="9"/>
                      <a:pt x="6" y="9"/>
                      <a:pt x="6" y="9"/>
                    </a:cubicBezTo>
                    <a:cubicBezTo>
                      <a:pt x="6" y="9"/>
                      <a:pt x="6" y="9"/>
                      <a:pt x="6" y="9"/>
                    </a:cubicBezTo>
                    <a:cubicBezTo>
                      <a:pt x="4" y="8"/>
                      <a:pt x="4" y="8"/>
                      <a:pt x="4" y="8"/>
                    </a:cubicBezTo>
                    <a:cubicBezTo>
                      <a:pt x="4" y="8"/>
                      <a:pt x="4" y="8"/>
                      <a:pt x="4" y="7"/>
                    </a:cubicBezTo>
                    <a:cubicBezTo>
                      <a:pt x="4" y="7"/>
                      <a:pt x="5" y="7"/>
                      <a:pt x="5" y="7"/>
                    </a:cubicBezTo>
                    <a:cubicBezTo>
                      <a:pt x="6" y="8"/>
                      <a:pt x="6" y="8"/>
                      <a:pt x="6" y="8"/>
                    </a:cubicBezTo>
                    <a:cubicBezTo>
                      <a:pt x="7" y="8"/>
                      <a:pt x="7" y="9"/>
                      <a:pt x="7" y="9"/>
                    </a:cubicBezTo>
                    <a:close/>
                    <a:moveTo>
                      <a:pt x="12" y="4"/>
                    </a:moveTo>
                    <a:cubicBezTo>
                      <a:pt x="12" y="3"/>
                      <a:pt x="12" y="3"/>
                      <a:pt x="12" y="3"/>
                    </a:cubicBezTo>
                    <a:cubicBezTo>
                      <a:pt x="12" y="3"/>
                      <a:pt x="13" y="3"/>
                      <a:pt x="13" y="4"/>
                    </a:cubicBezTo>
                    <a:cubicBezTo>
                      <a:pt x="13" y="5"/>
                      <a:pt x="13" y="5"/>
                      <a:pt x="13" y="5"/>
                    </a:cubicBezTo>
                    <a:cubicBezTo>
                      <a:pt x="13" y="6"/>
                      <a:pt x="12" y="6"/>
                      <a:pt x="12" y="6"/>
                    </a:cubicBezTo>
                    <a:cubicBezTo>
                      <a:pt x="12" y="6"/>
                      <a:pt x="12" y="6"/>
                      <a:pt x="12" y="5"/>
                    </a:cubicBezTo>
                    <a:cubicBezTo>
                      <a:pt x="12" y="4"/>
                      <a:pt x="12" y="4"/>
                      <a:pt x="12" y="4"/>
                    </a:cubicBezTo>
                    <a:close/>
                    <a:moveTo>
                      <a:pt x="13" y="14"/>
                    </a:moveTo>
                    <a:cubicBezTo>
                      <a:pt x="12" y="15"/>
                      <a:pt x="11" y="14"/>
                      <a:pt x="10" y="13"/>
                    </a:cubicBezTo>
                    <a:cubicBezTo>
                      <a:pt x="9" y="12"/>
                      <a:pt x="7" y="4"/>
                      <a:pt x="7" y="4"/>
                    </a:cubicBezTo>
                    <a:cubicBezTo>
                      <a:pt x="7" y="4"/>
                      <a:pt x="13" y="10"/>
                      <a:pt x="14" y="11"/>
                    </a:cubicBezTo>
                    <a:cubicBezTo>
                      <a:pt x="14" y="12"/>
                      <a:pt x="14" y="14"/>
                      <a:pt x="13" y="14"/>
                    </a:cubicBezTo>
                    <a:close/>
                    <a:moveTo>
                      <a:pt x="17" y="5"/>
                    </a:moveTo>
                    <a:cubicBezTo>
                      <a:pt x="16" y="6"/>
                      <a:pt x="16" y="6"/>
                      <a:pt x="16" y="6"/>
                    </a:cubicBezTo>
                    <a:cubicBezTo>
                      <a:pt x="16" y="7"/>
                      <a:pt x="16" y="7"/>
                      <a:pt x="15" y="7"/>
                    </a:cubicBezTo>
                    <a:cubicBezTo>
                      <a:pt x="15" y="7"/>
                      <a:pt x="15" y="7"/>
                      <a:pt x="15" y="7"/>
                    </a:cubicBezTo>
                    <a:cubicBezTo>
                      <a:pt x="15" y="6"/>
                      <a:pt x="15" y="6"/>
                      <a:pt x="15" y="6"/>
                    </a:cubicBezTo>
                    <a:cubicBezTo>
                      <a:pt x="16" y="4"/>
                      <a:pt x="16" y="4"/>
                      <a:pt x="16" y="4"/>
                    </a:cubicBezTo>
                    <a:cubicBezTo>
                      <a:pt x="16" y="4"/>
                      <a:pt x="16" y="4"/>
                      <a:pt x="17" y="4"/>
                    </a:cubicBezTo>
                    <a:cubicBezTo>
                      <a:pt x="17" y="4"/>
                      <a:pt x="17" y="5"/>
                      <a:pt x="17" y="5"/>
                    </a:cubicBezTo>
                    <a:close/>
                    <a:moveTo>
                      <a:pt x="18" y="9"/>
                    </a:moveTo>
                    <a:cubicBezTo>
                      <a:pt x="18" y="9"/>
                      <a:pt x="18" y="9"/>
                      <a:pt x="17" y="9"/>
                    </a:cubicBezTo>
                    <a:cubicBezTo>
                      <a:pt x="17" y="8"/>
                      <a:pt x="17" y="8"/>
                      <a:pt x="18" y="8"/>
                    </a:cubicBezTo>
                    <a:cubicBezTo>
                      <a:pt x="19" y="7"/>
                      <a:pt x="19" y="7"/>
                      <a:pt x="19" y="7"/>
                    </a:cubicBezTo>
                    <a:cubicBezTo>
                      <a:pt x="19" y="7"/>
                      <a:pt x="20" y="7"/>
                      <a:pt x="20" y="7"/>
                    </a:cubicBezTo>
                    <a:cubicBezTo>
                      <a:pt x="20" y="7"/>
                      <a:pt x="20" y="8"/>
                      <a:pt x="20" y="8"/>
                    </a:cubicBezTo>
                    <a:cubicBezTo>
                      <a:pt x="18" y="9"/>
                      <a:pt x="18" y="9"/>
                      <a:pt x="18" y="9"/>
                    </a:cubicBezTo>
                    <a:cubicBezTo>
                      <a:pt x="18" y="9"/>
                      <a:pt x="18" y="9"/>
                      <a:pt x="18" y="9"/>
                    </a:cubicBezTo>
                    <a:close/>
                    <a:moveTo>
                      <a:pt x="22" y="12"/>
                    </a:moveTo>
                    <a:cubicBezTo>
                      <a:pt x="22" y="12"/>
                      <a:pt x="21" y="12"/>
                      <a:pt x="21" y="12"/>
                    </a:cubicBezTo>
                    <a:cubicBezTo>
                      <a:pt x="19" y="12"/>
                      <a:pt x="19" y="12"/>
                      <a:pt x="19" y="12"/>
                    </a:cubicBezTo>
                    <a:cubicBezTo>
                      <a:pt x="19" y="12"/>
                      <a:pt x="19" y="12"/>
                      <a:pt x="19" y="12"/>
                    </a:cubicBezTo>
                    <a:cubicBezTo>
                      <a:pt x="19" y="11"/>
                      <a:pt x="19" y="11"/>
                      <a:pt x="19" y="11"/>
                    </a:cubicBezTo>
                    <a:cubicBezTo>
                      <a:pt x="21" y="11"/>
                      <a:pt x="21" y="11"/>
                      <a:pt x="21" y="11"/>
                    </a:cubicBezTo>
                    <a:cubicBezTo>
                      <a:pt x="21" y="11"/>
                      <a:pt x="22" y="11"/>
                      <a:pt x="2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kern="0" baseline="-25000">
                  <a:solidFill>
                    <a:srgbClr val="505050"/>
                  </a:solidFill>
                </a:endParaRPr>
              </a:p>
            </p:txBody>
          </p:sp>
          <p:sp>
            <p:nvSpPr>
              <p:cNvPr id="35" name="Freeform 7"/>
              <p:cNvSpPr>
                <a:spLocks/>
              </p:cNvSpPr>
              <p:nvPr/>
            </p:nvSpPr>
            <p:spPr bwMode="auto">
              <a:xfrm>
                <a:off x="3730" y="2149"/>
                <a:ext cx="222" cy="122"/>
              </a:xfrm>
              <a:custGeom>
                <a:avLst/>
                <a:gdLst>
                  <a:gd name="T0" fmla="*/ 76 w 91"/>
                  <a:gd name="T1" fmla="*/ 50 h 50"/>
                  <a:gd name="T2" fmla="*/ 91 w 91"/>
                  <a:gd name="T3" fmla="*/ 50 h 50"/>
                  <a:gd name="T4" fmla="*/ 81 w 91"/>
                  <a:gd name="T5" fmla="*/ 16 h 50"/>
                  <a:gd name="T6" fmla="*/ 60 w 91"/>
                  <a:gd name="T7" fmla="*/ 0 h 50"/>
                  <a:gd name="T8" fmla="*/ 32 w 91"/>
                  <a:gd name="T9" fmla="*/ 0 h 50"/>
                  <a:gd name="T10" fmla="*/ 10 w 91"/>
                  <a:gd name="T11" fmla="*/ 16 h 50"/>
                  <a:gd name="T12" fmla="*/ 0 w 91"/>
                  <a:gd name="T13" fmla="*/ 50 h 50"/>
                  <a:gd name="T14" fmla="*/ 15 w 91"/>
                  <a:gd name="T15" fmla="*/ 50 h 50"/>
                  <a:gd name="T16" fmla="*/ 22 w 91"/>
                  <a:gd name="T17" fmla="*/ 27 h 50"/>
                  <a:gd name="T18" fmla="*/ 27 w 91"/>
                  <a:gd name="T19" fmla="*/ 27 h 50"/>
                  <a:gd name="T20" fmla="*/ 20 w 91"/>
                  <a:gd name="T21" fmla="*/ 50 h 50"/>
                  <a:gd name="T22" fmla="*/ 72 w 91"/>
                  <a:gd name="T23" fmla="*/ 50 h 50"/>
                  <a:gd name="T24" fmla="*/ 68 w 91"/>
                  <a:gd name="T25" fmla="*/ 36 h 50"/>
                  <a:gd name="T26" fmla="*/ 56 w 91"/>
                  <a:gd name="T27" fmla="*/ 41 h 50"/>
                  <a:gd name="T28" fmla="*/ 40 w 91"/>
                  <a:gd name="T29" fmla="*/ 25 h 50"/>
                  <a:gd name="T30" fmla="*/ 56 w 91"/>
                  <a:gd name="T31" fmla="*/ 9 h 50"/>
                  <a:gd name="T32" fmla="*/ 72 w 91"/>
                  <a:gd name="T33" fmla="*/ 25 h 50"/>
                  <a:gd name="T34" fmla="*/ 71 w 91"/>
                  <a:gd name="T35" fmla="*/ 31 h 50"/>
                  <a:gd name="T36" fmla="*/ 76 w 91"/>
                  <a:gd name="T3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50">
                    <a:moveTo>
                      <a:pt x="76" y="50"/>
                    </a:moveTo>
                    <a:cubicBezTo>
                      <a:pt x="91" y="50"/>
                      <a:pt x="91" y="50"/>
                      <a:pt x="91" y="50"/>
                    </a:cubicBezTo>
                    <a:cubicBezTo>
                      <a:pt x="81" y="16"/>
                      <a:pt x="81" y="16"/>
                      <a:pt x="81" y="16"/>
                    </a:cubicBezTo>
                    <a:cubicBezTo>
                      <a:pt x="80" y="10"/>
                      <a:pt x="73" y="0"/>
                      <a:pt x="60" y="0"/>
                    </a:cubicBezTo>
                    <a:cubicBezTo>
                      <a:pt x="32" y="0"/>
                      <a:pt x="32" y="0"/>
                      <a:pt x="32" y="0"/>
                    </a:cubicBezTo>
                    <a:cubicBezTo>
                      <a:pt x="19" y="0"/>
                      <a:pt x="12" y="10"/>
                      <a:pt x="10" y="16"/>
                    </a:cubicBezTo>
                    <a:cubicBezTo>
                      <a:pt x="0" y="50"/>
                      <a:pt x="0" y="50"/>
                      <a:pt x="0" y="50"/>
                    </a:cubicBezTo>
                    <a:cubicBezTo>
                      <a:pt x="15" y="50"/>
                      <a:pt x="15" y="50"/>
                      <a:pt x="15" y="50"/>
                    </a:cubicBezTo>
                    <a:cubicBezTo>
                      <a:pt x="22" y="27"/>
                      <a:pt x="22" y="27"/>
                      <a:pt x="22" y="27"/>
                    </a:cubicBezTo>
                    <a:cubicBezTo>
                      <a:pt x="27" y="27"/>
                      <a:pt x="27" y="27"/>
                      <a:pt x="27" y="27"/>
                    </a:cubicBezTo>
                    <a:cubicBezTo>
                      <a:pt x="20" y="50"/>
                      <a:pt x="20" y="50"/>
                      <a:pt x="20" y="50"/>
                    </a:cubicBezTo>
                    <a:cubicBezTo>
                      <a:pt x="72" y="50"/>
                      <a:pt x="72" y="50"/>
                      <a:pt x="72" y="50"/>
                    </a:cubicBezTo>
                    <a:cubicBezTo>
                      <a:pt x="70" y="44"/>
                      <a:pt x="69" y="39"/>
                      <a:pt x="68" y="36"/>
                    </a:cubicBezTo>
                    <a:cubicBezTo>
                      <a:pt x="65" y="39"/>
                      <a:pt x="61" y="41"/>
                      <a:pt x="56" y="41"/>
                    </a:cubicBezTo>
                    <a:cubicBezTo>
                      <a:pt x="47" y="41"/>
                      <a:pt x="40" y="34"/>
                      <a:pt x="40" y="25"/>
                    </a:cubicBezTo>
                    <a:cubicBezTo>
                      <a:pt x="40" y="17"/>
                      <a:pt x="47" y="9"/>
                      <a:pt x="56" y="9"/>
                    </a:cubicBezTo>
                    <a:cubicBezTo>
                      <a:pt x="65" y="9"/>
                      <a:pt x="72" y="17"/>
                      <a:pt x="72" y="25"/>
                    </a:cubicBezTo>
                    <a:cubicBezTo>
                      <a:pt x="72" y="27"/>
                      <a:pt x="72" y="29"/>
                      <a:pt x="71" y="31"/>
                    </a:cubicBezTo>
                    <a:cubicBezTo>
                      <a:pt x="76" y="50"/>
                      <a:pt x="76" y="50"/>
                      <a:pt x="76" y="50"/>
                    </a:cubicBezTo>
                    <a:close/>
                  </a:path>
                </a:pathLst>
              </a:custGeom>
              <a:solidFill>
                <a:srgbClr val="EDC3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kern="0" baseline="-25000">
                  <a:solidFill>
                    <a:srgbClr val="505050"/>
                  </a:solidFill>
                </a:endParaRPr>
              </a:p>
            </p:txBody>
          </p:sp>
        </p:grpSp>
      </p:grpSp>
      <p:grpSp>
        <p:nvGrpSpPr>
          <p:cNvPr id="36" name="Group 35"/>
          <p:cNvGrpSpPr/>
          <p:nvPr/>
        </p:nvGrpSpPr>
        <p:grpSpPr>
          <a:xfrm>
            <a:off x="877871" y="5310010"/>
            <a:ext cx="2105857" cy="1113851"/>
            <a:chOff x="9504208" y="4628109"/>
            <a:chExt cx="2167592" cy="1146506"/>
          </a:xfrm>
          <a:solidFill>
            <a:srgbClr val="EDC30D"/>
          </a:solidFill>
        </p:grpSpPr>
        <p:sp>
          <p:nvSpPr>
            <p:cNvPr id="37" name="TextBox 4"/>
            <p:cNvSpPr txBox="1"/>
            <p:nvPr/>
          </p:nvSpPr>
          <p:spPr>
            <a:xfrm>
              <a:off x="9504208" y="5418660"/>
              <a:ext cx="2167592" cy="355955"/>
            </a:xfrm>
            <a:prstGeom prst="rect">
              <a:avLst/>
            </a:prstGeom>
            <a:noFill/>
          </p:spPr>
          <p:txBody>
            <a:bodyPr wrap="square" lIns="0" tIns="0" rIns="0" bIns="0" rtlCol="0">
              <a:spAutoFit/>
            </a:bodyPr>
            <a:lstStyle/>
            <a:p>
              <a:pPr algn="ctr" defTabSz="932205">
                <a:lnSpc>
                  <a:spcPct val="90000"/>
                </a:lnSpc>
                <a:spcAft>
                  <a:spcPts val="600"/>
                </a:spcAft>
              </a:pPr>
              <a:r>
                <a:rPr lang="en-US" sz="2448" kern="0" spc="-102" dirty="0">
                  <a:ln w="3175">
                    <a:noFill/>
                  </a:ln>
                  <a:solidFill>
                    <a:srgbClr val="EDC30D"/>
                  </a:solidFill>
                  <a:cs typeface="Segoe UI Semibold" panose="020B0702040204020203" pitchFamily="34" charset="0"/>
                </a:rPr>
                <a:t>IT to end user</a:t>
              </a:r>
            </a:p>
          </p:txBody>
        </p:sp>
        <p:sp>
          <p:nvSpPr>
            <p:cNvPr id="38" name="Freeform 13"/>
            <p:cNvSpPr>
              <a:spLocks noChangeAspect="1" noEditPoints="1"/>
            </p:cNvSpPr>
            <p:nvPr/>
          </p:nvSpPr>
          <p:spPr bwMode="auto">
            <a:xfrm>
              <a:off x="10640907" y="4628109"/>
              <a:ext cx="657484" cy="667042"/>
            </a:xfrm>
            <a:custGeom>
              <a:avLst/>
              <a:gdLst>
                <a:gd name="T0" fmla="*/ 147 w 288"/>
                <a:gd name="T1" fmla="*/ 116 h 293"/>
                <a:gd name="T2" fmla="*/ 147 w 288"/>
                <a:gd name="T3" fmla="*/ 116 h 293"/>
                <a:gd name="T4" fmla="*/ 147 w 288"/>
                <a:gd name="T5" fmla="*/ 116 h 293"/>
                <a:gd name="T6" fmla="*/ 203 w 288"/>
                <a:gd name="T7" fmla="*/ 58 h 293"/>
                <a:gd name="T8" fmla="*/ 146 w 288"/>
                <a:gd name="T9" fmla="*/ 1 h 293"/>
                <a:gd name="T10" fmla="*/ 106 w 288"/>
                <a:gd name="T11" fmla="*/ 18 h 293"/>
                <a:gd name="T12" fmla="*/ 90 w 288"/>
                <a:gd name="T13" fmla="*/ 59 h 293"/>
                <a:gd name="T14" fmla="*/ 107 w 288"/>
                <a:gd name="T15" fmla="*/ 99 h 293"/>
                <a:gd name="T16" fmla="*/ 147 w 288"/>
                <a:gd name="T17" fmla="*/ 116 h 293"/>
                <a:gd name="T18" fmla="*/ 240 w 288"/>
                <a:gd name="T19" fmla="*/ 293 h 293"/>
                <a:gd name="T20" fmla="*/ 288 w 288"/>
                <a:gd name="T21" fmla="*/ 292 h 293"/>
                <a:gd name="T22" fmla="*/ 255 w 288"/>
                <a:gd name="T23" fmla="*/ 185 h 293"/>
                <a:gd name="T24" fmla="*/ 189 w 288"/>
                <a:gd name="T25" fmla="*/ 135 h 293"/>
                <a:gd name="T26" fmla="*/ 172 w 288"/>
                <a:gd name="T27" fmla="*/ 135 h 293"/>
                <a:gd name="T28" fmla="*/ 172 w 288"/>
                <a:gd name="T29" fmla="*/ 136 h 293"/>
                <a:gd name="T30" fmla="*/ 173 w 288"/>
                <a:gd name="T31" fmla="*/ 137 h 293"/>
                <a:gd name="T32" fmla="*/ 172 w 288"/>
                <a:gd name="T33" fmla="*/ 139 h 293"/>
                <a:gd name="T34" fmla="*/ 161 w 288"/>
                <a:gd name="T35" fmla="*/ 155 h 293"/>
                <a:gd name="T36" fmla="*/ 173 w 288"/>
                <a:gd name="T37" fmla="*/ 232 h 293"/>
                <a:gd name="T38" fmla="*/ 148 w 288"/>
                <a:gd name="T39" fmla="*/ 263 h 293"/>
                <a:gd name="T40" fmla="*/ 138 w 288"/>
                <a:gd name="T41" fmla="*/ 250 h 293"/>
                <a:gd name="T42" fmla="*/ 123 w 288"/>
                <a:gd name="T43" fmla="*/ 233 h 293"/>
                <a:gd name="T44" fmla="*/ 133 w 288"/>
                <a:gd name="T45" fmla="*/ 155 h 293"/>
                <a:gd name="T46" fmla="*/ 122 w 288"/>
                <a:gd name="T47" fmla="*/ 139 h 293"/>
                <a:gd name="T48" fmla="*/ 122 w 288"/>
                <a:gd name="T49" fmla="*/ 138 h 293"/>
                <a:gd name="T50" fmla="*/ 122 w 288"/>
                <a:gd name="T51" fmla="*/ 136 h 293"/>
                <a:gd name="T52" fmla="*/ 122 w 288"/>
                <a:gd name="T53" fmla="*/ 135 h 293"/>
                <a:gd name="T54" fmla="*/ 101 w 288"/>
                <a:gd name="T55" fmla="*/ 135 h 293"/>
                <a:gd name="T56" fmla="*/ 33 w 288"/>
                <a:gd name="T57" fmla="*/ 185 h 293"/>
                <a:gd name="T58" fmla="*/ 0 w 288"/>
                <a:gd name="T59" fmla="*/ 293 h 293"/>
                <a:gd name="T60" fmla="*/ 49 w 288"/>
                <a:gd name="T61" fmla="*/ 293 h 293"/>
                <a:gd name="T62" fmla="*/ 69 w 288"/>
                <a:gd name="T63" fmla="*/ 222 h 293"/>
                <a:gd name="T64" fmla="*/ 84 w 288"/>
                <a:gd name="T65" fmla="*/ 222 h 293"/>
                <a:gd name="T66" fmla="*/ 63 w 288"/>
                <a:gd name="T67" fmla="*/ 293 h 293"/>
                <a:gd name="T68" fmla="*/ 225 w 288"/>
                <a:gd name="T69" fmla="*/ 293 h 293"/>
                <a:gd name="T70" fmla="*/ 205 w 288"/>
                <a:gd name="T71" fmla="*/ 221 h 293"/>
                <a:gd name="T72" fmla="*/ 219 w 288"/>
                <a:gd name="T73" fmla="*/ 221 h 293"/>
                <a:gd name="T74" fmla="*/ 240 w 288"/>
                <a:gd name="T75" fmla="*/ 293 h 293"/>
                <a:gd name="T76" fmla="*/ 154 w 288"/>
                <a:gd name="T77" fmla="*/ 150 h 293"/>
                <a:gd name="T78" fmla="*/ 164 w 288"/>
                <a:gd name="T79" fmla="*/ 138 h 293"/>
                <a:gd name="T80" fmla="*/ 164 w 288"/>
                <a:gd name="T81" fmla="*/ 137 h 293"/>
                <a:gd name="T82" fmla="*/ 162 w 288"/>
                <a:gd name="T83" fmla="*/ 135 h 293"/>
                <a:gd name="T84" fmla="*/ 158 w 288"/>
                <a:gd name="T85" fmla="*/ 132 h 293"/>
                <a:gd name="T86" fmla="*/ 147 w 288"/>
                <a:gd name="T87" fmla="*/ 130 h 293"/>
                <a:gd name="T88" fmla="*/ 137 w 288"/>
                <a:gd name="T89" fmla="*/ 132 h 293"/>
                <a:gd name="T90" fmla="*/ 132 w 288"/>
                <a:gd name="T91" fmla="*/ 135 h 293"/>
                <a:gd name="T92" fmla="*/ 131 w 288"/>
                <a:gd name="T93" fmla="*/ 138 h 293"/>
                <a:gd name="T94" fmla="*/ 131 w 288"/>
                <a:gd name="T95" fmla="*/ 138 h 293"/>
                <a:gd name="T96" fmla="*/ 140 w 288"/>
                <a:gd name="T97" fmla="*/ 150 h 293"/>
                <a:gd name="T98" fmla="*/ 143 w 288"/>
                <a:gd name="T99" fmla="*/ 152 h 293"/>
                <a:gd name="T100" fmla="*/ 132 w 288"/>
                <a:gd name="T101" fmla="*/ 230 h 293"/>
                <a:gd name="T102" fmla="*/ 144 w 288"/>
                <a:gd name="T103" fmla="*/ 244 h 293"/>
                <a:gd name="T104" fmla="*/ 146 w 288"/>
                <a:gd name="T105" fmla="*/ 247 h 293"/>
                <a:gd name="T106" fmla="*/ 148 w 288"/>
                <a:gd name="T107" fmla="*/ 249 h 293"/>
                <a:gd name="T108" fmla="*/ 150 w 288"/>
                <a:gd name="T109" fmla="*/ 247 h 293"/>
                <a:gd name="T110" fmla="*/ 152 w 288"/>
                <a:gd name="T111" fmla="*/ 244 h 293"/>
                <a:gd name="T112" fmla="*/ 164 w 288"/>
                <a:gd name="T113" fmla="*/ 230 h 293"/>
                <a:gd name="T114" fmla="*/ 152 w 288"/>
                <a:gd name="T115" fmla="*/ 152 h 293"/>
                <a:gd name="T116" fmla="*/ 154 w 288"/>
                <a:gd name="T117" fmla="*/ 15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 h="293">
                  <a:moveTo>
                    <a:pt x="147" y="116"/>
                  </a:moveTo>
                  <a:cubicBezTo>
                    <a:pt x="147" y="116"/>
                    <a:pt x="147" y="116"/>
                    <a:pt x="147" y="116"/>
                  </a:cubicBezTo>
                  <a:cubicBezTo>
                    <a:pt x="147" y="116"/>
                    <a:pt x="147" y="116"/>
                    <a:pt x="147" y="116"/>
                  </a:cubicBezTo>
                  <a:cubicBezTo>
                    <a:pt x="178" y="115"/>
                    <a:pt x="203" y="89"/>
                    <a:pt x="203" y="58"/>
                  </a:cubicBezTo>
                  <a:cubicBezTo>
                    <a:pt x="202" y="26"/>
                    <a:pt x="177" y="0"/>
                    <a:pt x="146" y="1"/>
                  </a:cubicBezTo>
                  <a:cubicBezTo>
                    <a:pt x="131" y="1"/>
                    <a:pt x="117" y="7"/>
                    <a:pt x="106" y="18"/>
                  </a:cubicBezTo>
                  <a:cubicBezTo>
                    <a:pt x="96" y="29"/>
                    <a:pt x="90" y="43"/>
                    <a:pt x="90" y="59"/>
                  </a:cubicBezTo>
                  <a:cubicBezTo>
                    <a:pt x="90" y="74"/>
                    <a:pt x="96" y="89"/>
                    <a:pt x="107" y="99"/>
                  </a:cubicBezTo>
                  <a:cubicBezTo>
                    <a:pt x="118" y="110"/>
                    <a:pt x="132" y="116"/>
                    <a:pt x="147" y="116"/>
                  </a:cubicBezTo>
                  <a:close/>
                  <a:moveTo>
                    <a:pt x="240" y="293"/>
                  </a:moveTo>
                  <a:cubicBezTo>
                    <a:pt x="288" y="292"/>
                    <a:pt x="288" y="292"/>
                    <a:pt x="288" y="292"/>
                  </a:cubicBezTo>
                  <a:cubicBezTo>
                    <a:pt x="255" y="185"/>
                    <a:pt x="255" y="185"/>
                    <a:pt x="255" y="185"/>
                  </a:cubicBezTo>
                  <a:cubicBezTo>
                    <a:pt x="250" y="167"/>
                    <a:pt x="228" y="136"/>
                    <a:pt x="189" y="135"/>
                  </a:cubicBezTo>
                  <a:cubicBezTo>
                    <a:pt x="172" y="135"/>
                    <a:pt x="172" y="135"/>
                    <a:pt x="172" y="135"/>
                  </a:cubicBezTo>
                  <a:cubicBezTo>
                    <a:pt x="172" y="135"/>
                    <a:pt x="172" y="135"/>
                    <a:pt x="172" y="136"/>
                  </a:cubicBezTo>
                  <a:cubicBezTo>
                    <a:pt x="173" y="137"/>
                    <a:pt x="173" y="137"/>
                    <a:pt x="173" y="137"/>
                  </a:cubicBezTo>
                  <a:cubicBezTo>
                    <a:pt x="172" y="139"/>
                    <a:pt x="172" y="139"/>
                    <a:pt x="172" y="139"/>
                  </a:cubicBezTo>
                  <a:cubicBezTo>
                    <a:pt x="172" y="143"/>
                    <a:pt x="168" y="148"/>
                    <a:pt x="161" y="155"/>
                  </a:cubicBezTo>
                  <a:cubicBezTo>
                    <a:pt x="173" y="232"/>
                    <a:pt x="173" y="232"/>
                    <a:pt x="173" y="232"/>
                  </a:cubicBezTo>
                  <a:cubicBezTo>
                    <a:pt x="148" y="263"/>
                    <a:pt x="148" y="263"/>
                    <a:pt x="148" y="263"/>
                  </a:cubicBezTo>
                  <a:cubicBezTo>
                    <a:pt x="138" y="250"/>
                    <a:pt x="138" y="250"/>
                    <a:pt x="138" y="250"/>
                  </a:cubicBezTo>
                  <a:cubicBezTo>
                    <a:pt x="123" y="233"/>
                    <a:pt x="123" y="233"/>
                    <a:pt x="123" y="233"/>
                  </a:cubicBezTo>
                  <a:cubicBezTo>
                    <a:pt x="133" y="155"/>
                    <a:pt x="133" y="155"/>
                    <a:pt x="133" y="155"/>
                  </a:cubicBezTo>
                  <a:cubicBezTo>
                    <a:pt x="126" y="149"/>
                    <a:pt x="122" y="143"/>
                    <a:pt x="122" y="139"/>
                  </a:cubicBezTo>
                  <a:cubicBezTo>
                    <a:pt x="122" y="138"/>
                    <a:pt x="122" y="138"/>
                    <a:pt x="122" y="138"/>
                  </a:cubicBezTo>
                  <a:cubicBezTo>
                    <a:pt x="122" y="136"/>
                    <a:pt x="122" y="136"/>
                    <a:pt x="122" y="136"/>
                  </a:cubicBezTo>
                  <a:cubicBezTo>
                    <a:pt x="122" y="136"/>
                    <a:pt x="122" y="135"/>
                    <a:pt x="122" y="135"/>
                  </a:cubicBezTo>
                  <a:cubicBezTo>
                    <a:pt x="101" y="135"/>
                    <a:pt x="101" y="135"/>
                    <a:pt x="101" y="135"/>
                  </a:cubicBezTo>
                  <a:cubicBezTo>
                    <a:pt x="61" y="135"/>
                    <a:pt x="39" y="167"/>
                    <a:pt x="33" y="185"/>
                  </a:cubicBezTo>
                  <a:cubicBezTo>
                    <a:pt x="0" y="293"/>
                    <a:pt x="0" y="293"/>
                    <a:pt x="0" y="293"/>
                  </a:cubicBezTo>
                  <a:cubicBezTo>
                    <a:pt x="49" y="293"/>
                    <a:pt x="49" y="293"/>
                    <a:pt x="49" y="293"/>
                  </a:cubicBezTo>
                  <a:cubicBezTo>
                    <a:pt x="69" y="222"/>
                    <a:pt x="69" y="222"/>
                    <a:pt x="69" y="222"/>
                  </a:cubicBezTo>
                  <a:cubicBezTo>
                    <a:pt x="84" y="222"/>
                    <a:pt x="84" y="222"/>
                    <a:pt x="84" y="222"/>
                  </a:cubicBezTo>
                  <a:cubicBezTo>
                    <a:pt x="63" y="293"/>
                    <a:pt x="63" y="293"/>
                    <a:pt x="63" y="293"/>
                  </a:cubicBezTo>
                  <a:cubicBezTo>
                    <a:pt x="225" y="293"/>
                    <a:pt x="225" y="293"/>
                    <a:pt x="225" y="293"/>
                  </a:cubicBezTo>
                  <a:cubicBezTo>
                    <a:pt x="205" y="221"/>
                    <a:pt x="205" y="221"/>
                    <a:pt x="205" y="221"/>
                  </a:cubicBezTo>
                  <a:cubicBezTo>
                    <a:pt x="219" y="221"/>
                    <a:pt x="219" y="221"/>
                    <a:pt x="219" y="221"/>
                  </a:cubicBezTo>
                  <a:lnTo>
                    <a:pt x="240" y="293"/>
                  </a:lnTo>
                  <a:close/>
                  <a:moveTo>
                    <a:pt x="154" y="150"/>
                  </a:moveTo>
                  <a:cubicBezTo>
                    <a:pt x="163" y="142"/>
                    <a:pt x="164" y="138"/>
                    <a:pt x="164" y="138"/>
                  </a:cubicBezTo>
                  <a:cubicBezTo>
                    <a:pt x="164" y="137"/>
                    <a:pt x="164" y="137"/>
                    <a:pt x="164" y="137"/>
                  </a:cubicBezTo>
                  <a:cubicBezTo>
                    <a:pt x="164" y="137"/>
                    <a:pt x="163" y="136"/>
                    <a:pt x="162" y="135"/>
                  </a:cubicBezTo>
                  <a:cubicBezTo>
                    <a:pt x="161" y="134"/>
                    <a:pt x="160" y="133"/>
                    <a:pt x="158" y="132"/>
                  </a:cubicBezTo>
                  <a:cubicBezTo>
                    <a:pt x="155" y="131"/>
                    <a:pt x="151" y="130"/>
                    <a:pt x="147" y="130"/>
                  </a:cubicBezTo>
                  <a:cubicBezTo>
                    <a:pt x="144" y="130"/>
                    <a:pt x="140" y="131"/>
                    <a:pt x="137" y="132"/>
                  </a:cubicBezTo>
                  <a:cubicBezTo>
                    <a:pt x="135" y="133"/>
                    <a:pt x="133" y="134"/>
                    <a:pt x="132" y="135"/>
                  </a:cubicBezTo>
                  <a:cubicBezTo>
                    <a:pt x="131" y="136"/>
                    <a:pt x="131" y="137"/>
                    <a:pt x="131" y="138"/>
                  </a:cubicBezTo>
                  <a:cubicBezTo>
                    <a:pt x="131" y="138"/>
                    <a:pt x="131" y="138"/>
                    <a:pt x="131" y="138"/>
                  </a:cubicBezTo>
                  <a:cubicBezTo>
                    <a:pt x="131" y="138"/>
                    <a:pt x="131" y="142"/>
                    <a:pt x="140" y="150"/>
                  </a:cubicBezTo>
                  <a:cubicBezTo>
                    <a:pt x="143" y="152"/>
                    <a:pt x="143" y="152"/>
                    <a:pt x="143" y="152"/>
                  </a:cubicBezTo>
                  <a:cubicBezTo>
                    <a:pt x="132" y="230"/>
                    <a:pt x="132" y="230"/>
                    <a:pt x="132" y="230"/>
                  </a:cubicBezTo>
                  <a:cubicBezTo>
                    <a:pt x="144" y="244"/>
                    <a:pt x="144" y="244"/>
                    <a:pt x="144" y="244"/>
                  </a:cubicBezTo>
                  <a:cubicBezTo>
                    <a:pt x="146" y="247"/>
                    <a:pt x="146" y="247"/>
                    <a:pt x="146" y="247"/>
                  </a:cubicBezTo>
                  <a:cubicBezTo>
                    <a:pt x="148" y="249"/>
                    <a:pt x="148" y="249"/>
                    <a:pt x="148" y="249"/>
                  </a:cubicBezTo>
                  <a:cubicBezTo>
                    <a:pt x="150" y="247"/>
                    <a:pt x="150" y="247"/>
                    <a:pt x="150" y="247"/>
                  </a:cubicBezTo>
                  <a:cubicBezTo>
                    <a:pt x="152" y="244"/>
                    <a:pt x="152" y="244"/>
                    <a:pt x="152" y="244"/>
                  </a:cubicBezTo>
                  <a:cubicBezTo>
                    <a:pt x="164" y="230"/>
                    <a:pt x="164" y="230"/>
                    <a:pt x="164" y="230"/>
                  </a:cubicBezTo>
                  <a:cubicBezTo>
                    <a:pt x="152" y="152"/>
                    <a:pt x="152" y="152"/>
                    <a:pt x="152" y="152"/>
                  </a:cubicBezTo>
                  <a:lnTo>
                    <a:pt x="154" y="150"/>
                  </a:lnTo>
                  <a:close/>
                </a:path>
              </a:pathLst>
            </a:custGeom>
            <a:grpFill/>
            <a:ln>
              <a:noFill/>
            </a:ln>
            <a:extLst/>
          </p:spPr>
          <p:txBody>
            <a:bodyPr vert="horz" wrap="square" lIns="93234" tIns="46616" rIns="93234" bIns="46616" numCol="1" anchor="t" anchorCtr="0" compatLnSpc="1">
              <a:prstTxWarp prst="textNoShape">
                <a:avLst/>
              </a:prstTxWarp>
            </a:bodyPr>
            <a:lstStyle/>
            <a:p>
              <a:pPr defTabSz="932239"/>
              <a:endParaRPr lang="en-US" sz="1836" kern="0" dirty="0">
                <a:solidFill>
                  <a:srgbClr val="505050"/>
                </a:solidFill>
              </a:endParaRPr>
            </a:p>
          </p:txBody>
        </p:sp>
        <p:sp>
          <p:nvSpPr>
            <p:cNvPr id="39" name="Freeform 25"/>
            <p:cNvSpPr>
              <a:spLocks noChangeAspect="1" noEditPoints="1"/>
            </p:cNvSpPr>
            <p:nvPr/>
          </p:nvSpPr>
          <p:spPr bwMode="auto">
            <a:xfrm>
              <a:off x="9890691" y="4646581"/>
              <a:ext cx="637477" cy="685800"/>
            </a:xfrm>
            <a:custGeom>
              <a:avLst/>
              <a:gdLst>
                <a:gd name="T0" fmla="*/ 106 w 287"/>
                <a:gd name="T1" fmla="*/ 17 h 309"/>
                <a:gd name="T2" fmla="*/ 147 w 287"/>
                <a:gd name="T3" fmla="*/ 115 h 309"/>
                <a:gd name="T4" fmla="*/ 107 w 287"/>
                <a:gd name="T5" fmla="*/ 99 h 309"/>
                <a:gd name="T6" fmla="*/ 195 w 287"/>
                <a:gd name="T7" fmla="*/ 238 h 309"/>
                <a:gd name="T8" fmla="*/ 207 w 287"/>
                <a:gd name="T9" fmla="*/ 218 h 309"/>
                <a:gd name="T10" fmla="*/ 226 w 287"/>
                <a:gd name="T11" fmla="*/ 216 h 309"/>
                <a:gd name="T12" fmla="*/ 243 w 287"/>
                <a:gd name="T13" fmla="*/ 180 h 309"/>
                <a:gd name="T14" fmla="*/ 241 w 287"/>
                <a:gd name="T15" fmla="*/ 177 h 309"/>
                <a:gd name="T16" fmla="*/ 229 w 287"/>
                <a:gd name="T17" fmla="*/ 191 h 309"/>
                <a:gd name="T18" fmla="*/ 217 w 287"/>
                <a:gd name="T19" fmla="*/ 203 h 309"/>
                <a:gd name="T20" fmla="*/ 208 w 287"/>
                <a:gd name="T21" fmla="*/ 200 h 309"/>
                <a:gd name="T22" fmla="*/ 198 w 287"/>
                <a:gd name="T23" fmla="*/ 191 h 309"/>
                <a:gd name="T24" fmla="*/ 204 w 287"/>
                <a:gd name="T25" fmla="*/ 175 h 309"/>
                <a:gd name="T26" fmla="*/ 217 w 287"/>
                <a:gd name="T27" fmla="*/ 172 h 309"/>
                <a:gd name="T28" fmla="*/ 211 w 287"/>
                <a:gd name="T29" fmla="*/ 157 h 309"/>
                <a:gd name="T30" fmla="*/ 191 w 287"/>
                <a:gd name="T31" fmla="*/ 166 h 309"/>
                <a:gd name="T32" fmla="*/ 189 w 287"/>
                <a:gd name="T33" fmla="*/ 203 h 309"/>
                <a:gd name="T34" fmla="*/ 159 w 287"/>
                <a:gd name="T35" fmla="*/ 250 h 309"/>
                <a:gd name="T36" fmla="*/ 144 w 287"/>
                <a:gd name="T37" fmla="*/ 250 h 309"/>
                <a:gd name="T38" fmla="*/ 128 w 287"/>
                <a:gd name="T39" fmla="*/ 288 h 309"/>
                <a:gd name="T40" fmla="*/ 140 w 287"/>
                <a:gd name="T41" fmla="*/ 287 h 309"/>
                <a:gd name="T42" fmla="*/ 142 w 287"/>
                <a:gd name="T43" fmla="*/ 272 h 309"/>
                <a:gd name="T44" fmla="*/ 163 w 287"/>
                <a:gd name="T45" fmla="*/ 264 h 309"/>
                <a:gd name="T46" fmla="*/ 171 w 287"/>
                <a:gd name="T47" fmla="*/ 279 h 309"/>
                <a:gd name="T48" fmla="*/ 164 w 287"/>
                <a:gd name="T49" fmla="*/ 292 h 309"/>
                <a:gd name="T50" fmla="*/ 154 w 287"/>
                <a:gd name="T51" fmla="*/ 297 h 309"/>
                <a:gd name="T52" fmla="*/ 158 w 287"/>
                <a:gd name="T53" fmla="*/ 309 h 309"/>
                <a:gd name="T54" fmla="*/ 183 w 287"/>
                <a:gd name="T55" fmla="*/ 292 h 309"/>
                <a:gd name="T56" fmla="*/ 187 w 287"/>
                <a:gd name="T57" fmla="*/ 274 h 309"/>
                <a:gd name="T58" fmla="*/ 189 w 287"/>
                <a:gd name="T59" fmla="*/ 134 h 309"/>
                <a:gd name="T60" fmla="*/ 122 w 287"/>
                <a:gd name="T61" fmla="*/ 134 h 309"/>
                <a:gd name="T62" fmla="*/ 109 w 287"/>
                <a:gd name="T63" fmla="*/ 134 h 309"/>
                <a:gd name="T64" fmla="*/ 0 w 287"/>
                <a:gd name="T65" fmla="*/ 292 h 309"/>
                <a:gd name="T66" fmla="*/ 83 w 287"/>
                <a:gd name="T67" fmla="*/ 221 h 309"/>
                <a:gd name="T68" fmla="*/ 119 w 287"/>
                <a:gd name="T69" fmla="*/ 290 h 309"/>
                <a:gd name="T70" fmla="*/ 121 w 287"/>
                <a:gd name="T71" fmla="*/ 261 h 309"/>
                <a:gd name="T72" fmla="*/ 145 w 287"/>
                <a:gd name="T73" fmla="*/ 241 h 309"/>
                <a:gd name="T74" fmla="*/ 181 w 287"/>
                <a:gd name="T75" fmla="*/ 205 h 309"/>
                <a:gd name="T76" fmla="*/ 176 w 287"/>
                <a:gd name="T77" fmla="*/ 194 h 309"/>
                <a:gd name="T78" fmla="*/ 175 w 287"/>
                <a:gd name="T79" fmla="*/ 187 h 309"/>
                <a:gd name="T80" fmla="*/ 207 w 287"/>
                <a:gd name="T81" fmla="*/ 150 h 309"/>
                <a:gd name="T82" fmla="*/ 211 w 287"/>
                <a:gd name="T83" fmla="*/ 149 h 309"/>
                <a:gd name="T84" fmla="*/ 222 w 287"/>
                <a:gd name="T85" fmla="*/ 156 h 309"/>
                <a:gd name="T86" fmla="*/ 225 w 287"/>
                <a:gd name="T87" fmla="*/ 173 h 309"/>
                <a:gd name="T88" fmla="*/ 241 w 287"/>
                <a:gd name="T89" fmla="*/ 169 h 309"/>
                <a:gd name="T90" fmla="*/ 251 w 287"/>
                <a:gd name="T91" fmla="*/ 178 h 309"/>
                <a:gd name="T92" fmla="*/ 254 w 287"/>
                <a:gd name="T93" fmla="*/ 199 h 309"/>
                <a:gd name="T94" fmla="*/ 250 w 287"/>
                <a:gd name="T95" fmla="*/ 204 h 309"/>
                <a:gd name="T96" fmla="*/ 225 w 287"/>
                <a:gd name="T97" fmla="*/ 226 h 309"/>
                <a:gd name="T98" fmla="*/ 220 w 287"/>
                <a:gd name="T99" fmla="*/ 226 h 309"/>
                <a:gd name="T100" fmla="*/ 255 w 287"/>
                <a:gd name="T101" fmla="*/ 184 h 309"/>
                <a:gd name="T102" fmla="*/ 194 w 287"/>
                <a:gd name="T103" fmla="*/ 270 h 309"/>
                <a:gd name="T104" fmla="*/ 195 w 287"/>
                <a:gd name="T105" fmla="*/ 277 h 309"/>
                <a:gd name="T106" fmla="*/ 191 w 287"/>
                <a:gd name="T107" fmla="*/ 292 h 309"/>
                <a:gd name="T108" fmla="*/ 188 w 287"/>
                <a:gd name="T109" fmla="*/ 263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7" h="309">
                  <a:moveTo>
                    <a:pt x="107" y="99"/>
                  </a:moveTo>
                  <a:cubicBezTo>
                    <a:pt x="96" y="88"/>
                    <a:pt x="90" y="74"/>
                    <a:pt x="90" y="58"/>
                  </a:cubicBezTo>
                  <a:cubicBezTo>
                    <a:pt x="90" y="43"/>
                    <a:pt x="95" y="28"/>
                    <a:pt x="106" y="17"/>
                  </a:cubicBezTo>
                  <a:cubicBezTo>
                    <a:pt x="117" y="6"/>
                    <a:pt x="131" y="0"/>
                    <a:pt x="146" y="0"/>
                  </a:cubicBezTo>
                  <a:cubicBezTo>
                    <a:pt x="177" y="0"/>
                    <a:pt x="202" y="26"/>
                    <a:pt x="202" y="57"/>
                  </a:cubicBezTo>
                  <a:cubicBezTo>
                    <a:pt x="203" y="89"/>
                    <a:pt x="178" y="115"/>
                    <a:pt x="147" y="115"/>
                  </a:cubicBezTo>
                  <a:cubicBezTo>
                    <a:pt x="147" y="115"/>
                    <a:pt x="147" y="115"/>
                    <a:pt x="147" y="115"/>
                  </a:cubicBezTo>
                  <a:cubicBezTo>
                    <a:pt x="146" y="115"/>
                    <a:pt x="146" y="115"/>
                    <a:pt x="146" y="115"/>
                  </a:cubicBezTo>
                  <a:cubicBezTo>
                    <a:pt x="131" y="115"/>
                    <a:pt x="117" y="110"/>
                    <a:pt x="107" y="99"/>
                  </a:cubicBezTo>
                  <a:close/>
                  <a:moveTo>
                    <a:pt x="180" y="264"/>
                  </a:moveTo>
                  <a:cubicBezTo>
                    <a:pt x="180" y="264"/>
                    <a:pt x="179" y="262"/>
                    <a:pt x="180" y="260"/>
                  </a:cubicBezTo>
                  <a:cubicBezTo>
                    <a:pt x="186" y="251"/>
                    <a:pt x="191" y="244"/>
                    <a:pt x="195" y="238"/>
                  </a:cubicBezTo>
                  <a:cubicBezTo>
                    <a:pt x="205" y="221"/>
                    <a:pt x="207" y="219"/>
                    <a:pt x="207" y="219"/>
                  </a:cubicBezTo>
                  <a:cubicBezTo>
                    <a:pt x="207" y="218"/>
                    <a:pt x="207" y="218"/>
                    <a:pt x="207" y="218"/>
                  </a:cubicBezTo>
                  <a:cubicBezTo>
                    <a:pt x="207" y="218"/>
                    <a:pt x="207" y="218"/>
                    <a:pt x="207" y="218"/>
                  </a:cubicBezTo>
                  <a:cubicBezTo>
                    <a:pt x="209" y="217"/>
                    <a:pt x="210" y="216"/>
                    <a:pt x="210" y="216"/>
                  </a:cubicBezTo>
                  <a:cubicBezTo>
                    <a:pt x="224" y="218"/>
                    <a:pt x="224" y="218"/>
                    <a:pt x="224" y="218"/>
                  </a:cubicBezTo>
                  <a:cubicBezTo>
                    <a:pt x="224" y="218"/>
                    <a:pt x="225" y="218"/>
                    <a:pt x="226" y="216"/>
                  </a:cubicBezTo>
                  <a:cubicBezTo>
                    <a:pt x="244" y="199"/>
                    <a:pt x="244" y="199"/>
                    <a:pt x="244" y="199"/>
                  </a:cubicBezTo>
                  <a:cubicBezTo>
                    <a:pt x="245" y="197"/>
                    <a:pt x="245" y="197"/>
                    <a:pt x="245" y="197"/>
                  </a:cubicBezTo>
                  <a:cubicBezTo>
                    <a:pt x="243" y="180"/>
                    <a:pt x="243" y="180"/>
                    <a:pt x="243" y="180"/>
                  </a:cubicBezTo>
                  <a:cubicBezTo>
                    <a:pt x="243" y="178"/>
                    <a:pt x="243" y="178"/>
                    <a:pt x="243" y="178"/>
                  </a:cubicBezTo>
                  <a:cubicBezTo>
                    <a:pt x="243" y="178"/>
                    <a:pt x="242" y="177"/>
                    <a:pt x="241" y="177"/>
                  </a:cubicBezTo>
                  <a:cubicBezTo>
                    <a:pt x="241" y="177"/>
                    <a:pt x="241" y="177"/>
                    <a:pt x="241" y="177"/>
                  </a:cubicBezTo>
                  <a:cubicBezTo>
                    <a:pt x="230" y="179"/>
                    <a:pt x="230" y="179"/>
                    <a:pt x="230" y="179"/>
                  </a:cubicBezTo>
                  <a:cubicBezTo>
                    <a:pt x="228" y="179"/>
                    <a:pt x="229" y="181"/>
                    <a:pt x="229" y="183"/>
                  </a:cubicBezTo>
                  <a:cubicBezTo>
                    <a:pt x="229" y="191"/>
                    <a:pt x="229" y="191"/>
                    <a:pt x="229" y="191"/>
                  </a:cubicBezTo>
                  <a:cubicBezTo>
                    <a:pt x="229" y="192"/>
                    <a:pt x="228" y="194"/>
                    <a:pt x="228" y="194"/>
                  </a:cubicBezTo>
                  <a:cubicBezTo>
                    <a:pt x="220" y="203"/>
                    <a:pt x="220" y="203"/>
                    <a:pt x="220" y="203"/>
                  </a:cubicBezTo>
                  <a:cubicBezTo>
                    <a:pt x="220" y="203"/>
                    <a:pt x="219" y="203"/>
                    <a:pt x="217" y="203"/>
                  </a:cubicBezTo>
                  <a:cubicBezTo>
                    <a:pt x="212" y="203"/>
                    <a:pt x="212" y="203"/>
                    <a:pt x="212" y="203"/>
                  </a:cubicBezTo>
                  <a:cubicBezTo>
                    <a:pt x="212" y="203"/>
                    <a:pt x="212" y="203"/>
                    <a:pt x="211" y="203"/>
                  </a:cubicBezTo>
                  <a:cubicBezTo>
                    <a:pt x="210" y="203"/>
                    <a:pt x="209" y="202"/>
                    <a:pt x="208" y="200"/>
                  </a:cubicBezTo>
                  <a:cubicBezTo>
                    <a:pt x="205" y="199"/>
                    <a:pt x="205" y="199"/>
                    <a:pt x="205" y="199"/>
                  </a:cubicBezTo>
                  <a:cubicBezTo>
                    <a:pt x="203" y="198"/>
                    <a:pt x="203" y="197"/>
                    <a:pt x="201" y="195"/>
                  </a:cubicBezTo>
                  <a:cubicBezTo>
                    <a:pt x="198" y="191"/>
                    <a:pt x="198" y="191"/>
                    <a:pt x="198" y="191"/>
                  </a:cubicBezTo>
                  <a:cubicBezTo>
                    <a:pt x="198" y="191"/>
                    <a:pt x="198" y="189"/>
                    <a:pt x="199" y="188"/>
                  </a:cubicBezTo>
                  <a:cubicBezTo>
                    <a:pt x="202" y="179"/>
                    <a:pt x="202" y="179"/>
                    <a:pt x="202" y="179"/>
                  </a:cubicBezTo>
                  <a:cubicBezTo>
                    <a:pt x="202" y="177"/>
                    <a:pt x="203" y="175"/>
                    <a:pt x="204" y="175"/>
                  </a:cubicBezTo>
                  <a:cubicBezTo>
                    <a:pt x="214" y="173"/>
                    <a:pt x="214" y="173"/>
                    <a:pt x="214" y="173"/>
                  </a:cubicBezTo>
                  <a:cubicBezTo>
                    <a:pt x="215" y="172"/>
                    <a:pt x="215" y="172"/>
                    <a:pt x="215" y="172"/>
                  </a:cubicBezTo>
                  <a:cubicBezTo>
                    <a:pt x="215" y="172"/>
                    <a:pt x="215" y="172"/>
                    <a:pt x="217" y="172"/>
                  </a:cubicBezTo>
                  <a:cubicBezTo>
                    <a:pt x="217" y="172"/>
                    <a:pt x="216" y="171"/>
                    <a:pt x="216" y="169"/>
                  </a:cubicBezTo>
                  <a:cubicBezTo>
                    <a:pt x="214" y="158"/>
                    <a:pt x="214" y="158"/>
                    <a:pt x="214" y="158"/>
                  </a:cubicBezTo>
                  <a:cubicBezTo>
                    <a:pt x="214" y="158"/>
                    <a:pt x="212" y="157"/>
                    <a:pt x="211" y="157"/>
                  </a:cubicBezTo>
                  <a:cubicBezTo>
                    <a:pt x="211" y="157"/>
                    <a:pt x="210" y="157"/>
                    <a:pt x="210" y="157"/>
                  </a:cubicBezTo>
                  <a:cubicBezTo>
                    <a:pt x="194" y="164"/>
                    <a:pt x="194" y="164"/>
                    <a:pt x="194" y="164"/>
                  </a:cubicBezTo>
                  <a:cubicBezTo>
                    <a:pt x="192" y="164"/>
                    <a:pt x="191" y="165"/>
                    <a:pt x="191" y="166"/>
                  </a:cubicBezTo>
                  <a:cubicBezTo>
                    <a:pt x="183" y="189"/>
                    <a:pt x="183" y="189"/>
                    <a:pt x="183" y="189"/>
                  </a:cubicBezTo>
                  <a:cubicBezTo>
                    <a:pt x="183" y="189"/>
                    <a:pt x="183" y="191"/>
                    <a:pt x="184" y="193"/>
                  </a:cubicBezTo>
                  <a:cubicBezTo>
                    <a:pt x="189" y="203"/>
                    <a:pt x="189" y="203"/>
                    <a:pt x="189" y="203"/>
                  </a:cubicBezTo>
                  <a:cubicBezTo>
                    <a:pt x="191" y="204"/>
                    <a:pt x="190" y="206"/>
                    <a:pt x="190" y="206"/>
                  </a:cubicBezTo>
                  <a:cubicBezTo>
                    <a:pt x="162" y="250"/>
                    <a:pt x="162" y="250"/>
                    <a:pt x="162" y="250"/>
                  </a:cubicBezTo>
                  <a:cubicBezTo>
                    <a:pt x="162" y="250"/>
                    <a:pt x="160" y="250"/>
                    <a:pt x="159" y="250"/>
                  </a:cubicBezTo>
                  <a:cubicBezTo>
                    <a:pt x="147" y="250"/>
                    <a:pt x="147" y="250"/>
                    <a:pt x="147" y="250"/>
                  </a:cubicBezTo>
                  <a:cubicBezTo>
                    <a:pt x="146" y="249"/>
                    <a:pt x="145" y="249"/>
                    <a:pt x="145" y="249"/>
                  </a:cubicBezTo>
                  <a:cubicBezTo>
                    <a:pt x="144" y="249"/>
                    <a:pt x="144" y="249"/>
                    <a:pt x="144" y="250"/>
                  </a:cubicBezTo>
                  <a:cubicBezTo>
                    <a:pt x="126" y="267"/>
                    <a:pt x="126" y="267"/>
                    <a:pt x="126" y="267"/>
                  </a:cubicBezTo>
                  <a:cubicBezTo>
                    <a:pt x="125" y="268"/>
                    <a:pt x="125" y="269"/>
                    <a:pt x="125" y="271"/>
                  </a:cubicBezTo>
                  <a:cubicBezTo>
                    <a:pt x="128" y="288"/>
                    <a:pt x="128" y="288"/>
                    <a:pt x="128" y="288"/>
                  </a:cubicBezTo>
                  <a:cubicBezTo>
                    <a:pt x="126" y="289"/>
                    <a:pt x="127" y="290"/>
                    <a:pt x="129" y="290"/>
                  </a:cubicBezTo>
                  <a:cubicBezTo>
                    <a:pt x="129" y="290"/>
                    <a:pt x="129" y="290"/>
                    <a:pt x="129" y="290"/>
                  </a:cubicBezTo>
                  <a:cubicBezTo>
                    <a:pt x="140" y="287"/>
                    <a:pt x="140" y="287"/>
                    <a:pt x="140" y="287"/>
                  </a:cubicBezTo>
                  <a:cubicBezTo>
                    <a:pt x="142" y="287"/>
                    <a:pt x="142" y="285"/>
                    <a:pt x="142" y="285"/>
                  </a:cubicBezTo>
                  <a:cubicBezTo>
                    <a:pt x="141" y="275"/>
                    <a:pt x="141" y="275"/>
                    <a:pt x="141" y="275"/>
                  </a:cubicBezTo>
                  <a:cubicBezTo>
                    <a:pt x="141" y="274"/>
                    <a:pt x="140" y="272"/>
                    <a:pt x="142" y="272"/>
                  </a:cubicBezTo>
                  <a:cubicBezTo>
                    <a:pt x="149" y="266"/>
                    <a:pt x="149" y="266"/>
                    <a:pt x="149" y="266"/>
                  </a:cubicBezTo>
                  <a:cubicBezTo>
                    <a:pt x="150" y="264"/>
                    <a:pt x="152" y="263"/>
                    <a:pt x="153" y="263"/>
                  </a:cubicBezTo>
                  <a:cubicBezTo>
                    <a:pt x="163" y="264"/>
                    <a:pt x="163" y="264"/>
                    <a:pt x="163" y="264"/>
                  </a:cubicBezTo>
                  <a:cubicBezTo>
                    <a:pt x="164" y="266"/>
                    <a:pt x="165" y="265"/>
                    <a:pt x="165" y="267"/>
                  </a:cubicBezTo>
                  <a:cubicBezTo>
                    <a:pt x="171" y="276"/>
                    <a:pt x="171" y="276"/>
                    <a:pt x="171" y="276"/>
                  </a:cubicBezTo>
                  <a:cubicBezTo>
                    <a:pt x="173" y="277"/>
                    <a:pt x="171" y="279"/>
                    <a:pt x="171" y="279"/>
                  </a:cubicBezTo>
                  <a:cubicBezTo>
                    <a:pt x="169" y="289"/>
                    <a:pt x="169" y="289"/>
                    <a:pt x="169" y="289"/>
                  </a:cubicBezTo>
                  <a:cubicBezTo>
                    <a:pt x="167" y="289"/>
                    <a:pt x="167" y="291"/>
                    <a:pt x="166" y="291"/>
                  </a:cubicBezTo>
                  <a:cubicBezTo>
                    <a:pt x="165" y="292"/>
                    <a:pt x="165" y="292"/>
                    <a:pt x="164" y="292"/>
                  </a:cubicBezTo>
                  <a:cubicBezTo>
                    <a:pt x="157" y="295"/>
                    <a:pt x="157" y="295"/>
                    <a:pt x="157" y="295"/>
                  </a:cubicBezTo>
                  <a:cubicBezTo>
                    <a:pt x="155" y="295"/>
                    <a:pt x="154" y="296"/>
                    <a:pt x="154" y="296"/>
                  </a:cubicBezTo>
                  <a:cubicBezTo>
                    <a:pt x="154" y="296"/>
                    <a:pt x="154" y="296"/>
                    <a:pt x="154" y="297"/>
                  </a:cubicBezTo>
                  <a:cubicBezTo>
                    <a:pt x="156" y="308"/>
                    <a:pt x="156" y="308"/>
                    <a:pt x="156" y="308"/>
                  </a:cubicBezTo>
                  <a:cubicBezTo>
                    <a:pt x="157" y="309"/>
                    <a:pt x="157" y="309"/>
                    <a:pt x="158" y="309"/>
                  </a:cubicBezTo>
                  <a:cubicBezTo>
                    <a:pt x="158" y="309"/>
                    <a:pt x="158" y="309"/>
                    <a:pt x="158" y="309"/>
                  </a:cubicBezTo>
                  <a:cubicBezTo>
                    <a:pt x="177" y="304"/>
                    <a:pt x="177" y="304"/>
                    <a:pt x="177" y="304"/>
                  </a:cubicBezTo>
                  <a:cubicBezTo>
                    <a:pt x="177" y="304"/>
                    <a:pt x="178" y="302"/>
                    <a:pt x="180" y="302"/>
                  </a:cubicBezTo>
                  <a:cubicBezTo>
                    <a:pt x="181" y="298"/>
                    <a:pt x="182" y="295"/>
                    <a:pt x="183" y="292"/>
                  </a:cubicBezTo>
                  <a:cubicBezTo>
                    <a:pt x="187" y="280"/>
                    <a:pt x="188" y="279"/>
                    <a:pt x="188" y="278"/>
                  </a:cubicBezTo>
                  <a:cubicBezTo>
                    <a:pt x="188" y="278"/>
                    <a:pt x="188" y="278"/>
                    <a:pt x="188" y="278"/>
                  </a:cubicBezTo>
                  <a:cubicBezTo>
                    <a:pt x="187" y="277"/>
                    <a:pt x="187" y="275"/>
                    <a:pt x="187" y="274"/>
                  </a:cubicBezTo>
                  <a:cubicBezTo>
                    <a:pt x="180" y="264"/>
                    <a:pt x="180" y="264"/>
                    <a:pt x="180" y="264"/>
                  </a:cubicBezTo>
                  <a:close/>
                  <a:moveTo>
                    <a:pt x="255" y="184"/>
                  </a:moveTo>
                  <a:cubicBezTo>
                    <a:pt x="249" y="167"/>
                    <a:pt x="227" y="135"/>
                    <a:pt x="189" y="134"/>
                  </a:cubicBezTo>
                  <a:cubicBezTo>
                    <a:pt x="172" y="134"/>
                    <a:pt x="172" y="134"/>
                    <a:pt x="172" y="134"/>
                  </a:cubicBezTo>
                  <a:cubicBezTo>
                    <a:pt x="172" y="134"/>
                    <a:pt x="172" y="134"/>
                    <a:pt x="172" y="134"/>
                  </a:cubicBezTo>
                  <a:cubicBezTo>
                    <a:pt x="122" y="134"/>
                    <a:pt x="122" y="134"/>
                    <a:pt x="122" y="134"/>
                  </a:cubicBezTo>
                  <a:cubicBezTo>
                    <a:pt x="122" y="134"/>
                    <a:pt x="122" y="134"/>
                    <a:pt x="122" y="134"/>
                  </a:cubicBezTo>
                  <a:cubicBezTo>
                    <a:pt x="111" y="134"/>
                    <a:pt x="111" y="134"/>
                    <a:pt x="111" y="134"/>
                  </a:cubicBezTo>
                  <a:cubicBezTo>
                    <a:pt x="109" y="134"/>
                    <a:pt x="109" y="134"/>
                    <a:pt x="109" y="134"/>
                  </a:cubicBezTo>
                  <a:cubicBezTo>
                    <a:pt x="100" y="134"/>
                    <a:pt x="100" y="134"/>
                    <a:pt x="100" y="134"/>
                  </a:cubicBezTo>
                  <a:cubicBezTo>
                    <a:pt x="61" y="135"/>
                    <a:pt x="38" y="167"/>
                    <a:pt x="33" y="185"/>
                  </a:cubicBezTo>
                  <a:cubicBezTo>
                    <a:pt x="0" y="292"/>
                    <a:pt x="0" y="292"/>
                    <a:pt x="0" y="292"/>
                  </a:cubicBezTo>
                  <a:cubicBezTo>
                    <a:pt x="48" y="292"/>
                    <a:pt x="48" y="292"/>
                    <a:pt x="48" y="292"/>
                  </a:cubicBezTo>
                  <a:cubicBezTo>
                    <a:pt x="69" y="221"/>
                    <a:pt x="69" y="221"/>
                    <a:pt x="69" y="221"/>
                  </a:cubicBezTo>
                  <a:cubicBezTo>
                    <a:pt x="83" y="221"/>
                    <a:pt x="83" y="221"/>
                    <a:pt x="83" y="221"/>
                  </a:cubicBezTo>
                  <a:cubicBezTo>
                    <a:pt x="63" y="292"/>
                    <a:pt x="63" y="292"/>
                    <a:pt x="63" y="292"/>
                  </a:cubicBezTo>
                  <a:cubicBezTo>
                    <a:pt x="120" y="292"/>
                    <a:pt x="120" y="292"/>
                    <a:pt x="120" y="292"/>
                  </a:cubicBezTo>
                  <a:cubicBezTo>
                    <a:pt x="119" y="291"/>
                    <a:pt x="119" y="291"/>
                    <a:pt x="119" y="290"/>
                  </a:cubicBezTo>
                  <a:cubicBezTo>
                    <a:pt x="119" y="289"/>
                    <a:pt x="119" y="287"/>
                    <a:pt x="119" y="286"/>
                  </a:cubicBezTo>
                  <a:cubicBezTo>
                    <a:pt x="117" y="272"/>
                    <a:pt x="117" y="272"/>
                    <a:pt x="117" y="272"/>
                  </a:cubicBezTo>
                  <a:cubicBezTo>
                    <a:pt x="116" y="265"/>
                    <a:pt x="119" y="262"/>
                    <a:pt x="121" y="261"/>
                  </a:cubicBezTo>
                  <a:cubicBezTo>
                    <a:pt x="137" y="246"/>
                    <a:pt x="137" y="246"/>
                    <a:pt x="137" y="246"/>
                  </a:cubicBezTo>
                  <a:cubicBezTo>
                    <a:pt x="137" y="246"/>
                    <a:pt x="137" y="245"/>
                    <a:pt x="138" y="244"/>
                  </a:cubicBezTo>
                  <a:cubicBezTo>
                    <a:pt x="139" y="242"/>
                    <a:pt x="142" y="241"/>
                    <a:pt x="145" y="241"/>
                  </a:cubicBezTo>
                  <a:cubicBezTo>
                    <a:pt x="146" y="241"/>
                    <a:pt x="148" y="241"/>
                    <a:pt x="149" y="242"/>
                  </a:cubicBezTo>
                  <a:cubicBezTo>
                    <a:pt x="157" y="242"/>
                    <a:pt x="157" y="242"/>
                    <a:pt x="157" y="242"/>
                  </a:cubicBezTo>
                  <a:cubicBezTo>
                    <a:pt x="181" y="205"/>
                    <a:pt x="181" y="205"/>
                    <a:pt x="181" y="205"/>
                  </a:cubicBezTo>
                  <a:cubicBezTo>
                    <a:pt x="177" y="196"/>
                    <a:pt x="177" y="196"/>
                    <a:pt x="177" y="196"/>
                  </a:cubicBezTo>
                  <a:cubicBezTo>
                    <a:pt x="176" y="195"/>
                    <a:pt x="176" y="195"/>
                    <a:pt x="176" y="195"/>
                  </a:cubicBezTo>
                  <a:cubicBezTo>
                    <a:pt x="176" y="194"/>
                    <a:pt x="176" y="194"/>
                    <a:pt x="176" y="194"/>
                  </a:cubicBezTo>
                  <a:cubicBezTo>
                    <a:pt x="175" y="191"/>
                    <a:pt x="175" y="191"/>
                    <a:pt x="175" y="191"/>
                  </a:cubicBezTo>
                  <a:cubicBezTo>
                    <a:pt x="175" y="189"/>
                    <a:pt x="175" y="189"/>
                    <a:pt x="175" y="189"/>
                  </a:cubicBezTo>
                  <a:cubicBezTo>
                    <a:pt x="175" y="187"/>
                    <a:pt x="175" y="187"/>
                    <a:pt x="175" y="187"/>
                  </a:cubicBezTo>
                  <a:cubicBezTo>
                    <a:pt x="183" y="165"/>
                    <a:pt x="183" y="165"/>
                    <a:pt x="183" y="165"/>
                  </a:cubicBezTo>
                  <a:cubicBezTo>
                    <a:pt x="183" y="162"/>
                    <a:pt x="185" y="158"/>
                    <a:pt x="191" y="156"/>
                  </a:cubicBezTo>
                  <a:cubicBezTo>
                    <a:pt x="207" y="150"/>
                    <a:pt x="207" y="150"/>
                    <a:pt x="207" y="150"/>
                  </a:cubicBezTo>
                  <a:cubicBezTo>
                    <a:pt x="208" y="150"/>
                    <a:pt x="208" y="150"/>
                    <a:pt x="208" y="150"/>
                  </a:cubicBezTo>
                  <a:cubicBezTo>
                    <a:pt x="209" y="149"/>
                    <a:pt x="209" y="149"/>
                    <a:pt x="209" y="149"/>
                  </a:cubicBezTo>
                  <a:cubicBezTo>
                    <a:pt x="209" y="149"/>
                    <a:pt x="210" y="149"/>
                    <a:pt x="211" y="149"/>
                  </a:cubicBezTo>
                  <a:cubicBezTo>
                    <a:pt x="214" y="149"/>
                    <a:pt x="217" y="151"/>
                    <a:pt x="218" y="151"/>
                  </a:cubicBezTo>
                  <a:cubicBezTo>
                    <a:pt x="221" y="153"/>
                    <a:pt x="221" y="153"/>
                    <a:pt x="221" y="153"/>
                  </a:cubicBezTo>
                  <a:cubicBezTo>
                    <a:pt x="222" y="156"/>
                    <a:pt x="222" y="156"/>
                    <a:pt x="222" y="156"/>
                  </a:cubicBezTo>
                  <a:cubicBezTo>
                    <a:pt x="224" y="167"/>
                    <a:pt x="224" y="167"/>
                    <a:pt x="224" y="167"/>
                  </a:cubicBezTo>
                  <a:cubicBezTo>
                    <a:pt x="225" y="170"/>
                    <a:pt x="225" y="170"/>
                    <a:pt x="225" y="170"/>
                  </a:cubicBezTo>
                  <a:cubicBezTo>
                    <a:pt x="225" y="173"/>
                    <a:pt x="225" y="173"/>
                    <a:pt x="225" y="173"/>
                  </a:cubicBezTo>
                  <a:cubicBezTo>
                    <a:pt x="227" y="172"/>
                    <a:pt x="228" y="171"/>
                    <a:pt x="228" y="171"/>
                  </a:cubicBezTo>
                  <a:cubicBezTo>
                    <a:pt x="239" y="169"/>
                    <a:pt x="239" y="169"/>
                    <a:pt x="239" y="169"/>
                  </a:cubicBezTo>
                  <a:cubicBezTo>
                    <a:pt x="240" y="169"/>
                    <a:pt x="240" y="169"/>
                    <a:pt x="241" y="169"/>
                  </a:cubicBezTo>
                  <a:cubicBezTo>
                    <a:pt x="246" y="169"/>
                    <a:pt x="250" y="172"/>
                    <a:pt x="250" y="176"/>
                  </a:cubicBezTo>
                  <a:cubicBezTo>
                    <a:pt x="251" y="178"/>
                    <a:pt x="251" y="178"/>
                    <a:pt x="251" y="178"/>
                  </a:cubicBezTo>
                  <a:cubicBezTo>
                    <a:pt x="251" y="178"/>
                    <a:pt x="251" y="178"/>
                    <a:pt x="251" y="178"/>
                  </a:cubicBezTo>
                  <a:cubicBezTo>
                    <a:pt x="251" y="179"/>
                    <a:pt x="251" y="179"/>
                    <a:pt x="251" y="179"/>
                  </a:cubicBezTo>
                  <a:cubicBezTo>
                    <a:pt x="253" y="196"/>
                    <a:pt x="253" y="196"/>
                    <a:pt x="253" y="196"/>
                  </a:cubicBezTo>
                  <a:cubicBezTo>
                    <a:pt x="254" y="199"/>
                    <a:pt x="254" y="199"/>
                    <a:pt x="254" y="199"/>
                  </a:cubicBezTo>
                  <a:cubicBezTo>
                    <a:pt x="252" y="201"/>
                    <a:pt x="252" y="201"/>
                    <a:pt x="252" y="201"/>
                  </a:cubicBezTo>
                  <a:cubicBezTo>
                    <a:pt x="251" y="203"/>
                    <a:pt x="251" y="203"/>
                    <a:pt x="251" y="203"/>
                  </a:cubicBezTo>
                  <a:cubicBezTo>
                    <a:pt x="250" y="204"/>
                    <a:pt x="250" y="204"/>
                    <a:pt x="250" y="204"/>
                  </a:cubicBezTo>
                  <a:cubicBezTo>
                    <a:pt x="250" y="205"/>
                    <a:pt x="250" y="205"/>
                    <a:pt x="250" y="205"/>
                  </a:cubicBezTo>
                  <a:cubicBezTo>
                    <a:pt x="232" y="221"/>
                    <a:pt x="232" y="221"/>
                    <a:pt x="232" y="221"/>
                  </a:cubicBezTo>
                  <a:cubicBezTo>
                    <a:pt x="230" y="225"/>
                    <a:pt x="226" y="226"/>
                    <a:pt x="225" y="226"/>
                  </a:cubicBezTo>
                  <a:cubicBezTo>
                    <a:pt x="224" y="226"/>
                    <a:pt x="224" y="226"/>
                    <a:pt x="224" y="226"/>
                  </a:cubicBezTo>
                  <a:cubicBezTo>
                    <a:pt x="222" y="226"/>
                    <a:pt x="222" y="226"/>
                    <a:pt x="222" y="226"/>
                  </a:cubicBezTo>
                  <a:cubicBezTo>
                    <a:pt x="220" y="226"/>
                    <a:pt x="220" y="226"/>
                    <a:pt x="220" y="226"/>
                  </a:cubicBezTo>
                  <a:cubicBezTo>
                    <a:pt x="240" y="292"/>
                    <a:pt x="240" y="292"/>
                    <a:pt x="240" y="292"/>
                  </a:cubicBezTo>
                  <a:cubicBezTo>
                    <a:pt x="287" y="292"/>
                    <a:pt x="287" y="292"/>
                    <a:pt x="287" y="292"/>
                  </a:cubicBezTo>
                  <a:lnTo>
                    <a:pt x="255" y="184"/>
                  </a:lnTo>
                  <a:close/>
                  <a:moveTo>
                    <a:pt x="188" y="263"/>
                  </a:moveTo>
                  <a:cubicBezTo>
                    <a:pt x="193" y="269"/>
                    <a:pt x="193" y="269"/>
                    <a:pt x="193" y="269"/>
                  </a:cubicBezTo>
                  <a:cubicBezTo>
                    <a:pt x="194" y="270"/>
                    <a:pt x="194" y="270"/>
                    <a:pt x="194" y="270"/>
                  </a:cubicBezTo>
                  <a:cubicBezTo>
                    <a:pt x="194" y="272"/>
                    <a:pt x="194" y="272"/>
                    <a:pt x="194" y="272"/>
                  </a:cubicBezTo>
                  <a:cubicBezTo>
                    <a:pt x="195" y="275"/>
                    <a:pt x="195" y="275"/>
                    <a:pt x="195" y="275"/>
                  </a:cubicBezTo>
                  <a:cubicBezTo>
                    <a:pt x="195" y="277"/>
                    <a:pt x="195" y="277"/>
                    <a:pt x="195" y="277"/>
                  </a:cubicBezTo>
                  <a:cubicBezTo>
                    <a:pt x="196" y="279"/>
                    <a:pt x="196" y="279"/>
                    <a:pt x="196" y="279"/>
                  </a:cubicBezTo>
                  <a:cubicBezTo>
                    <a:pt x="195" y="281"/>
                    <a:pt x="195" y="281"/>
                    <a:pt x="195" y="281"/>
                  </a:cubicBezTo>
                  <a:cubicBezTo>
                    <a:pt x="191" y="292"/>
                    <a:pt x="191" y="292"/>
                    <a:pt x="191" y="292"/>
                  </a:cubicBezTo>
                  <a:cubicBezTo>
                    <a:pt x="225" y="292"/>
                    <a:pt x="225" y="292"/>
                    <a:pt x="225" y="292"/>
                  </a:cubicBezTo>
                  <a:cubicBezTo>
                    <a:pt x="208" y="233"/>
                    <a:pt x="208" y="233"/>
                    <a:pt x="208" y="233"/>
                  </a:cubicBezTo>
                  <a:lnTo>
                    <a:pt x="188" y="263"/>
                  </a:lnTo>
                  <a:close/>
                </a:path>
              </a:pathLst>
            </a:custGeom>
            <a:grpFill/>
            <a:ln>
              <a:noFill/>
            </a:ln>
            <a:extLst/>
          </p:spPr>
          <p:txBody>
            <a:bodyPr vert="horz" wrap="square" lIns="93234" tIns="46616" rIns="93234" bIns="46616" numCol="1" anchor="t" anchorCtr="0" compatLnSpc="1">
              <a:prstTxWarp prst="textNoShape">
                <a:avLst/>
              </a:prstTxWarp>
            </a:bodyPr>
            <a:lstStyle/>
            <a:p>
              <a:pPr algn="ctr" defTabSz="932239"/>
              <a:endParaRPr lang="en-US" sz="1836" kern="0">
                <a:solidFill>
                  <a:srgbClr val="505050"/>
                </a:solidFill>
              </a:endParaRPr>
            </a:p>
          </p:txBody>
        </p:sp>
      </p:grpSp>
      <p:grpSp>
        <p:nvGrpSpPr>
          <p:cNvPr id="40" name="Group 39"/>
          <p:cNvGrpSpPr/>
          <p:nvPr/>
        </p:nvGrpSpPr>
        <p:grpSpPr>
          <a:xfrm>
            <a:off x="6179418" y="3305693"/>
            <a:ext cx="4574869" cy="948676"/>
            <a:chOff x="2417064" y="3491956"/>
            <a:chExt cx="4486209" cy="930291"/>
          </a:xfrm>
          <a:solidFill>
            <a:srgbClr val="EDC30D"/>
          </a:solidFill>
        </p:grpSpPr>
        <p:cxnSp>
          <p:nvCxnSpPr>
            <p:cNvPr id="42" name="Straight Connector 41"/>
            <p:cNvCxnSpPr/>
            <p:nvPr/>
          </p:nvCxnSpPr>
          <p:spPr>
            <a:xfrm flipV="1">
              <a:off x="2417064" y="3825792"/>
              <a:ext cx="2227540" cy="596455"/>
            </a:xfrm>
            <a:prstGeom prst="line">
              <a:avLst/>
            </a:prstGeom>
            <a:grpFill/>
            <a:ln w="50800">
              <a:solidFill>
                <a:srgbClr val="EDC30D"/>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41" name="Title 1"/>
            <p:cNvSpPr txBox="1">
              <a:spLocks/>
            </p:cNvSpPr>
            <p:nvPr/>
          </p:nvSpPr>
          <p:spPr>
            <a:xfrm>
              <a:off x="4458288" y="3491956"/>
              <a:ext cx="2444985" cy="859145"/>
            </a:xfrm>
            <a:prstGeom prst="rect">
              <a:avLst/>
            </a:prstGeom>
            <a:grpFill/>
            <a:ln>
              <a:solidFill>
                <a:schemeClr val="bg1"/>
              </a:solidFill>
            </a:ln>
          </p:spPr>
          <p:txBody>
            <a:bodyPr vert="horz" wrap="square" lIns="146241" tIns="91401" rIns="146241" bIns="91401"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384">
                <a:spcBef>
                  <a:spcPct val="20000"/>
                </a:spcBef>
                <a:buSzPct val="90000"/>
              </a:pPr>
              <a:r>
                <a:rPr lang="en-US" sz="2448" spc="-104" dirty="0">
                  <a:solidFill>
                    <a:schemeClr val="bg2">
                      <a:lumMod val="10000"/>
                    </a:schemeClr>
                  </a:solidFill>
                  <a:latin typeface="Segoe UI Semibold" panose="020B0702040204020203" pitchFamily="34" charset="0"/>
                  <a:cs typeface="Segoe UI Semibold" panose="020B0702040204020203" pitchFamily="34" charset="0"/>
                </a:rPr>
                <a:t>2</a:t>
              </a:r>
              <a:r>
                <a:rPr lang="en-US" sz="2448" spc="-104" baseline="30000" dirty="0">
                  <a:solidFill>
                    <a:schemeClr val="bg2">
                      <a:lumMod val="10000"/>
                    </a:schemeClr>
                  </a:solidFill>
                  <a:latin typeface="Segoe UI Semibold" panose="020B0702040204020203" pitchFamily="34" charset="0"/>
                  <a:cs typeface="Segoe UI Semibold" panose="020B0702040204020203" pitchFamily="34" charset="0"/>
                </a:rPr>
                <a:t>nd</a:t>
              </a:r>
              <a:r>
                <a:rPr lang="en-US" sz="2448" spc="-104" dirty="0">
                  <a:solidFill>
                    <a:schemeClr val="bg2">
                      <a:lumMod val="10000"/>
                    </a:schemeClr>
                  </a:solidFill>
                  <a:latin typeface="Segoe UI Semibold" panose="020B0702040204020203" pitchFamily="34" charset="0"/>
                  <a:cs typeface="Segoe UI Semibold" panose="020B0702040204020203" pitchFamily="34" charset="0"/>
                </a:rPr>
                <a:t> wave</a:t>
              </a:r>
              <a:br>
                <a:rPr lang="en-US" sz="2448" spc="-104" dirty="0">
                  <a:solidFill>
                    <a:schemeClr val="bg2">
                      <a:lumMod val="10000"/>
                    </a:schemeClr>
                  </a:solidFill>
                  <a:latin typeface="Segoe UI Semibold" panose="020B0702040204020203" pitchFamily="34" charset="0"/>
                  <a:cs typeface="Segoe UI Semibold" panose="020B0702040204020203" pitchFamily="34" charset="0"/>
                </a:rPr>
              </a:br>
              <a:r>
                <a:rPr lang="en-US" sz="2448" spc="0" dirty="0">
                  <a:solidFill>
                    <a:schemeClr val="bg2">
                      <a:lumMod val="10000"/>
                    </a:schemeClr>
                  </a:solidFill>
                  <a:latin typeface="+mn-lt"/>
                  <a:cs typeface="+mn-cs"/>
                </a:rPr>
                <a:t>Self-service BI</a:t>
              </a:r>
            </a:p>
          </p:txBody>
        </p:sp>
      </p:grpSp>
      <p:grpSp>
        <p:nvGrpSpPr>
          <p:cNvPr id="43" name="Group 42"/>
          <p:cNvGrpSpPr/>
          <p:nvPr/>
        </p:nvGrpSpPr>
        <p:grpSpPr>
          <a:xfrm>
            <a:off x="6800939" y="4973309"/>
            <a:ext cx="3953349" cy="876124"/>
            <a:chOff x="620522" y="4995756"/>
            <a:chExt cx="3876733" cy="859145"/>
          </a:xfrm>
        </p:grpSpPr>
        <p:cxnSp>
          <p:nvCxnSpPr>
            <p:cNvPr id="45" name="Straight Connector 44"/>
            <p:cNvCxnSpPr/>
            <p:nvPr/>
          </p:nvCxnSpPr>
          <p:spPr>
            <a:xfrm flipV="1">
              <a:off x="620522" y="5441791"/>
              <a:ext cx="1721530" cy="258564"/>
            </a:xfrm>
            <a:prstGeom prst="line">
              <a:avLst/>
            </a:prstGeom>
            <a:ln w="50800">
              <a:solidFill>
                <a:srgbClr val="EDC30D"/>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44" name="Title 1"/>
            <p:cNvSpPr txBox="1">
              <a:spLocks/>
            </p:cNvSpPr>
            <p:nvPr/>
          </p:nvSpPr>
          <p:spPr>
            <a:xfrm>
              <a:off x="2026122" y="4995756"/>
              <a:ext cx="2471133" cy="859145"/>
            </a:xfrm>
            <a:prstGeom prst="rect">
              <a:avLst/>
            </a:prstGeom>
            <a:solidFill>
              <a:srgbClr val="EDC30D"/>
            </a:solidFill>
          </p:spPr>
          <p:txBody>
            <a:bodyPr vert="horz" wrap="square" lIns="146241" tIns="91401" rIns="146241" bIns="91401"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384">
                <a:spcBef>
                  <a:spcPct val="20000"/>
                </a:spcBef>
                <a:buSzPct val="90000"/>
              </a:pPr>
              <a:r>
                <a:rPr lang="en-US" sz="2448" spc="-104" dirty="0">
                  <a:solidFill>
                    <a:schemeClr val="tx2">
                      <a:lumMod val="10000"/>
                    </a:schemeClr>
                  </a:solidFill>
                  <a:latin typeface="Segoe UI Semibold" panose="020B0702040204020203" pitchFamily="34" charset="0"/>
                  <a:cs typeface="Segoe UI Semibold" panose="020B0702040204020203" pitchFamily="34" charset="0"/>
                </a:rPr>
                <a:t>1st wave</a:t>
              </a:r>
              <a:br>
                <a:rPr lang="en-US" sz="2448" spc="-104" dirty="0">
                  <a:solidFill>
                    <a:schemeClr val="tx2">
                      <a:lumMod val="10000"/>
                    </a:schemeClr>
                  </a:solidFill>
                  <a:latin typeface="Segoe UI Semibold" panose="020B0702040204020203" pitchFamily="34" charset="0"/>
                  <a:cs typeface="Segoe UI Semibold" panose="020B0702040204020203" pitchFamily="34" charset="0"/>
                </a:rPr>
              </a:br>
              <a:r>
                <a:rPr lang="en-US" sz="2448" spc="0" dirty="0">
                  <a:solidFill>
                    <a:schemeClr val="tx2">
                      <a:lumMod val="10000"/>
                    </a:schemeClr>
                  </a:solidFill>
                  <a:latin typeface="+mn-lt"/>
                  <a:cs typeface="+mn-cs"/>
                </a:rPr>
                <a:t>Technical BI</a:t>
              </a:r>
            </a:p>
          </p:txBody>
        </p:sp>
      </p:grpSp>
      <p:grpSp>
        <p:nvGrpSpPr>
          <p:cNvPr id="46" name="Group 45"/>
          <p:cNvGrpSpPr/>
          <p:nvPr/>
        </p:nvGrpSpPr>
        <p:grpSpPr>
          <a:xfrm>
            <a:off x="5645130" y="1667259"/>
            <a:ext cx="5109903" cy="1171394"/>
            <a:chOff x="1838870" y="1171632"/>
            <a:chExt cx="5010874" cy="1148692"/>
          </a:xfrm>
          <a:solidFill>
            <a:srgbClr val="EDC30D"/>
          </a:solidFill>
        </p:grpSpPr>
        <p:cxnSp>
          <p:nvCxnSpPr>
            <p:cNvPr id="48" name="Straight Connector 47"/>
            <p:cNvCxnSpPr/>
            <p:nvPr/>
          </p:nvCxnSpPr>
          <p:spPr>
            <a:xfrm flipV="1">
              <a:off x="1838870" y="1621937"/>
              <a:ext cx="2751473" cy="698388"/>
            </a:xfrm>
            <a:prstGeom prst="line">
              <a:avLst/>
            </a:prstGeom>
            <a:grpFill/>
            <a:ln w="50800">
              <a:solidFill>
                <a:srgbClr val="EDC30D"/>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47" name="Title 1"/>
            <p:cNvSpPr txBox="1">
              <a:spLocks/>
            </p:cNvSpPr>
            <p:nvPr/>
          </p:nvSpPr>
          <p:spPr>
            <a:xfrm>
              <a:off x="4387433" y="1171632"/>
              <a:ext cx="2462311" cy="846002"/>
            </a:xfrm>
            <a:prstGeom prst="rect">
              <a:avLst/>
            </a:prstGeom>
            <a:grpFill/>
          </p:spPr>
          <p:txBody>
            <a:bodyPr vert="horz" wrap="square" lIns="146241" tIns="91401" rIns="146241" bIns="91401"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384">
                <a:spcBef>
                  <a:spcPct val="20000"/>
                </a:spcBef>
                <a:buSzPct val="90000"/>
              </a:pPr>
              <a:r>
                <a:rPr lang="en-US" sz="2448" spc="-104" dirty="0">
                  <a:solidFill>
                    <a:schemeClr val="tx2">
                      <a:lumMod val="10000"/>
                    </a:schemeClr>
                  </a:solidFill>
                  <a:latin typeface="Segoe UI Semibold" panose="020B0702040204020203" pitchFamily="34" charset="0"/>
                  <a:cs typeface="Segoe UI Semibold" panose="020B0702040204020203" pitchFamily="34" charset="0"/>
                </a:rPr>
                <a:t>3rd wave</a:t>
              </a:r>
              <a:br>
                <a:rPr lang="en-US" sz="2448" spc="-104" dirty="0">
                  <a:solidFill>
                    <a:schemeClr val="tx2">
                      <a:lumMod val="10000"/>
                    </a:schemeClr>
                  </a:solidFill>
                  <a:latin typeface="Segoe UI Semibold" panose="020B0702040204020203" pitchFamily="34" charset="0"/>
                  <a:cs typeface="Segoe UI Semibold" panose="020B0702040204020203" pitchFamily="34" charset="0"/>
                </a:rPr>
              </a:br>
              <a:r>
                <a:rPr lang="en-US" sz="2448" spc="0" dirty="0">
                  <a:solidFill>
                    <a:schemeClr val="tx2">
                      <a:lumMod val="10000"/>
                    </a:schemeClr>
                  </a:solidFill>
                  <a:latin typeface="+mn-lt"/>
                  <a:cs typeface="+mn-cs"/>
                </a:rPr>
                <a:t>End user BI</a:t>
              </a:r>
            </a:p>
          </p:txBody>
        </p:sp>
      </p:grpSp>
      <p:sp>
        <p:nvSpPr>
          <p:cNvPr id="50" name="Title 3"/>
          <p:cNvSpPr txBox="1">
            <a:spLocks/>
          </p:cNvSpPr>
          <p:nvPr/>
        </p:nvSpPr>
        <p:spPr>
          <a:xfrm>
            <a:off x="275164" y="292537"/>
            <a:ext cx="11885514" cy="946279"/>
          </a:xfrm>
          <a:prstGeom prst="rect">
            <a:avLst/>
          </a:prstGeom>
        </p:spPr>
        <p:txBody>
          <a:bodyPr vert="horz" wrap="square" lIns="146283" tIns="91427" rIns="146283" bIns="91427" rtlCol="0" anchor="t">
            <a:noAutofit/>
          </a:bodyPr>
          <a:lstStyle>
            <a:lvl1pPr algn="l" defTabSz="932563" rtl="0" eaLnBrk="1" latinLnBrk="0" hangingPunct="1">
              <a:lnSpc>
                <a:spcPct val="90000"/>
              </a:lnSpc>
              <a:spcBef>
                <a:spcPct val="0"/>
              </a:spcBef>
              <a:buNone/>
              <a:defRPr lang="en-US" sz="5198" b="0" kern="1200" cap="none" spc="-102" baseline="0">
                <a:ln w="3175">
                  <a:noFill/>
                </a:ln>
                <a:solidFill>
                  <a:schemeClr val="tx2"/>
                </a:solidFill>
                <a:effectLst/>
                <a:latin typeface="+mj-lt"/>
                <a:ea typeface="+mn-ea"/>
                <a:cs typeface="Segoe UI" pitchFamily="34" charset="0"/>
              </a:defRPr>
            </a:lvl1pPr>
          </a:lstStyle>
          <a:p>
            <a:pPr defTabSz="932384">
              <a:defRPr/>
            </a:pPr>
            <a:r>
              <a:rPr lang="en-US" sz="5399" dirty="0">
                <a:solidFill>
                  <a:schemeClr val="bg2">
                    <a:lumMod val="10000"/>
                  </a:schemeClr>
                </a:solidFill>
                <a:latin typeface="Segoe UI Light"/>
              </a:rPr>
              <a:t>Today, BI extends to everyone</a:t>
            </a:r>
            <a:endParaRPr lang="en-US" sz="3599" dirty="0">
              <a:solidFill>
                <a:schemeClr val="bg2">
                  <a:lumMod val="10000"/>
                </a:schemeClr>
              </a:solidFill>
              <a:latin typeface="Segoe UI Light"/>
            </a:endParaRPr>
          </a:p>
        </p:txBody>
      </p:sp>
    </p:spTree>
    <p:extLst>
      <p:ext uri="{BB962C8B-B14F-4D97-AF65-F5344CB8AC3E}">
        <p14:creationId xmlns:p14="http://schemas.microsoft.com/office/powerpoint/2010/main" val="951848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anim calcmode="lin" valueType="num">
                                      <p:cBhvr>
                                        <p:cTn id="8" dur="500" fill="hold"/>
                                        <p:tgtEl>
                                          <p:spTgt spid="13"/>
                                        </p:tgtEl>
                                        <p:attrNameLst>
                                          <p:attrName>ppt_x</p:attrName>
                                        </p:attrNameLst>
                                      </p:cBhvr>
                                      <p:tavLst>
                                        <p:tav tm="0">
                                          <p:val>
                                            <p:strVal val="#ppt_x"/>
                                          </p:val>
                                        </p:tav>
                                        <p:tav tm="100000">
                                          <p:val>
                                            <p:strVal val="#ppt_x"/>
                                          </p:val>
                                        </p:tav>
                                      </p:tavLst>
                                    </p:anim>
                                    <p:anim calcmode="lin" valueType="num">
                                      <p:cBhvr>
                                        <p:cTn id="9" dur="500" fill="hold"/>
                                        <p:tgtEl>
                                          <p:spTgt spid="13"/>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42" presetClass="entr" presetSubtype="0" fill="hold" grpId="0" nodeType="after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anim calcmode="lin" valueType="num">
                                      <p:cBhvr>
                                        <p:cTn id="14" dur="500" fill="hold"/>
                                        <p:tgtEl>
                                          <p:spTgt spid="12"/>
                                        </p:tgtEl>
                                        <p:attrNameLst>
                                          <p:attrName>ppt_x</p:attrName>
                                        </p:attrNameLst>
                                      </p:cBhvr>
                                      <p:tavLst>
                                        <p:tav tm="0">
                                          <p:val>
                                            <p:strVal val="#ppt_x"/>
                                          </p:val>
                                        </p:tav>
                                        <p:tav tm="100000">
                                          <p:val>
                                            <p:strVal val="#ppt_x"/>
                                          </p:val>
                                        </p:tav>
                                      </p:tavLst>
                                    </p:anim>
                                    <p:anim calcmode="lin" valueType="num">
                                      <p:cBhvr>
                                        <p:cTn id="15" dur="500" fill="hold"/>
                                        <p:tgtEl>
                                          <p:spTgt spid="12"/>
                                        </p:tgtEl>
                                        <p:attrNameLst>
                                          <p:attrName>ppt_y</p:attrName>
                                        </p:attrNameLst>
                                      </p:cBhvr>
                                      <p:tavLst>
                                        <p:tav tm="0">
                                          <p:val>
                                            <p:strVal val="#ppt_y+.1"/>
                                          </p:val>
                                        </p:tav>
                                        <p:tav tm="100000">
                                          <p:val>
                                            <p:strVal val="#ppt_y"/>
                                          </p:val>
                                        </p:tav>
                                      </p:tavLst>
                                    </p:anim>
                                  </p:childTnLst>
                                </p:cTn>
                              </p:par>
                            </p:childTnLst>
                          </p:cTn>
                        </p:par>
                        <p:par>
                          <p:cTn id="16" fill="hold">
                            <p:stCondLst>
                              <p:cond delay="1000"/>
                            </p:stCondLst>
                            <p:childTnLst>
                              <p:par>
                                <p:cTn id="17" presetID="42"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anim calcmode="lin" valueType="num">
                                      <p:cBhvr>
                                        <p:cTn id="20" dur="500" fill="hold"/>
                                        <p:tgtEl>
                                          <p:spTgt spid="11"/>
                                        </p:tgtEl>
                                        <p:attrNameLst>
                                          <p:attrName>ppt_x</p:attrName>
                                        </p:attrNameLst>
                                      </p:cBhvr>
                                      <p:tavLst>
                                        <p:tav tm="0">
                                          <p:val>
                                            <p:strVal val="#ppt_x"/>
                                          </p:val>
                                        </p:tav>
                                        <p:tav tm="100000">
                                          <p:val>
                                            <p:strVal val="#ppt_x"/>
                                          </p:val>
                                        </p:tav>
                                      </p:tavLst>
                                    </p:anim>
                                    <p:anim calcmode="lin" valueType="num">
                                      <p:cBhvr>
                                        <p:cTn id="21" dur="500" fill="hold"/>
                                        <p:tgtEl>
                                          <p:spTgt spid="11"/>
                                        </p:tgtEl>
                                        <p:attrNameLst>
                                          <p:attrName>ppt_y</p:attrName>
                                        </p:attrNameLst>
                                      </p:cBhvr>
                                      <p:tavLst>
                                        <p:tav tm="0">
                                          <p:val>
                                            <p:strVal val="#ppt_y+.1"/>
                                          </p:val>
                                        </p:tav>
                                        <p:tav tm="100000">
                                          <p:val>
                                            <p:strVal val="#ppt_y"/>
                                          </p:val>
                                        </p:tav>
                                      </p:tavLst>
                                    </p:anim>
                                  </p:childTnLst>
                                </p:cTn>
                              </p:par>
                            </p:childTnLst>
                          </p:cTn>
                        </p:par>
                        <p:par>
                          <p:cTn id="22" fill="hold">
                            <p:stCondLst>
                              <p:cond delay="1500"/>
                            </p:stCondLst>
                            <p:childTnLst>
                              <p:par>
                                <p:cTn id="23" presetID="10" presetClass="entr" presetSubtype="0" fill="hold" nodeType="afterEffect">
                                  <p:stCondLst>
                                    <p:cond delay="0"/>
                                  </p:stCondLst>
                                  <p:childTnLst>
                                    <p:set>
                                      <p:cBhvr>
                                        <p:cTn id="24" dur="1" fill="hold">
                                          <p:stCondLst>
                                            <p:cond delay="0"/>
                                          </p:stCondLst>
                                        </p:cTn>
                                        <p:tgtEl>
                                          <p:spTgt spid="36"/>
                                        </p:tgtEl>
                                        <p:attrNameLst>
                                          <p:attrName>style.visibility</p:attrName>
                                        </p:attrNameLst>
                                      </p:cBhvr>
                                      <p:to>
                                        <p:strVal val="visible"/>
                                      </p:to>
                                    </p:set>
                                    <p:animEffect transition="in" filter="fade">
                                      <p:cBhvr>
                                        <p:cTn id="25" dur="500"/>
                                        <p:tgtEl>
                                          <p:spTgt spid="36"/>
                                        </p:tgtEl>
                                      </p:cBhvr>
                                    </p:animEffect>
                                  </p:childTnLst>
                                </p:cTn>
                              </p:par>
                            </p:childTnLst>
                          </p:cTn>
                        </p:par>
                        <p:par>
                          <p:cTn id="26" fill="hold">
                            <p:stCondLst>
                              <p:cond delay="2000"/>
                            </p:stCondLst>
                            <p:childTnLst>
                              <p:par>
                                <p:cTn id="27" presetID="10" presetClass="entr" presetSubtype="0" fill="hold" nodeType="afterEffect">
                                  <p:stCondLst>
                                    <p:cond delay="0"/>
                                  </p:stCondLst>
                                  <p:childTnLst>
                                    <p:set>
                                      <p:cBhvr>
                                        <p:cTn id="28" dur="1" fill="hold">
                                          <p:stCondLst>
                                            <p:cond delay="0"/>
                                          </p:stCondLst>
                                        </p:cTn>
                                        <p:tgtEl>
                                          <p:spTgt spid="28"/>
                                        </p:tgtEl>
                                        <p:attrNameLst>
                                          <p:attrName>style.visibility</p:attrName>
                                        </p:attrNameLst>
                                      </p:cBhvr>
                                      <p:to>
                                        <p:strVal val="visible"/>
                                      </p:to>
                                    </p:set>
                                    <p:animEffect transition="in" filter="fade">
                                      <p:cBhvr>
                                        <p:cTn id="29" dur="500"/>
                                        <p:tgtEl>
                                          <p:spTgt spid="28"/>
                                        </p:tgtEl>
                                      </p:cBhvr>
                                    </p:animEffect>
                                  </p:childTnLst>
                                </p:cTn>
                              </p:par>
                            </p:childTnLst>
                          </p:cTn>
                        </p:par>
                        <p:par>
                          <p:cTn id="30" fill="hold">
                            <p:stCondLst>
                              <p:cond delay="2500"/>
                            </p:stCondLst>
                            <p:childTnLst>
                              <p:par>
                                <p:cTn id="31" presetID="10" presetClass="entr" presetSubtype="0" fill="hold" nodeType="after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fade">
                                      <p:cBhvr>
                                        <p:cTn id="33" dur="500"/>
                                        <p:tgtEl>
                                          <p:spTgt spid="15"/>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27"/>
                                        </p:tgtEl>
                                        <p:attrNameLst>
                                          <p:attrName>style.visibility</p:attrName>
                                        </p:attrNameLst>
                                      </p:cBhvr>
                                      <p:to>
                                        <p:strVal val="visible"/>
                                      </p:to>
                                    </p:set>
                                    <p:animEffect transition="in" filter="fade">
                                      <p:cBhvr>
                                        <p:cTn id="36" dur="500"/>
                                        <p:tgtEl>
                                          <p:spTgt spid="27"/>
                                        </p:tgtEl>
                                      </p:cBhvr>
                                    </p:animEffect>
                                  </p:childTnLst>
                                </p:cTn>
                              </p:par>
                            </p:childTnLst>
                          </p:cTn>
                        </p:par>
                        <p:par>
                          <p:cTn id="37" fill="hold">
                            <p:stCondLst>
                              <p:cond delay="3000"/>
                            </p:stCondLst>
                            <p:childTnLst>
                              <p:par>
                                <p:cTn id="38" presetID="22" presetClass="entr" presetSubtype="8" fill="hold" nodeType="afterEffect">
                                  <p:stCondLst>
                                    <p:cond delay="0"/>
                                  </p:stCondLst>
                                  <p:childTnLst>
                                    <p:set>
                                      <p:cBhvr>
                                        <p:cTn id="39" dur="1" fill="hold">
                                          <p:stCondLst>
                                            <p:cond delay="0"/>
                                          </p:stCondLst>
                                        </p:cTn>
                                        <p:tgtEl>
                                          <p:spTgt spid="43"/>
                                        </p:tgtEl>
                                        <p:attrNameLst>
                                          <p:attrName>style.visibility</p:attrName>
                                        </p:attrNameLst>
                                      </p:cBhvr>
                                      <p:to>
                                        <p:strVal val="visible"/>
                                      </p:to>
                                    </p:set>
                                    <p:animEffect transition="in" filter="wipe(left)">
                                      <p:cBhvr>
                                        <p:cTn id="40" dur="500"/>
                                        <p:tgtEl>
                                          <p:spTgt spid="43"/>
                                        </p:tgtEl>
                                      </p:cBhvr>
                                    </p:animEffect>
                                  </p:childTnLst>
                                </p:cTn>
                              </p:par>
                              <p:par>
                                <p:cTn id="41" presetID="22" presetClass="entr" presetSubtype="8" fill="hold" nodeType="withEffect">
                                  <p:stCondLst>
                                    <p:cond delay="0"/>
                                  </p:stCondLst>
                                  <p:childTnLst>
                                    <p:set>
                                      <p:cBhvr>
                                        <p:cTn id="42" dur="1" fill="hold">
                                          <p:stCondLst>
                                            <p:cond delay="0"/>
                                          </p:stCondLst>
                                        </p:cTn>
                                        <p:tgtEl>
                                          <p:spTgt spid="40"/>
                                        </p:tgtEl>
                                        <p:attrNameLst>
                                          <p:attrName>style.visibility</p:attrName>
                                        </p:attrNameLst>
                                      </p:cBhvr>
                                      <p:to>
                                        <p:strVal val="visible"/>
                                      </p:to>
                                    </p:set>
                                    <p:animEffect transition="in" filter="wipe(left)">
                                      <p:cBhvr>
                                        <p:cTn id="43" dur="500"/>
                                        <p:tgtEl>
                                          <p:spTgt spid="40"/>
                                        </p:tgtEl>
                                      </p:cBhvr>
                                    </p:animEffect>
                                  </p:childTnLst>
                                </p:cTn>
                              </p:par>
                              <p:par>
                                <p:cTn id="44" presetID="22" presetClass="entr" presetSubtype="8" fill="hold" nodeType="withEffect">
                                  <p:stCondLst>
                                    <p:cond delay="0"/>
                                  </p:stCondLst>
                                  <p:childTnLst>
                                    <p:set>
                                      <p:cBhvr>
                                        <p:cTn id="45" dur="1" fill="hold">
                                          <p:stCondLst>
                                            <p:cond delay="0"/>
                                          </p:stCondLst>
                                        </p:cTn>
                                        <p:tgtEl>
                                          <p:spTgt spid="46"/>
                                        </p:tgtEl>
                                        <p:attrNameLst>
                                          <p:attrName>style.visibility</p:attrName>
                                        </p:attrNameLst>
                                      </p:cBhvr>
                                      <p:to>
                                        <p:strVal val="visible"/>
                                      </p:to>
                                    </p:set>
                                    <p:animEffect transition="in" filter="wipe(left)">
                                      <p:cBhvr>
                                        <p:cTn id="46"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27"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 name="Flowchart: Process 187"/>
          <p:cNvSpPr/>
          <p:nvPr/>
        </p:nvSpPr>
        <p:spPr bwMode="auto">
          <a:xfrm>
            <a:off x="400917" y="1083783"/>
            <a:ext cx="3526143" cy="4400460"/>
          </a:xfrm>
          <a:prstGeom prst="flowChartProcess">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err="1">
              <a:solidFill>
                <a:srgbClr val="000000"/>
              </a:solidFill>
              <a:ea typeface="Segoe UI" pitchFamily="34" charset="0"/>
              <a:cs typeface="Segoe UI" pitchFamily="34" charset="0"/>
            </a:endParaRPr>
          </a:p>
        </p:txBody>
      </p:sp>
      <p:sp>
        <p:nvSpPr>
          <p:cNvPr id="450" name="Rectangle 449"/>
          <p:cNvSpPr/>
          <p:nvPr/>
        </p:nvSpPr>
        <p:spPr bwMode="auto">
          <a:xfrm>
            <a:off x="373826" y="1083783"/>
            <a:ext cx="11637226" cy="4400460"/>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spcBef>
                <a:spcPct val="0"/>
              </a:spcBef>
              <a:spcAft>
                <a:spcPct val="0"/>
              </a:spcAft>
            </a:pPr>
            <a:endParaRPr lang="en-IN" sz="2448"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Picture 141"/>
          <p:cNvPicPr>
            <a:picLocks noChangeAspect="1"/>
          </p:cNvPicPr>
          <p:nvPr/>
        </p:nvPicPr>
        <p:blipFill>
          <a:blip r:embed="rId3"/>
          <a:stretch>
            <a:fillRect/>
          </a:stretch>
        </p:blipFill>
        <p:spPr>
          <a:xfrm>
            <a:off x="8198521" y="5558354"/>
            <a:ext cx="2116053" cy="742298"/>
          </a:xfrm>
          <a:prstGeom prst="rect">
            <a:avLst/>
          </a:prstGeom>
        </p:spPr>
      </p:pic>
      <p:pic>
        <p:nvPicPr>
          <p:cNvPr id="191" name="Picture 190"/>
          <p:cNvPicPr>
            <a:picLocks noChangeAspect="1"/>
          </p:cNvPicPr>
          <p:nvPr/>
        </p:nvPicPr>
        <p:blipFill>
          <a:blip r:embed="rId4"/>
          <a:stretch>
            <a:fillRect/>
          </a:stretch>
        </p:blipFill>
        <p:spPr>
          <a:xfrm>
            <a:off x="9586392" y="5458395"/>
            <a:ext cx="1875274" cy="1038843"/>
          </a:xfrm>
          <a:prstGeom prst="rect">
            <a:avLst/>
          </a:prstGeom>
        </p:spPr>
      </p:pic>
      <p:sp>
        <p:nvSpPr>
          <p:cNvPr id="144" name="Rectangle 143"/>
          <p:cNvSpPr/>
          <p:nvPr/>
        </p:nvSpPr>
        <p:spPr bwMode="auto">
          <a:xfrm>
            <a:off x="6841898" y="5478091"/>
            <a:ext cx="5201841" cy="964478"/>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ctr" anchorCtr="0" forceAA="0" compatLnSpc="1">
            <a:prstTxWarp prst="textNoShape">
              <a:avLst/>
            </a:prstTxWarp>
            <a:noAutofit/>
          </a:bodyPr>
          <a:lstStyle/>
          <a:p>
            <a:pPr marL="395136" defTabSz="950663" fontAlgn="base">
              <a:spcBef>
                <a:spcPct val="0"/>
              </a:spcBef>
              <a:spcAft>
                <a:spcPct val="0"/>
              </a:spcAft>
            </a:pPr>
            <a:endParaRPr lang="en-US" sz="2652" kern="0" dirty="0">
              <a:solidFill>
                <a:srgbClr val="FFFFFF"/>
              </a:solidFill>
              <a:latin typeface="Segoe UI Light"/>
              <a:ea typeface="Segoe UI" pitchFamily="34" charset="0"/>
              <a:cs typeface="Segoe UI" pitchFamily="34" charset="0"/>
            </a:endParaRPr>
          </a:p>
        </p:txBody>
      </p:sp>
      <p:sp>
        <p:nvSpPr>
          <p:cNvPr id="145" name="Rectangle 144"/>
          <p:cNvSpPr/>
          <p:nvPr/>
        </p:nvSpPr>
        <p:spPr>
          <a:xfrm>
            <a:off x="7577242" y="5098758"/>
            <a:ext cx="2734197" cy="382254"/>
          </a:xfrm>
          <a:prstGeom prst="rect">
            <a:avLst/>
          </a:prstGeom>
        </p:spPr>
        <p:txBody>
          <a:bodyPr wrap="square">
            <a:spAutoFit/>
          </a:bodyPr>
          <a:lstStyle/>
          <a:p>
            <a:pPr algn="ctr" defTabSz="932384">
              <a:spcAft>
                <a:spcPts val="600"/>
              </a:spcAft>
            </a:pPr>
            <a:r>
              <a:rPr lang="en-US" sz="1836" kern="0" dirty="0">
                <a:solidFill>
                  <a:srgbClr val="000000"/>
                </a:solidFill>
              </a:rPr>
              <a:t>Power BI REST APIs</a:t>
            </a:r>
          </a:p>
        </p:txBody>
      </p:sp>
      <p:sp>
        <p:nvSpPr>
          <p:cNvPr id="147" name="Rectangle 146"/>
          <p:cNvSpPr/>
          <p:nvPr/>
        </p:nvSpPr>
        <p:spPr>
          <a:xfrm>
            <a:off x="964301" y="5092984"/>
            <a:ext cx="2336649" cy="382254"/>
          </a:xfrm>
          <a:prstGeom prst="rect">
            <a:avLst/>
          </a:prstGeom>
        </p:spPr>
        <p:txBody>
          <a:bodyPr wrap="square">
            <a:spAutoFit/>
          </a:bodyPr>
          <a:lstStyle/>
          <a:p>
            <a:pPr defTabSz="932384">
              <a:spcAft>
                <a:spcPts val="600"/>
              </a:spcAft>
            </a:pPr>
            <a:r>
              <a:rPr lang="en-US" sz="1836" kern="0" dirty="0">
                <a:solidFill>
                  <a:srgbClr val="000000"/>
                </a:solidFill>
              </a:rPr>
              <a:t>Power BI Desktop</a:t>
            </a:r>
          </a:p>
        </p:txBody>
      </p:sp>
      <p:sp>
        <p:nvSpPr>
          <p:cNvPr id="192" name="Rectangle 19"/>
          <p:cNvSpPr/>
          <p:nvPr/>
        </p:nvSpPr>
        <p:spPr bwMode="auto">
          <a:xfrm>
            <a:off x="400917" y="4885671"/>
            <a:ext cx="6300074" cy="1555270"/>
          </a:xfrm>
          <a:custGeom>
            <a:avLst/>
            <a:gdLst>
              <a:gd name="connsiteX0" fmla="*/ 0 w 6755948"/>
              <a:gd name="connsiteY0" fmla="*/ 0 h 814436"/>
              <a:gd name="connsiteX1" fmla="*/ 6755948 w 6755948"/>
              <a:gd name="connsiteY1" fmla="*/ 0 h 814436"/>
              <a:gd name="connsiteX2" fmla="*/ 6755948 w 6755948"/>
              <a:gd name="connsiteY2" fmla="*/ 814436 h 814436"/>
              <a:gd name="connsiteX3" fmla="*/ 0 w 6755948"/>
              <a:gd name="connsiteY3" fmla="*/ 814436 h 814436"/>
              <a:gd name="connsiteX4" fmla="*/ 0 w 6755948"/>
              <a:gd name="connsiteY4" fmla="*/ 0 h 814436"/>
              <a:gd name="connsiteX0" fmla="*/ 0 w 6755948"/>
              <a:gd name="connsiteY0" fmla="*/ 0 h 814436"/>
              <a:gd name="connsiteX1" fmla="*/ 245420 w 6755948"/>
              <a:gd name="connsiteY1" fmla="*/ 620 h 814436"/>
              <a:gd name="connsiteX2" fmla="*/ 6755948 w 6755948"/>
              <a:gd name="connsiteY2" fmla="*/ 0 h 814436"/>
              <a:gd name="connsiteX3" fmla="*/ 6755948 w 6755948"/>
              <a:gd name="connsiteY3" fmla="*/ 814436 h 814436"/>
              <a:gd name="connsiteX4" fmla="*/ 0 w 6755948"/>
              <a:gd name="connsiteY4" fmla="*/ 814436 h 814436"/>
              <a:gd name="connsiteX5" fmla="*/ 0 w 6755948"/>
              <a:gd name="connsiteY5" fmla="*/ 0 h 814436"/>
              <a:gd name="connsiteX0" fmla="*/ 0 w 6755948"/>
              <a:gd name="connsiteY0" fmla="*/ 0 h 814436"/>
              <a:gd name="connsiteX1" fmla="*/ 245420 w 6755948"/>
              <a:gd name="connsiteY1" fmla="*/ 620 h 814436"/>
              <a:gd name="connsiteX2" fmla="*/ 528884 w 6755948"/>
              <a:gd name="connsiteY2" fmla="*/ 620 h 814436"/>
              <a:gd name="connsiteX3" fmla="*/ 6755948 w 6755948"/>
              <a:gd name="connsiteY3" fmla="*/ 0 h 814436"/>
              <a:gd name="connsiteX4" fmla="*/ 6755948 w 6755948"/>
              <a:gd name="connsiteY4" fmla="*/ 814436 h 814436"/>
              <a:gd name="connsiteX5" fmla="*/ 0 w 6755948"/>
              <a:gd name="connsiteY5" fmla="*/ 814436 h 814436"/>
              <a:gd name="connsiteX6" fmla="*/ 0 w 6755948"/>
              <a:gd name="connsiteY6" fmla="*/ 0 h 814436"/>
              <a:gd name="connsiteX0" fmla="*/ 0 w 6755948"/>
              <a:gd name="connsiteY0" fmla="*/ 0 h 814436"/>
              <a:gd name="connsiteX1" fmla="*/ 245420 w 6755948"/>
              <a:gd name="connsiteY1" fmla="*/ 620 h 814436"/>
              <a:gd name="connsiteX2" fmla="*/ 373436 w 6755948"/>
              <a:gd name="connsiteY2" fmla="*/ 620 h 814436"/>
              <a:gd name="connsiteX3" fmla="*/ 528884 w 6755948"/>
              <a:gd name="connsiteY3" fmla="*/ 620 h 814436"/>
              <a:gd name="connsiteX4" fmla="*/ 6755948 w 6755948"/>
              <a:gd name="connsiteY4" fmla="*/ 0 h 814436"/>
              <a:gd name="connsiteX5" fmla="*/ 6755948 w 6755948"/>
              <a:gd name="connsiteY5" fmla="*/ 814436 h 814436"/>
              <a:gd name="connsiteX6" fmla="*/ 0 w 6755948"/>
              <a:gd name="connsiteY6" fmla="*/ 814436 h 814436"/>
              <a:gd name="connsiteX7" fmla="*/ 0 w 6755948"/>
              <a:gd name="connsiteY7" fmla="*/ 0 h 814436"/>
              <a:gd name="connsiteX0" fmla="*/ 0 w 6755948"/>
              <a:gd name="connsiteY0" fmla="*/ 374284 h 1188720"/>
              <a:gd name="connsiteX1" fmla="*/ 245420 w 6755948"/>
              <a:gd name="connsiteY1" fmla="*/ 374904 h 1188720"/>
              <a:gd name="connsiteX2" fmla="*/ 382580 w 6755948"/>
              <a:gd name="connsiteY2" fmla="*/ 0 h 1188720"/>
              <a:gd name="connsiteX3" fmla="*/ 528884 w 6755948"/>
              <a:gd name="connsiteY3" fmla="*/ 374904 h 1188720"/>
              <a:gd name="connsiteX4" fmla="*/ 6755948 w 6755948"/>
              <a:gd name="connsiteY4" fmla="*/ 374284 h 1188720"/>
              <a:gd name="connsiteX5" fmla="*/ 6755948 w 6755948"/>
              <a:gd name="connsiteY5" fmla="*/ 1188720 h 1188720"/>
              <a:gd name="connsiteX6" fmla="*/ 0 w 6755948"/>
              <a:gd name="connsiteY6" fmla="*/ 1188720 h 1188720"/>
              <a:gd name="connsiteX7" fmla="*/ 0 w 6755948"/>
              <a:gd name="connsiteY7" fmla="*/ 374284 h 1188720"/>
              <a:gd name="connsiteX0" fmla="*/ 0 w 6755948"/>
              <a:gd name="connsiteY0" fmla="*/ 273117 h 1087553"/>
              <a:gd name="connsiteX1" fmla="*/ 245420 w 6755948"/>
              <a:gd name="connsiteY1" fmla="*/ 273737 h 1087553"/>
              <a:gd name="connsiteX2" fmla="*/ 388635 w 6755948"/>
              <a:gd name="connsiteY2" fmla="*/ 0 h 1087553"/>
              <a:gd name="connsiteX3" fmla="*/ 528884 w 6755948"/>
              <a:gd name="connsiteY3" fmla="*/ 273737 h 1087553"/>
              <a:gd name="connsiteX4" fmla="*/ 6755948 w 6755948"/>
              <a:gd name="connsiteY4" fmla="*/ 273117 h 1087553"/>
              <a:gd name="connsiteX5" fmla="*/ 6755948 w 6755948"/>
              <a:gd name="connsiteY5" fmla="*/ 1087553 h 1087553"/>
              <a:gd name="connsiteX6" fmla="*/ 0 w 6755948"/>
              <a:gd name="connsiteY6" fmla="*/ 1087553 h 1087553"/>
              <a:gd name="connsiteX7" fmla="*/ 0 w 6755948"/>
              <a:gd name="connsiteY7" fmla="*/ 273117 h 1087553"/>
              <a:gd name="connsiteX0" fmla="*/ 0 w 6755948"/>
              <a:gd name="connsiteY0" fmla="*/ 898462 h 1712898"/>
              <a:gd name="connsiteX1" fmla="*/ 245420 w 6755948"/>
              <a:gd name="connsiteY1" fmla="*/ 899082 h 1712898"/>
              <a:gd name="connsiteX2" fmla="*/ 376614 w 6755948"/>
              <a:gd name="connsiteY2" fmla="*/ 0 h 1712898"/>
              <a:gd name="connsiteX3" fmla="*/ 528884 w 6755948"/>
              <a:gd name="connsiteY3" fmla="*/ 899082 h 1712898"/>
              <a:gd name="connsiteX4" fmla="*/ 6755948 w 6755948"/>
              <a:gd name="connsiteY4" fmla="*/ 898462 h 1712898"/>
              <a:gd name="connsiteX5" fmla="*/ 6755948 w 6755948"/>
              <a:gd name="connsiteY5" fmla="*/ 1712898 h 1712898"/>
              <a:gd name="connsiteX6" fmla="*/ 0 w 6755948"/>
              <a:gd name="connsiteY6" fmla="*/ 1712898 h 1712898"/>
              <a:gd name="connsiteX7" fmla="*/ 0 w 6755948"/>
              <a:gd name="connsiteY7" fmla="*/ 898462 h 1712898"/>
              <a:gd name="connsiteX0" fmla="*/ 0 w 6755948"/>
              <a:gd name="connsiteY0" fmla="*/ 708625 h 1523061"/>
              <a:gd name="connsiteX1" fmla="*/ 245420 w 6755948"/>
              <a:gd name="connsiteY1" fmla="*/ 709245 h 1523061"/>
              <a:gd name="connsiteX2" fmla="*/ 388635 w 6755948"/>
              <a:gd name="connsiteY2" fmla="*/ 0 h 1523061"/>
              <a:gd name="connsiteX3" fmla="*/ 528884 w 6755948"/>
              <a:gd name="connsiteY3" fmla="*/ 709245 h 1523061"/>
              <a:gd name="connsiteX4" fmla="*/ 6755948 w 6755948"/>
              <a:gd name="connsiteY4" fmla="*/ 708625 h 1523061"/>
              <a:gd name="connsiteX5" fmla="*/ 6755948 w 6755948"/>
              <a:gd name="connsiteY5" fmla="*/ 1523061 h 1523061"/>
              <a:gd name="connsiteX6" fmla="*/ 0 w 6755948"/>
              <a:gd name="connsiteY6" fmla="*/ 1523061 h 1523061"/>
              <a:gd name="connsiteX7" fmla="*/ 0 w 6755948"/>
              <a:gd name="connsiteY7" fmla="*/ 708625 h 1523061"/>
              <a:gd name="connsiteX0" fmla="*/ 0 w 6755948"/>
              <a:gd name="connsiteY0" fmla="*/ 546905 h 1361341"/>
              <a:gd name="connsiteX1" fmla="*/ 245420 w 6755948"/>
              <a:gd name="connsiteY1" fmla="*/ 547525 h 1361341"/>
              <a:gd name="connsiteX2" fmla="*/ 388635 w 6755948"/>
              <a:gd name="connsiteY2" fmla="*/ 0 h 1361341"/>
              <a:gd name="connsiteX3" fmla="*/ 528884 w 6755948"/>
              <a:gd name="connsiteY3" fmla="*/ 547525 h 1361341"/>
              <a:gd name="connsiteX4" fmla="*/ 6755948 w 6755948"/>
              <a:gd name="connsiteY4" fmla="*/ 546905 h 1361341"/>
              <a:gd name="connsiteX5" fmla="*/ 6755948 w 6755948"/>
              <a:gd name="connsiteY5" fmla="*/ 1361341 h 1361341"/>
              <a:gd name="connsiteX6" fmla="*/ 0 w 6755948"/>
              <a:gd name="connsiteY6" fmla="*/ 1361341 h 1361341"/>
              <a:gd name="connsiteX7" fmla="*/ 0 w 6755948"/>
              <a:gd name="connsiteY7" fmla="*/ 546905 h 1361341"/>
              <a:gd name="connsiteX0" fmla="*/ 0 w 6755948"/>
              <a:gd name="connsiteY0" fmla="*/ 699731 h 1514167"/>
              <a:gd name="connsiteX1" fmla="*/ 245420 w 6755948"/>
              <a:gd name="connsiteY1" fmla="*/ 700351 h 1514167"/>
              <a:gd name="connsiteX2" fmla="*/ 398757 w 6755948"/>
              <a:gd name="connsiteY2" fmla="*/ 0 h 1514167"/>
              <a:gd name="connsiteX3" fmla="*/ 528884 w 6755948"/>
              <a:gd name="connsiteY3" fmla="*/ 700351 h 1514167"/>
              <a:gd name="connsiteX4" fmla="*/ 6755948 w 6755948"/>
              <a:gd name="connsiteY4" fmla="*/ 699731 h 1514167"/>
              <a:gd name="connsiteX5" fmla="*/ 6755948 w 6755948"/>
              <a:gd name="connsiteY5" fmla="*/ 1514167 h 1514167"/>
              <a:gd name="connsiteX6" fmla="*/ 0 w 6755948"/>
              <a:gd name="connsiteY6" fmla="*/ 1514167 h 1514167"/>
              <a:gd name="connsiteX7" fmla="*/ 0 w 6755948"/>
              <a:gd name="connsiteY7" fmla="*/ 699731 h 1514167"/>
              <a:gd name="connsiteX0" fmla="*/ 0 w 6755948"/>
              <a:gd name="connsiteY0" fmla="*/ 934203 h 1748639"/>
              <a:gd name="connsiteX1" fmla="*/ 245420 w 6755948"/>
              <a:gd name="connsiteY1" fmla="*/ 934823 h 1748639"/>
              <a:gd name="connsiteX2" fmla="*/ 398757 w 6755948"/>
              <a:gd name="connsiteY2" fmla="*/ 0 h 1748639"/>
              <a:gd name="connsiteX3" fmla="*/ 528884 w 6755948"/>
              <a:gd name="connsiteY3" fmla="*/ 934823 h 1748639"/>
              <a:gd name="connsiteX4" fmla="*/ 6755948 w 6755948"/>
              <a:gd name="connsiteY4" fmla="*/ 934203 h 1748639"/>
              <a:gd name="connsiteX5" fmla="*/ 6755948 w 6755948"/>
              <a:gd name="connsiteY5" fmla="*/ 1748639 h 1748639"/>
              <a:gd name="connsiteX6" fmla="*/ 0 w 6755948"/>
              <a:gd name="connsiteY6" fmla="*/ 1748639 h 1748639"/>
              <a:gd name="connsiteX7" fmla="*/ 0 w 6755948"/>
              <a:gd name="connsiteY7" fmla="*/ 934203 h 1748639"/>
              <a:gd name="connsiteX0" fmla="*/ 0 w 6755948"/>
              <a:gd name="connsiteY0" fmla="*/ 571160 h 1385596"/>
              <a:gd name="connsiteX1" fmla="*/ 245420 w 6755948"/>
              <a:gd name="connsiteY1" fmla="*/ 571780 h 1385596"/>
              <a:gd name="connsiteX2" fmla="*/ 406242 w 6755948"/>
              <a:gd name="connsiteY2" fmla="*/ 0 h 1385596"/>
              <a:gd name="connsiteX3" fmla="*/ 528884 w 6755948"/>
              <a:gd name="connsiteY3" fmla="*/ 571780 h 1385596"/>
              <a:gd name="connsiteX4" fmla="*/ 6755948 w 6755948"/>
              <a:gd name="connsiteY4" fmla="*/ 571160 h 1385596"/>
              <a:gd name="connsiteX5" fmla="*/ 6755948 w 6755948"/>
              <a:gd name="connsiteY5" fmla="*/ 1385596 h 1385596"/>
              <a:gd name="connsiteX6" fmla="*/ 0 w 6755948"/>
              <a:gd name="connsiteY6" fmla="*/ 1385596 h 1385596"/>
              <a:gd name="connsiteX7" fmla="*/ 0 w 6755948"/>
              <a:gd name="connsiteY7" fmla="*/ 571160 h 1385596"/>
              <a:gd name="connsiteX0" fmla="*/ 0 w 6755948"/>
              <a:gd name="connsiteY0" fmla="*/ 511644 h 1326080"/>
              <a:gd name="connsiteX1" fmla="*/ 245420 w 6755948"/>
              <a:gd name="connsiteY1" fmla="*/ 512264 h 1326080"/>
              <a:gd name="connsiteX2" fmla="*/ 458639 w 6755948"/>
              <a:gd name="connsiteY2" fmla="*/ 0 h 1326080"/>
              <a:gd name="connsiteX3" fmla="*/ 528884 w 6755948"/>
              <a:gd name="connsiteY3" fmla="*/ 512264 h 1326080"/>
              <a:gd name="connsiteX4" fmla="*/ 6755948 w 6755948"/>
              <a:gd name="connsiteY4" fmla="*/ 511644 h 1326080"/>
              <a:gd name="connsiteX5" fmla="*/ 6755948 w 6755948"/>
              <a:gd name="connsiteY5" fmla="*/ 1326080 h 1326080"/>
              <a:gd name="connsiteX6" fmla="*/ 0 w 6755948"/>
              <a:gd name="connsiteY6" fmla="*/ 1326080 h 1326080"/>
              <a:gd name="connsiteX7" fmla="*/ 0 w 6755948"/>
              <a:gd name="connsiteY7" fmla="*/ 511644 h 132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5948" h="1326080">
                <a:moveTo>
                  <a:pt x="0" y="511644"/>
                </a:moveTo>
                <a:lnTo>
                  <a:pt x="245420" y="512264"/>
                </a:lnTo>
                <a:lnTo>
                  <a:pt x="458639" y="0"/>
                </a:lnTo>
                <a:lnTo>
                  <a:pt x="528884" y="512264"/>
                </a:lnTo>
                <a:lnTo>
                  <a:pt x="6755948" y="511644"/>
                </a:lnTo>
                <a:lnTo>
                  <a:pt x="6755948" y="1326080"/>
                </a:lnTo>
                <a:lnTo>
                  <a:pt x="0" y="1326080"/>
                </a:lnTo>
                <a:lnTo>
                  <a:pt x="0" y="511644"/>
                </a:lnTo>
                <a:close/>
              </a:path>
            </a:pathLst>
          </a:cu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spcBef>
                <a:spcPct val="0"/>
              </a:spcBef>
              <a:spcAft>
                <a:spcPct val="0"/>
              </a:spcAft>
            </a:pPr>
            <a:endParaRPr lang="en-US" sz="2448" kern="0" dirty="0" err="1">
              <a:solidFill>
                <a:srgbClr val="217346"/>
              </a:solidFill>
              <a:ea typeface="Segoe UI" pitchFamily="34" charset="0"/>
              <a:cs typeface="Segoe UI" pitchFamily="34" charset="0"/>
            </a:endParaRPr>
          </a:p>
        </p:txBody>
      </p:sp>
      <p:sp>
        <p:nvSpPr>
          <p:cNvPr id="149" name="Oval 950"/>
          <p:cNvSpPr>
            <a:spLocks noChangeAspect="1"/>
          </p:cNvSpPr>
          <p:nvPr/>
        </p:nvSpPr>
        <p:spPr>
          <a:xfrm>
            <a:off x="1706046" y="5538172"/>
            <a:ext cx="839224" cy="839218"/>
          </a:xfrm>
          <a:prstGeom prst="ellipse">
            <a:avLst/>
          </a:prstGeom>
          <a:solidFill>
            <a:schemeClr val="bg1"/>
          </a:solidFill>
          <a:ln w="9525" cap="flat" cmpd="sng" algn="ctr">
            <a:solidFill>
              <a:schemeClr val="tx1"/>
            </a:solidFill>
            <a:prstDash val="solid"/>
          </a:ln>
          <a:effectLst/>
        </p:spPr>
        <p:txBody>
          <a:bodyPr vert="horz" wrap="none" lIns="0" tIns="46623" rIns="0" bIns="0" rtlCol="0" anchor="t"/>
          <a:lstStyle/>
          <a:p>
            <a:pPr algn="ctr" defTabSz="950846" fontAlgn="base">
              <a:spcBef>
                <a:spcPct val="0"/>
              </a:spcBef>
              <a:spcAft>
                <a:spcPct val="0"/>
              </a:spcAft>
            </a:pPr>
            <a:r>
              <a:rPr lang="en-US" sz="1224" kern="0" dirty="0">
                <a:solidFill>
                  <a:srgbClr val="000000"/>
                </a:solidFill>
                <a:ea typeface="Segoe UI" pitchFamily="34" charset="0"/>
                <a:cs typeface="Segoe UI" pitchFamily="34" charset="0"/>
              </a:rPr>
              <a:t>Prepare</a:t>
            </a:r>
          </a:p>
        </p:txBody>
      </p:sp>
      <p:sp>
        <p:nvSpPr>
          <p:cNvPr id="150" name="Oval 957"/>
          <p:cNvSpPr>
            <a:spLocks noChangeAspect="1"/>
          </p:cNvSpPr>
          <p:nvPr/>
        </p:nvSpPr>
        <p:spPr>
          <a:xfrm>
            <a:off x="2907091" y="5538170"/>
            <a:ext cx="839224" cy="839222"/>
          </a:xfrm>
          <a:prstGeom prst="ellipse">
            <a:avLst/>
          </a:prstGeom>
          <a:solidFill>
            <a:schemeClr val="bg1"/>
          </a:solidFill>
          <a:ln w="9525" cap="flat" cmpd="sng" algn="ctr">
            <a:solidFill>
              <a:schemeClr val="tx1"/>
            </a:solidFill>
            <a:prstDash val="solid"/>
          </a:ln>
          <a:effectLst/>
        </p:spPr>
        <p:txBody>
          <a:bodyPr vert="horz" wrap="none" lIns="0" tIns="46623" rIns="0" bIns="0" rtlCol="0" anchor="t"/>
          <a:lstStyle/>
          <a:p>
            <a:pPr algn="ctr" defTabSz="950846" fontAlgn="base">
              <a:spcBef>
                <a:spcPct val="0"/>
              </a:spcBef>
              <a:spcAft>
                <a:spcPct val="0"/>
              </a:spcAft>
            </a:pPr>
            <a:r>
              <a:rPr lang="en-US" sz="1224" kern="0" dirty="0">
                <a:solidFill>
                  <a:srgbClr val="000000"/>
                </a:solidFill>
                <a:ea typeface="Segoe UI" pitchFamily="34" charset="0"/>
                <a:cs typeface="Segoe UI" pitchFamily="34" charset="0"/>
              </a:rPr>
              <a:t>Explore</a:t>
            </a:r>
          </a:p>
        </p:txBody>
      </p:sp>
      <p:sp>
        <p:nvSpPr>
          <p:cNvPr id="151" name="Isosceles Triangle 48"/>
          <p:cNvSpPr/>
          <p:nvPr/>
        </p:nvSpPr>
        <p:spPr bwMode="auto">
          <a:xfrm rot="16200000" flipV="1">
            <a:off x="5017604" y="5876783"/>
            <a:ext cx="223190" cy="111596"/>
          </a:xfrm>
          <a:prstGeom prst="triangle">
            <a:avLst/>
          </a:prstGeom>
          <a:solidFill>
            <a:schemeClr val="tx1"/>
          </a:solidFill>
          <a:ln w="3175" cap="flat" cmpd="sng" algn="ctr">
            <a:solidFill>
              <a:srgbClr val="217346"/>
            </a:solidFill>
            <a:prstDash val="solid"/>
          </a:ln>
          <a:effectLst/>
        </p:spPr>
        <p:txBody>
          <a:bodyPr vert="vert" wrap="none" lIns="0" tIns="46623" rIns="0" bIns="0" rtlCol="0" anchor="t"/>
          <a:lstStyle/>
          <a:p>
            <a:pPr defTabSz="950846" fontAlgn="base">
              <a:spcBef>
                <a:spcPct val="0"/>
              </a:spcBef>
              <a:spcAft>
                <a:spcPct val="0"/>
              </a:spcAft>
            </a:pPr>
            <a:endParaRPr lang="en-IN" sz="1428" kern="0" dirty="0" err="1">
              <a:solidFill>
                <a:srgbClr val="31B42E"/>
              </a:solidFill>
              <a:ea typeface="Segoe UI" pitchFamily="34" charset="0"/>
              <a:cs typeface="Segoe UI" pitchFamily="34" charset="0"/>
            </a:endParaRPr>
          </a:p>
        </p:txBody>
      </p:sp>
      <p:sp>
        <p:nvSpPr>
          <p:cNvPr id="152" name="Oval 70"/>
          <p:cNvSpPr>
            <a:spLocks noChangeAspect="1"/>
          </p:cNvSpPr>
          <p:nvPr/>
        </p:nvSpPr>
        <p:spPr>
          <a:xfrm>
            <a:off x="5309180" y="5538170"/>
            <a:ext cx="839224" cy="839222"/>
          </a:xfrm>
          <a:prstGeom prst="ellipse">
            <a:avLst/>
          </a:prstGeom>
          <a:solidFill>
            <a:schemeClr val="bg1"/>
          </a:solidFill>
          <a:ln w="9525" cap="flat" cmpd="sng" algn="ctr">
            <a:solidFill>
              <a:schemeClr val="tx1"/>
            </a:solidFill>
            <a:prstDash val="solid"/>
          </a:ln>
          <a:effectLst/>
        </p:spPr>
        <p:txBody>
          <a:bodyPr vert="horz" wrap="none" lIns="0" tIns="46623" rIns="0" bIns="0" rtlCol="0" anchor="t"/>
          <a:lstStyle/>
          <a:p>
            <a:pPr algn="ctr" defTabSz="950846" fontAlgn="base">
              <a:spcBef>
                <a:spcPct val="0"/>
              </a:spcBef>
              <a:spcAft>
                <a:spcPct val="0"/>
              </a:spcAft>
            </a:pPr>
            <a:r>
              <a:rPr lang="en-US" sz="1224" kern="0" dirty="0">
                <a:solidFill>
                  <a:srgbClr val="000000"/>
                </a:solidFill>
                <a:ea typeface="Segoe UI" pitchFamily="34" charset="0"/>
                <a:cs typeface="Segoe UI" pitchFamily="34" charset="0"/>
              </a:rPr>
              <a:t>Share</a:t>
            </a:r>
          </a:p>
        </p:txBody>
      </p:sp>
      <p:sp>
        <p:nvSpPr>
          <p:cNvPr id="153" name="Oval 47"/>
          <p:cNvSpPr>
            <a:spLocks noChangeAspect="1"/>
          </p:cNvSpPr>
          <p:nvPr/>
        </p:nvSpPr>
        <p:spPr>
          <a:xfrm>
            <a:off x="4108136" y="5538170"/>
            <a:ext cx="839224" cy="839222"/>
          </a:xfrm>
          <a:prstGeom prst="ellipse">
            <a:avLst/>
          </a:prstGeom>
          <a:solidFill>
            <a:schemeClr val="bg1"/>
          </a:solidFill>
          <a:ln w="9525" cap="flat" cmpd="sng" algn="ctr">
            <a:solidFill>
              <a:schemeClr val="tx1"/>
            </a:solidFill>
            <a:prstDash val="solid"/>
          </a:ln>
          <a:effectLst/>
        </p:spPr>
        <p:txBody>
          <a:bodyPr vert="horz" wrap="none" lIns="0" tIns="46623" rIns="0" bIns="0" rtlCol="0" anchor="t"/>
          <a:lstStyle/>
          <a:p>
            <a:pPr algn="ctr" defTabSz="950846" fontAlgn="base">
              <a:spcBef>
                <a:spcPct val="0"/>
              </a:spcBef>
              <a:spcAft>
                <a:spcPct val="0"/>
              </a:spcAft>
            </a:pPr>
            <a:r>
              <a:rPr lang="en-US" sz="1224" kern="0" dirty="0">
                <a:solidFill>
                  <a:srgbClr val="000000"/>
                </a:solidFill>
                <a:ea typeface="Segoe UI" pitchFamily="34" charset="0"/>
                <a:cs typeface="Segoe UI" pitchFamily="34" charset="0"/>
              </a:rPr>
              <a:t>Report</a:t>
            </a:r>
          </a:p>
        </p:txBody>
      </p:sp>
      <p:sp>
        <p:nvSpPr>
          <p:cNvPr id="154" name="Isosceles Triangle 48"/>
          <p:cNvSpPr/>
          <p:nvPr/>
        </p:nvSpPr>
        <p:spPr bwMode="auto">
          <a:xfrm rot="16200000" flipV="1">
            <a:off x="3806374" y="5876774"/>
            <a:ext cx="223190" cy="111596"/>
          </a:xfrm>
          <a:prstGeom prst="triangle">
            <a:avLst/>
          </a:prstGeom>
          <a:solidFill>
            <a:schemeClr val="tx1"/>
          </a:solidFill>
          <a:ln w="3175" cap="flat" cmpd="sng" algn="ctr">
            <a:solidFill>
              <a:srgbClr val="217346"/>
            </a:solidFill>
            <a:prstDash val="solid"/>
          </a:ln>
          <a:effectLst/>
        </p:spPr>
        <p:txBody>
          <a:bodyPr vert="vert" wrap="none" lIns="0" tIns="46623" rIns="0" bIns="0" rtlCol="0" anchor="t"/>
          <a:lstStyle/>
          <a:p>
            <a:pPr defTabSz="950846" fontAlgn="base">
              <a:spcBef>
                <a:spcPct val="0"/>
              </a:spcBef>
              <a:spcAft>
                <a:spcPct val="0"/>
              </a:spcAft>
            </a:pPr>
            <a:endParaRPr lang="en-IN" sz="1428" kern="0" dirty="0" err="1">
              <a:solidFill>
                <a:srgbClr val="31B42E"/>
              </a:solidFill>
              <a:ea typeface="Segoe UI" pitchFamily="34" charset="0"/>
              <a:cs typeface="Segoe UI" pitchFamily="34" charset="0"/>
            </a:endParaRPr>
          </a:p>
        </p:txBody>
      </p:sp>
      <p:sp>
        <p:nvSpPr>
          <p:cNvPr id="155" name="Isosceles Triangle 48"/>
          <p:cNvSpPr/>
          <p:nvPr/>
        </p:nvSpPr>
        <p:spPr bwMode="auto">
          <a:xfrm rot="16200000" flipV="1">
            <a:off x="2598792" y="5876782"/>
            <a:ext cx="223190" cy="111596"/>
          </a:xfrm>
          <a:prstGeom prst="triangle">
            <a:avLst/>
          </a:prstGeom>
          <a:solidFill>
            <a:schemeClr val="tx1"/>
          </a:solidFill>
          <a:ln w="3175" cap="flat" cmpd="sng" algn="ctr">
            <a:solidFill>
              <a:srgbClr val="217346"/>
            </a:solidFill>
            <a:prstDash val="solid"/>
          </a:ln>
          <a:effectLst/>
        </p:spPr>
        <p:txBody>
          <a:bodyPr vert="vert" wrap="none" lIns="0" tIns="46623" rIns="0" bIns="0" rtlCol="0" anchor="t"/>
          <a:lstStyle/>
          <a:p>
            <a:pPr defTabSz="950846" fontAlgn="base">
              <a:spcBef>
                <a:spcPct val="0"/>
              </a:spcBef>
              <a:spcAft>
                <a:spcPct val="0"/>
              </a:spcAft>
            </a:pPr>
            <a:endParaRPr lang="en-IN" sz="1428" kern="0" dirty="0" err="1">
              <a:solidFill>
                <a:srgbClr val="31B42E"/>
              </a:solidFill>
              <a:ea typeface="Segoe UI" pitchFamily="34" charset="0"/>
              <a:cs typeface="Segoe UI" pitchFamily="34" charset="0"/>
            </a:endParaRPr>
          </a:p>
        </p:txBody>
      </p:sp>
      <p:sp>
        <p:nvSpPr>
          <p:cNvPr id="156" name="Freeform 155"/>
          <p:cNvSpPr>
            <a:spLocks noChangeAspect="1" noEditPoints="1"/>
          </p:cNvSpPr>
          <p:nvPr/>
        </p:nvSpPr>
        <p:spPr bwMode="black">
          <a:xfrm>
            <a:off x="1918172" y="5931079"/>
            <a:ext cx="372988" cy="302431"/>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121"/>
            <a:endParaRPr lang="en-US" sz="1377" dirty="0">
              <a:solidFill>
                <a:srgbClr val="217346"/>
              </a:solidFill>
            </a:endParaRPr>
          </a:p>
        </p:txBody>
      </p:sp>
      <p:sp>
        <p:nvSpPr>
          <p:cNvPr id="157" name="Donut 3"/>
          <p:cNvSpPr>
            <a:spLocks noChangeAspect="1"/>
          </p:cNvSpPr>
          <p:nvPr/>
        </p:nvSpPr>
        <p:spPr bwMode="auto">
          <a:xfrm>
            <a:off x="3159559" y="5954218"/>
            <a:ext cx="279741" cy="25615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endParaRPr lang="en-US" sz="1428" kern="0" dirty="0" err="1">
              <a:solidFill>
                <a:srgbClr val="FFFFFF"/>
              </a:solidFill>
            </a:endParaRPr>
          </a:p>
        </p:txBody>
      </p:sp>
      <p:sp>
        <p:nvSpPr>
          <p:cNvPr id="158" name="Freeform 157"/>
          <p:cNvSpPr>
            <a:spLocks noChangeAspect="1"/>
          </p:cNvSpPr>
          <p:nvPr/>
        </p:nvSpPr>
        <p:spPr bwMode="black">
          <a:xfrm>
            <a:off x="4416047" y="5945340"/>
            <a:ext cx="279741" cy="273913"/>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1836" dirty="0">
              <a:gradFill>
                <a:gsLst>
                  <a:gs pos="0">
                    <a:srgbClr val="FFFFFF"/>
                  </a:gs>
                  <a:gs pos="100000">
                    <a:srgbClr val="FFFFFF"/>
                  </a:gs>
                </a:gsLst>
                <a:lin ang="5400000" scaled="0"/>
              </a:gradFill>
              <a:ea typeface="Segoe UI" pitchFamily="34" charset="0"/>
              <a:cs typeface="Segoe UI" pitchFamily="34" charset="0"/>
            </a:endParaRPr>
          </a:p>
        </p:txBody>
      </p:sp>
      <p:sp>
        <p:nvSpPr>
          <p:cNvPr id="159" name="Freeform 158"/>
          <p:cNvSpPr>
            <a:spLocks noChangeAspect="1"/>
          </p:cNvSpPr>
          <p:nvPr/>
        </p:nvSpPr>
        <p:spPr bwMode="black">
          <a:xfrm>
            <a:off x="5568770" y="5937402"/>
            <a:ext cx="279741" cy="289789"/>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121"/>
            <a:endParaRPr lang="en-US" sz="1377" dirty="0">
              <a:solidFill>
                <a:srgbClr val="000000"/>
              </a:solidFill>
            </a:endParaRPr>
          </a:p>
        </p:txBody>
      </p:sp>
      <p:grpSp>
        <p:nvGrpSpPr>
          <p:cNvPr id="160" name="Group 159"/>
          <p:cNvGrpSpPr/>
          <p:nvPr/>
        </p:nvGrpSpPr>
        <p:grpSpPr>
          <a:xfrm>
            <a:off x="7259923" y="2566666"/>
            <a:ext cx="501519" cy="3622380"/>
            <a:chOff x="10461581" y="2911465"/>
            <a:chExt cx="491800" cy="3552179"/>
          </a:xfrm>
        </p:grpSpPr>
        <p:sp>
          <p:nvSpPr>
            <p:cNvPr id="161" name="Oval 160"/>
            <p:cNvSpPr/>
            <p:nvPr/>
          </p:nvSpPr>
          <p:spPr bwMode="auto">
            <a:xfrm rot="16200000" flipH="1" flipV="1">
              <a:off x="10503133" y="5505840"/>
              <a:ext cx="412039" cy="41203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62" name="Group 161"/>
            <p:cNvGrpSpPr/>
            <p:nvPr/>
          </p:nvGrpSpPr>
          <p:grpSpPr>
            <a:xfrm rot="16200000">
              <a:off x="9057681" y="4404579"/>
              <a:ext cx="3313625" cy="327397"/>
              <a:chOff x="8231746" y="5958982"/>
              <a:chExt cx="3313625" cy="327397"/>
            </a:xfrm>
          </p:grpSpPr>
          <p:sp>
            <p:nvSpPr>
              <p:cNvPr id="185" name="TextBox 184"/>
              <p:cNvSpPr txBox="1"/>
              <p:nvPr/>
            </p:nvSpPr>
            <p:spPr>
              <a:xfrm>
                <a:off x="8283352" y="5958982"/>
                <a:ext cx="3262019" cy="169558"/>
              </a:xfrm>
              <a:prstGeom prst="rect">
                <a:avLst/>
              </a:prstGeom>
              <a:noFill/>
            </p:spPr>
            <p:txBody>
              <a:bodyPr wrap="square" lIns="186494" tIns="0" rIns="186494"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algn="l" defTabSz="932418">
                  <a:spcAft>
                    <a:spcPts val="612"/>
                  </a:spcAft>
                </a:pPr>
                <a:r>
                  <a:rPr lang="en-US" sz="1224" kern="0" dirty="0">
                    <a:gradFill flip="none" rotWithShape="1">
                      <a:gsLst>
                        <a:gs pos="0">
                          <a:srgbClr val="D2D2D2"/>
                        </a:gs>
                        <a:gs pos="74000">
                          <a:srgbClr val="000000">
                            <a:lumMod val="50000"/>
                            <a:lumOff val="50000"/>
                          </a:srgbClr>
                        </a:gs>
                        <a:gs pos="100000">
                          <a:srgbClr val="505050"/>
                        </a:gs>
                      </a:gsLst>
                      <a:lin ang="10800000" scaled="1"/>
                      <a:tileRect/>
                    </a:gradFill>
                  </a:rPr>
                  <a:t>0110001</a:t>
                </a:r>
              </a:p>
            </p:txBody>
          </p:sp>
          <p:sp>
            <p:nvSpPr>
              <p:cNvPr id="186" name="TextBox 185"/>
              <p:cNvSpPr txBox="1"/>
              <p:nvPr/>
            </p:nvSpPr>
            <p:spPr>
              <a:xfrm>
                <a:off x="8231746" y="6116821"/>
                <a:ext cx="3262019" cy="169558"/>
              </a:xfrm>
              <a:prstGeom prst="rect">
                <a:avLst/>
              </a:prstGeom>
              <a:noFill/>
            </p:spPr>
            <p:txBody>
              <a:bodyPr wrap="square" lIns="186494" tIns="0" rIns="186494"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algn="l" defTabSz="932418">
                  <a:spcAft>
                    <a:spcPts val="612"/>
                  </a:spcAft>
                </a:pPr>
                <a:r>
                  <a:rPr lang="en-US" sz="1224" kern="0" dirty="0">
                    <a:gradFill flip="none" rotWithShape="1">
                      <a:gsLst>
                        <a:gs pos="0">
                          <a:srgbClr val="D2D2D2"/>
                        </a:gs>
                        <a:gs pos="74000">
                          <a:srgbClr val="000000">
                            <a:lumMod val="50000"/>
                            <a:lumOff val="50000"/>
                          </a:srgbClr>
                        </a:gs>
                        <a:gs pos="100000">
                          <a:srgbClr val="505050"/>
                        </a:gs>
                      </a:gsLst>
                      <a:lin ang="10800000" scaled="1"/>
                      <a:tileRect/>
                    </a:gradFill>
                  </a:rPr>
                  <a:t>00010110</a:t>
                </a:r>
              </a:p>
            </p:txBody>
          </p:sp>
        </p:grpSp>
        <p:grpSp>
          <p:nvGrpSpPr>
            <p:cNvPr id="163" name="Group 162"/>
            <p:cNvGrpSpPr/>
            <p:nvPr/>
          </p:nvGrpSpPr>
          <p:grpSpPr>
            <a:xfrm>
              <a:off x="10461581" y="5900047"/>
              <a:ext cx="491800" cy="563597"/>
              <a:chOff x="4076702" y="-2333624"/>
              <a:chExt cx="1446213" cy="1657349"/>
            </a:xfrm>
            <a:solidFill>
              <a:schemeClr val="tx2"/>
            </a:solidFill>
          </p:grpSpPr>
          <p:grpSp>
            <p:nvGrpSpPr>
              <p:cNvPr id="165" name="Group 4"/>
              <p:cNvGrpSpPr>
                <a:grpSpLocks noChangeAspect="1"/>
              </p:cNvGrpSpPr>
              <p:nvPr/>
            </p:nvGrpSpPr>
            <p:grpSpPr bwMode="auto">
              <a:xfrm>
                <a:off x="4076702" y="-2333624"/>
                <a:ext cx="1446213" cy="1657349"/>
                <a:chOff x="2568" y="-1470"/>
                <a:chExt cx="911" cy="1044"/>
              </a:xfrm>
              <a:grpFill/>
            </p:grpSpPr>
            <p:sp>
              <p:nvSpPr>
                <p:cNvPr id="176" name="Freeform 5"/>
                <p:cNvSpPr>
                  <a:spLocks/>
                </p:cNvSpPr>
                <p:nvPr/>
              </p:nvSpPr>
              <p:spPr bwMode="auto">
                <a:xfrm>
                  <a:off x="2568" y="-1330"/>
                  <a:ext cx="907" cy="904"/>
                </a:xfrm>
                <a:custGeom>
                  <a:avLst/>
                  <a:gdLst>
                    <a:gd name="T0" fmla="*/ 354 w 381"/>
                    <a:gd name="T1" fmla="*/ 102 h 380"/>
                    <a:gd name="T2" fmla="*/ 182 w 381"/>
                    <a:gd name="T3" fmla="*/ 3 h 380"/>
                    <a:gd name="T4" fmla="*/ 4 w 381"/>
                    <a:gd name="T5" fmla="*/ 196 h 380"/>
                    <a:gd name="T6" fmla="*/ 27 w 381"/>
                    <a:gd name="T7" fmla="*/ 278 h 380"/>
                    <a:gd name="T8" fmla="*/ 199 w 381"/>
                    <a:gd name="T9" fmla="*/ 377 h 380"/>
                    <a:gd name="T10" fmla="*/ 377 w 381"/>
                    <a:gd name="T11" fmla="*/ 184 h 380"/>
                    <a:gd name="T12" fmla="*/ 354 w 381"/>
                    <a:gd name="T13" fmla="*/ 102 h 380"/>
                  </a:gdLst>
                  <a:ahLst/>
                  <a:cxnLst>
                    <a:cxn ang="0">
                      <a:pos x="T0" y="T1"/>
                    </a:cxn>
                    <a:cxn ang="0">
                      <a:pos x="T2" y="T3"/>
                    </a:cxn>
                    <a:cxn ang="0">
                      <a:pos x="T4" y="T5"/>
                    </a:cxn>
                    <a:cxn ang="0">
                      <a:pos x="T6" y="T7"/>
                    </a:cxn>
                    <a:cxn ang="0">
                      <a:pos x="T8" y="T9"/>
                    </a:cxn>
                    <a:cxn ang="0">
                      <a:pos x="T10" y="T11"/>
                    </a:cxn>
                    <a:cxn ang="0">
                      <a:pos x="T12" y="T13"/>
                    </a:cxn>
                  </a:cxnLst>
                  <a:rect l="0" t="0" r="r" b="b"/>
                  <a:pathLst>
                    <a:path w="381" h="380">
                      <a:moveTo>
                        <a:pt x="354" y="102"/>
                      </a:moveTo>
                      <a:cubicBezTo>
                        <a:pt x="322" y="41"/>
                        <a:pt x="256" y="0"/>
                        <a:pt x="182" y="3"/>
                      </a:cubicBezTo>
                      <a:cubicBezTo>
                        <a:pt x="80" y="8"/>
                        <a:pt x="0" y="94"/>
                        <a:pt x="4" y="196"/>
                      </a:cubicBezTo>
                      <a:cubicBezTo>
                        <a:pt x="5" y="226"/>
                        <a:pt x="14" y="254"/>
                        <a:pt x="27" y="278"/>
                      </a:cubicBezTo>
                      <a:cubicBezTo>
                        <a:pt x="59" y="339"/>
                        <a:pt x="125" y="380"/>
                        <a:pt x="199" y="377"/>
                      </a:cubicBezTo>
                      <a:cubicBezTo>
                        <a:pt x="301" y="373"/>
                        <a:pt x="381" y="287"/>
                        <a:pt x="377" y="184"/>
                      </a:cubicBezTo>
                      <a:cubicBezTo>
                        <a:pt x="375" y="154"/>
                        <a:pt x="367" y="127"/>
                        <a:pt x="354" y="102"/>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kern="0">
                    <a:solidFill>
                      <a:srgbClr val="000000"/>
                    </a:solidFill>
                  </a:endParaRPr>
                </a:p>
              </p:txBody>
            </p:sp>
            <p:sp>
              <p:nvSpPr>
                <p:cNvPr id="177" name="Oval 7"/>
                <p:cNvSpPr>
                  <a:spLocks noChangeArrowheads="1"/>
                </p:cNvSpPr>
                <p:nvPr/>
              </p:nvSpPr>
              <p:spPr bwMode="auto">
                <a:xfrm>
                  <a:off x="2960" y="-906"/>
                  <a:ext cx="115" cy="1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kern="0">
                    <a:solidFill>
                      <a:srgbClr val="000000"/>
                    </a:solidFill>
                  </a:endParaRPr>
                </a:p>
              </p:txBody>
            </p:sp>
            <p:sp>
              <p:nvSpPr>
                <p:cNvPr id="178" name="Oval 8"/>
                <p:cNvSpPr>
                  <a:spLocks noChangeArrowheads="1"/>
                </p:cNvSpPr>
                <p:nvPr/>
              </p:nvSpPr>
              <p:spPr bwMode="auto">
                <a:xfrm>
                  <a:off x="2987" y="-887"/>
                  <a:ext cx="69" cy="7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kern="0">
                    <a:solidFill>
                      <a:srgbClr val="000000"/>
                    </a:solidFill>
                  </a:endParaRPr>
                </a:p>
              </p:txBody>
            </p:sp>
            <p:sp>
              <p:nvSpPr>
                <p:cNvPr id="179" name="Freeform 9"/>
                <p:cNvSpPr>
                  <a:spLocks/>
                </p:cNvSpPr>
                <p:nvPr/>
              </p:nvSpPr>
              <p:spPr bwMode="auto">
                <a:xfrm>
                  <a:off x="2896" y="-1380"/>
                  <a:ext cx="243" cy="126"/>
                </a:xfrm>
                <a:custGeom>
                  <a:avLst/>
                  <a:gdLst>
                    <a:gd name="T0" fmla="*/ 102 w 102"/>
                    <a:gd name="T1" fmla="*/ 35 h 53"/>
                    <a:gd name="T2" fmla="*/ 83 w 102"/>
                    <a:gd name="T3" fmla="*/ 53 h 53"/>
                    <a:gd name="T4" fmla="*/ 19 w 102"/>
                    <a:gd name="T5" fmla="*/ 53 h 53"/>
                    <a:gd name="T6" fmla="*/ 0 w 102"/>
                    <a:gd name="T7" fmla="*/ 35 h 53"/>
                    <a:gd name="T8" fmla="*/ 0 w 102"/>
                    <a:gd name="T9" fmla="*/ 19 h 53"/>
                    <a:gd name="T10" fmla="*/ 19 w 102"/>
                    <a:gd name="T11" fmla="*/ 0 h 53"/>
                    <a:gd name="T12" fmla="*/ 83 w 102"/>
                    <a:gd name="T13" fmla="*/ 0 h 53"/>
                    <a:gd name="T14" fmla="*/ 102 w 102"/>
                    <a:gd name="T15" fmla="*/ 19 h 53"/>
                    <a:gd name="T16" fmla="*/ 102 w 102"/>
                    <a:gd name="T17" fmla="*/ 3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53">
                      <a:moveTo>
                        <a:pt x="102" y="35"/>
                      </a:moveTo>
                      <a:cubicBezTo>
                        <a:pt x="102" y="45"/>
                        <a:pt x="93" y="53"/>
                        <a:pt x="83" y="53"/>
                      </a:cubicBezTo>
                      <a:cubicBezTo>
                        <a:pt x="19" y="53"/>
                        <a:pt x="19" y="53"/>
                        <a:pt x="19" y="53"/>
                      </a:cubicBezTo>
                      <a:cubicBezTo>
                        <a:pt x="8" y="53"/>
                        <a:pt x="0" y="45"/>
                        <a:pt x="0" y="35"/>
                      </a:cubicBezTo>
                      <a:cubicBezTo>
                        <a:pt x="0" y="19"/>
                        <a:pt x="0" y="19"/>
                        <a:pt x="0" y="19"/>
                      </a:cubicBezTo>
                      <a:cubicBezTo>
                        <a:pt x="0" y="8"/>
                        <a:pt x="8" y="0"/>
                        <a:pt x="19" y="0"/>
                      </a:cubicBezTo>
                      <a:cubicBezTo>
                        <a:pt x="83" y="0"/>
                        <a:pt x="83" y="0"/>
                        <a:pt x="83" y="0"/>
                      </a:cubicBezTo>
                      <a:cubicBezTo>
                        <a:pt x="93" y="0"/>
                        <a:pt x="102" y="8"/>
                        <a:pt x="102" y="19"/>
                      </a:cubicBezTo>
                      <a:lnTo>
                        <a:pt x="102" y="35"/>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kern="0">
                    <a:solidFill>
                      <a:srgbClr val="000000"/>
                    </a:solidFill>
                  </a:endParaRPr>
                </a:p>
              </p:txBody>
            </p:sp>
            <p:sp>
              <p:nvSpPr>
                <p:cNvPr id="180" name="Oval 10"/>
                <p:cNvSpPr>
                  <a:spLocks noChangeArrowheads="1"/>
                </p:cNvSpPr>
                <p:nvPr/>
              </p:nvSpPr>
              <p:spPr bwMode="auto">
                <a:xfrm>
                  <a:off x="2991" y="-873"/>
                  <a:ext cx="53" cy="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kern="0">
                    <a:solidFill>
                      <a:srgbClr val="000000"/>
                    </a:solidFill>
                  </a:endParaRPr>
                </a:p>
              </p:txBody>
            </p:sp>
            <p:sp>
              <p:nvSpPr>
                <p:cNvPr id="181" name="Freeform 11"/>
                <p:cNvSpPr>
                  <a:spLocks/>
                </p:cNvSpPr>
                <p:nvPr/>
              </p:nvSpPr>
              <p:spPr bwMode="auto">
                <a:xfrm>
                  <a:off x="3353" y="-1263"/>
                  <a:ext cx="126" cy="143"/>
                </a:xfrm>
                <a:custGeom>
                  <a:avLst/>
                  <a:gdLst>
                    <a:gd name="T0" fmla="*/ 47 w 53"/>
                    <a:gd name="T1" fmla="*/ 56 h 60"/>
                    <a:gd name="T2" fmla="*/ 29 w 53"/>
                    <a:gd name="T3" fmla="*/ 54 h 60"/>
                    <a:gd name="T4" fmla="*/ 4 w 53"/>
                    <a:gd name="T5" fmla="*/ 22 h 60"/>
                    <a:gd name="T6" fmla="*/ 6 w 53"/>
                    <a:gd name="T7" fmla="*/ 4 h 60"/>
                    <a:gd name="T8" fmla="*/ 6 w 53"/>
                    <a:gd name="T9" fmla="*/ 4 h 60"/>
                    <a:gd name="T10" fmla="*/ 24 w 53"/>
                    <a:gd name="T11" fmla="*/ 6 h 60"/>
                    <a:gd name="T12" fmla="*/ 49 w 53"/>
                    <a:gd name="T13" fmla="*/ 38 h 60"/>
                    <a:gd name="T14" fmla="*/ 47 w 53"/>
                    <a:gd name="T15" fmla="*/ 56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60">
                      <a:moveTo>
                        <a:pt x="47" y="56"/>
                      </a:moveTo>
                      <a:cubicBezTo>
                        <a:pt x="41" y="60"/>
                        <a:pt x="33" y="59"/>
                        <a:pt x="29" y="54"/>
                      </a:cubicBezTo>
                      <a:cubicBezTo>
                        <a:pt x="4" y="22"/>
                        <a:pt x="4" y="22"/>
                        <a:pt x="4" y="22"/>
                      </a:cubicBezTo>
                      <a:cubicBezTo>
                        <a:pt x="0" y="16"/>
                        <a:pt x="1" y="8"/>
                        <a:pt x="6" y="4"/>
                      </a:cubicBezTo>
                      <a:cubicBezTo>
                        <a:pt x="6" y="4"/>
                        <a:pt x="6" y="4"/>
                        <a:pt x="6" y="4"/>
                      </a:cubicBezTo>
                      <a:cubicBezTo>
                        <a:pt x="12" y="0"/>
                        <a:pt x="20" y="1"/>
                        <a:pt x="24" y="6"/>
                      </a:cubicBezTo>
                      <a:cubicBezTo>
                        <a:pt x="49" y="38"/>
                        <a:pt x="49" y="38"/>
                        <a:pt x="49" y="38"/>
                      </a:cubicBezTo>
                      <a:cubicBezTo>
                        <a:pt x="53" y="44"/>
                        <a:pt x="52" y="51"/>
                        <a:pt x="47" y="56"/>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kern="0">
                    <a:solidFill>
                      <a:srgbClr val="000000"/>
                    </a:solidFill>
                  </a:endParaRPr>
                </a:p>
              </p:txBody>
            </p:sp>
            <p:sp>
              <p:nvSpPr>
                <p:cNvPr id="182" name="Freeform 12"/>
                <p:cNvSpPr>
                  <a:spLocks/>
                </p:cNvSpPr>
                <p:nvPr/>
              </p:nvSpPr>
              <p:spPr bwMode="auto">
                <a:xfrm>
                  <a:off x="3298" y="-1206"/>
                  <a:ext cx="129" cy="112"/>
                </a:xfrm>
                <a:custGeom>
                  <a:avLst/>
                  <a:gdLst>
                    <a:gd name="T0" fmla="*/ 15 w 54"/>
                    <a:gd name="T1" fmla="*/ 44 h 47"/>
                    <a:gd name="T2" fmla="*/ 3 w 54"/>
                    <a:gd name="T3" fmla="*/ 43 h 47"/>
                    <a:gd name="T4" fmla="*/ 3 w 54"/>
                    <a:gd name="T5" fmla="*/ 43 h 47"/>
                    <a:gd name="T6" fmla="*/ 4 w 54"/>
                    <a:gd name="T7" fmla="*/ 31 h 47"/>
                    <a:gd name="T8" fmla="*/ 39 w 54"/>
                    <a:gd name="T9" fmla="*/ 3 h 47"/>
                    <a:gd name="T10" fmla="*/ 51 w 54"/>
                    <a:gd name="T11" fmla="*/ 5 h 47"/>
                    <a:gd name="T12" fmla="*/ 51 w 54"/>
                    <a:gd name="T13" fmla="*/ 5 h 47"/>
                    <a:gd name="T14" fmla="*/ 50 w 54"/>
                    <a:gd name="T15" fmla="*/ 17 h 47"/>
                    <a:gd name="T16" fmla="*/ 15 w 54"/>
                    <a:gd name="T17" fmla="*/ 4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47">
                      <a:moveTo>
                        <a:pt x="15" y="44"/>
                      </a:moveTo>
                      <a:cubicBezTo>
                        <a:pt x="11" y="47"/>
                        <a:pt x="6" y="47"/>
                        <a:pt x="3" y="43"/>
                      </a:cubicBezTo>
                      <a:cubicBezTo>
                        <a:pt x="3" y="43"/>
                        <a:pt x="3" y="43"/>
                        <a:pt x="3" y="43"/>
                      </a:cubicBezTo>
                      <a:cubicBezTo>
                        <a:pt x="0" y="39"/>
                        <a:pt x="0" y="34"/>
                        <a:pt x="4" y="31"/>
                      </a:cubicBezTo>
                      <a:cubicBezTo>
                        <a:pt x="39" y="3"/>
                        <a:pt x="39" y="3"/>
                        <a:pt x="39" y="3"/>
                      </a:cubicBezTo>
                      <a:cubicBezTo>
                        <a:pt x="43" y="0"/>
                        <a:pt x="48" y="1"/>
                        <a:pt x="51" y="5"/>
                      </a:cubicBezTo>
                      <a:cubicBezTo>
                        <a:pt x="51" y="5"/>
                        <a:pt x="51" y="5"/>
                        <a:pt x="51" y="5"/>
                      </a:cubicBezTo>
                      <a:cubicBezTo>
                        <a:pt x="54" y="8"/>
                        <a:pt x="54" y="14"/>
                        <a:pt x="50" y="17"/>
                      </a:cubicBezTo>
                      <a:lnTo>
                        <a:pt x="15" y="44"/>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kern="0">
                    <a:solidFill>
                      <a:srgbClr val="000000"/>
                    </a:solidFill>
                  </a:endParaRPr>
                </a:p>
              </p:txBody>
            </p:sp>
            <p:sp>
              <p:nvSpPr>
                <p:cNvPr id="183" name="Freeform 13"/>
                <p:cNvSpPr>
                  <a:spLocks/>
                </p:cNvSpPr>
                <p:nvPr/>
              </p:nvSpPr>
              <p:spPr bwMode="auto">
                <a:xfrm>
                  <a:off x="2925" y="-1470"/>
                  <a:ext cx="183" cy="59"/>
                </a:xfrm>
                <a:custGeom>
                  <a:avLst/>
                  <a:gdLst>
                    <a:gd name="T0" fmla="*/ 77 w 77"/>
                    <a:gd name="T1" fmla="*/ 13 h 25"/>
                    <a:gd name="T2" fmla="*/ 64 w 77"/>
                    <a:gd name="T3" fmla="*/ 25 h 25"/>
                    <a:gd name="T4" fmla="*/ 12 w 77"/>
                    <a:gd name="T5" fmla="*/ 25 h 25"/>
                    <a:gd name="T6" fmla="*/ 0 w 77"/>
                    <a:gd name="T7" fmla="*/ 13 h 25"/>
                    <a:gd name="T8" fmla="*/ 0 w 77"/>
                    <a:gd name="T9" fmla="*/ 13 h 25"/>
                    <a:gd name="T10" fmla="*/ 12 w 77"/>
                    <a:gd name="T11" fmla="*/ 0 h 25"/>
                    <a:gd name="T12" fmla="*/ 64 w 77"/>
                    <a:gd name="T13" fmla="*/ 0 h 25"/>
                    <a:gd name="T14" fmla="*/ 77 w 77"/>
                    <a:gd name="T15" fmla="*/ 13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5">
                      <a:moveTo>
                        <a:pt x="77" y="13"/>
                      </a:moveTo>
                      <a:cubicBezTo>
                        <a:pt x="77" y="20"/>
                        <a:pt x="71" y="25"/>
                        <a:pt x="64" y="25"/>
                      </a:cubicBezTo>
                      <a:cubicBezTo>
                        <a:pt x="12" y="25"/>
                        <a:pt x="12" y="25"/>
                        <a:pt x="12" y="25"/>
                      </a:cubicBezTo>
                      <a:cubicBezTo>
                        <a:pt x="5" y="25"/>
                        <a:pt x="0" y="20"/>
                        <a:pt x="0" y="13"/>
                      </a:cubicBezTo>
                      <a:cubicBezTo>
                        <a:pt x="0" y="13"/>
                        <a:pt x="0" y="13"/>
                        <a:pt x="0" y="13"/>
                      </a:cubicBezTo>
                      <a:cubicBezTo>
                        <a:pt x="0" y="6"/>
                        <a:pt x="5" y="0"/>
                        <a:pt x="12" y="0"/>
                      </a:cubicBezTo>
                      <a:cubicBezTo>
                        <a:pt x="64" y="0"/>
                        <a:pt x="64" y="0"/>
                        <a:pt x="64" y="0"/>
                      </a:cubicBezTo>
                      <a:cubicBezTo>
                        <a:pt x="71" y="0"/>
                        <a:pt x="77" y="6"/>
                        <a:pt x="77" y="13"/>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kern="0">
                    <a:solidFill>
                      <a:srgbClr val="000000"/>
                    </a:solidFill>
                  </a:endParaRPr>
                </a:p>
              </p:txBody>
            </p:sp>
            <p:sp>
              <p:nvSpPr>
                <p:cNvPr id="184" name="Rectangle 14"/>
                <p:cNvSpPr>
                  <a:spLocks noChangeArrowheads="1"/>
                </p:cNvSpPr>
                <p:nvPr/>
              </p:nvSpPr>
              <p:spPr bwMode="auto">
                <a:xfrm>
                  <a:off x="2965" y="-1422"/>
                  <a:ext cx="105" cy="54"/>
                </a:xfrm>
                <a:prstGeom prst="rect">
                  <a:avLst/>
                </a:prstGeom>
                <a:solidFill>
                  <a:srgbClr val="9191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kern="0">
                    <a:solidFill>
                      <a:srgbClr val="000000"/>
                    </a:solidFill>
                  </a:endParaRPr>
                </a:p>
              </p:txBody>
            </p:sp>
          </p:grpSp>
          <p:grpSp>
            <p:nvGrpSpPr>
              <p:cNvPr id="171" name="Group 170"/>
              <p:cNvGrpSpPr/>
              <p:nvPr/>
            </p:nvGrpSpPr>
            <p:grpSpPr>
              <a:xfrm rot="5400000">
                <a:off x="4266802" y="-1927225"/>
                <a:ext cx="1066800" cy="1066800"/>
                <a:chOff x="4236244" y="-1957783"/>
                <a:chExt cx="1066800" cy="1066800"/>
              </a:xfrm>
              <a:grpFill/>
            </p:grpSpPr>
            <p:sp>
              <p:nvSpPr>
                <p:cNvPr id="174" name="Oval 173"/>
                <p:cNvSpPr/>
                <p:nvPr/>
              </p:nvSpPr>
              <p:spPr>
                <a:xfrm>
                  <a:off x="4236244" y="-1957783"/>
                  <a:ext cx="1066800" cy="10668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endParaRPr lang="en-US" sz="1836" kern="0">
                    <a:solidFill>
                      <a:srgbClr val="FFFFFF"/>
                    </a:solidFill>
                  </a:endParaRPr>
                </a:p>
              </p:txBody>
            </p:sp>
            <p:sp>
              <p:nvSpPr>
                <p:cNvPr id="175" name="Isosceles Triangle 174"/>
                <p:cNvSpPr/>
                <p:nvPr/>
              </p:nvSpPr>
              <p:spPr>
                <a:xfrm>
                  <a:off x="4718082" y="-1951436"/>
                  <a:ext cx="103123" cy="533401"/>
                </a:xfrm>
                <a:prstGeom prst="triangl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endParaRPr lang="en-US" sz="1836" kern="0">
                    <a:solidFill>
                      <a:srgbClr val="FFFFFF"/>
                    </a:solidFill>
                  </a:endParaRPr>
                </a:p>
              </p:txBody>
            </p:sp>
          </p:grpSp>
          <p:sp>
            <p:nvSpPr>
              <p:cNvPr id="172" name="Block Arc 171"/>
              <p:cNvSpPr/>
              <p:nvPr/>
            </p:nvSpPr>
            <p:spPr>
              <a:xfrm>
                <a:off x="4262569" y="-1931062"/>
                <a:ext cx="1073150" cy="1073148"/>
              </a:xfrm>
              <a:prstGeom prst="blockArc">
                <a:avLst>
                  <a:gd name="adj1" fmla="val 16240927"/>
                  <a:gd name="adj2" fmla="val 0"/>
                  <a:gd name="adj3" fmla="val 25000"/>
                </a:avLst>
              </a:prstGeom>
              <a:gradFill>
                <a:gsLst>
                  <a:gs pos="28000">
                    <a:schemeClr val="tx2">
                      <a:alpha val="0"/>
                    </a:schemeClr>
                  </a:gs>
                  <a:gs pos="100000">
                    <a:srgbClr val="91919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endParaRPr lang="en-US" sz="1836" kern="0">
                  <a:solidFill>
                    <a:srgbClr val="000000"/>
                  </a:solidFill>
                </a:endParaRPr>
              </a:p>
            </p:txBody>
          </p:sp>
          <p:sp>
            <p:nvSpPr>
              <p:cNvPr id="173" name="Oval 172"/>
              <p:cNvSpPr/>
              <p:nvPr/>
            </p:nvSpPr>
            <p:spPr>
              <a:xfrm>
                <a:off x="4709048" y="-1484981"/>
                <a:ext cx="182312" cy="182312"/>
              </a:xfrm>
              <a:prstGeom prst="ellips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endParaRPr lang="en-US" sz="1836" kern="0">
                  <a:solidFill>
                    <a:srgbClr val="FFFFFF"/>
                  </a:solidFill>
                </a:endParaRPr>
              </a:p>
            </p:txBody>
          </p:sp>
        </p:grpSp>
      </p:grpSp>
      <p:sp>
        <p:nvSpPr>
          <p:cNvPr id="189" name="Rectangle 188"/>
          <p:cNvSpPr/>
          <p:nvPr/>
        </p:nvSpPr>
        <p:spPr>
          <a:xfrm>
            <a:off x="768426" y="1171576"/>
            <a:ext cx="1725647" cy="414295"/>
          </a:xfrm>
          <a:prstGeom prst="rect">
            <a:avLst/>
          </a:prstGeom>
        </p:spPr>
        <p:txBody>
          <a:bodyPr wrap="square">
            <a:spAutoFit/>
          </a:bodyPr>
          <a:lstStyle/>
          <a:p>
            <a:pPr defTabSz="932384">
              <a:spcAft>
                <a:spcPts val="600"/>
              </a:spcAft>
            </a:pPr>
            <a:r>
              <a:rPr lang="en-US" sz="2040" kern="0" dirty="0">
                <a:solidFill>
                  <a:srgbClr val="000000"/>
                </a:solidFill>
              </a:rPr>
              <a:t>Data sources</a:t>
            </a:r>
          </a:p>
        </p:txBody>
      </p:sp>
      <p:cxnSp>
        <p:nvCxnSpPr>
          <p:cNvPr id="190" name="Straight Connector 189"/>
          <p:cNvCxnSpPr/>
          <p:nvPr/>
        </p:nvCxnSpPr>
        <p:spPr>
          <a:xfrm>
            <a:off x="1021322" y="2298358"/>
            <a:ext cx="192885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99" name="Rectangle 145"/>
          <p:cNvSpPr/>
          <p:nvPr/>
        </p:nvSpPr>
        <p:spPr bwMode="auto">
          <a:xfrm>
            <a:off x="1036694" y="1796610"/>
            <a:ext cx="2021700" cy="372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kern="0" dirty="0">
                <a:solidFill>
                  <a:srgbClr val="000000"/>
                </a:solidFill>
                <a:cs typeface="Segoe UI Light" panose="020B0502040204020203" pitchFamily="34" charset="0"/>
              </a:rPr>
              <a:t>SaaS solutions</a:t>
            </a:r>
          </a:p>
          <a:p>
            <a:pPr defTabSz="932384">
              <a:spcAft>
                <a:spcPts val="612"/>
              </a:spcAft>
            </a:pPr>
            <a:r>
              <a:rPr lang="en-US" sz="918" i="1" kern="0" dirty="0">
                <a:solidFill>
                  <a:srgbClr val="000000"/>
                </a:solidFill>
                <a:cs typeface="Segoe UI Light" panose="020B0502040204020203" pitchFamily="34" charset="0"/>
              </a:rPr>
              <a:t>e.g. Marketo, Salesforce, GitHub, Google analytics</a:t>
            </a:r>
          </a:p>
        </p:txBody>
      </p:sp>
      <p:sp>
        <p:nvSpPr>
          <p:cNvPr id="200" name="Oval 147"/>
          <p:cNvSpPr/>
          <p:nvPr/>
        </p:nvSpPr>
        <p:spPr bwMode="auto">
          <a:xfrm>
            <a:off x="658822" y="1862669"/>
            <a:ext cx="372988" cy="372988"/>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GB" sz="2448"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01" name="Group 332"/>
          <p:cNvGrpSpPr/>
          <p:nvPr/>
        </p:nvGrpSpPr>
        <p:grpSpPr>
          <a:xfrm>
            <a:off x="711893" y="1940097"/>
            <a:ext cx="266847" cy="218129"/>
            <a:chOff x="2123129" y="1797431"/>
            <a:chExt cx="2472585" cy="2021180"/>
          </a:xfrm>
        </p:grpSpPr>
        <p:sp>
          <p:nvSpPr>
            <p:cNvPr id="202" name="Freeform 13"/>
            <p:cNvSpPr>
              <a:spLocks/>
            </p:cNvSpPr>
            <p:nvPr/>
          </p:nvSpPr>
          <p:spPr bwMode="auto">
            <a:xfrm rot="20700000">
              <a:off x="3155851" y="2377161"/>
              <a:ext cx="1439863" cy="1441450"/>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3247" tIns="46623" rIns="93247" bIns="46623" numCol="1" anchor="t" anchorCtr="0" compatLnSpc="1">
              <a:prstTxWarp prst="textNoShape">
                <a:avLst/>
              </a:prstTxWarp>
            </a:bodyPr>
            <a:lstStyle/>
            <a:p>
              <a:pPr defTabSz="932418"/>
              <a:endParaRPr lang="en-US" sz="1836" kern="0">
                <a:solidFill>
                  <a:srgbClr val="000000"/>
                </a:solidFill>
              </a:endParaRPr>
            </a:p>
          </p:txBody>
        </p:sp>
        <p:sp>
          <p:nvSpPr>
            <p:cNvPr id="203"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3247" tIns="46623" rIns="93247" bIns="46623" numCol="1" anchor="t" anchorCtr="0" compatLnSpc="1">
              <a:prstTxWarp prst="textNoShape">
                <a:avLst/>
              </a:prstTxWarp>
            </a:bodyPr>
            <a:lstStyle/>
            <a:p>
              <a:pPr defTabSz="932418"/>
              <a:endParaRPr lang="en-US" sz="1836" kern="0">
                <a:solidFill>
                  <a:srgbClr val="000000"/>
                </a:solidFill>
              </a:endParaRPr>
            </a:p>
          </p:txBody>
        </p:sp>
      </p:grpSp>
      <p:cxnSp>
        <p:nvCxnSpPr>
          <p:cNvPr id="206" name="Straight Connector 205"/>
          <p:cNvCxnSpPr/>
          <p:nvPr/>
        </p:nvCxnSpPr>
        <p:spPr>
          <a:xfrm>
            <a:off x="1021322" y="2851182"/>
            <a:ext cx="192885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07" name="Rectangle 152"/>
          <p:cNvSpPr/>
          <p:nvPr/>
        </p:nvSpPr>
        <p:spPr bwMode="auto">
          <a:xfrm>
            <a:off x="1030935" y="2401802"/>
            <a:ext cx="2021700" cy="372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kern="0" dirty="0">
                <a:solidFill>
                  <a:srgbClr val="000000"/>
                </a:solidFill>
                <a:cs typeface="Segoe UI Light" panose="020B0502040204020203" pitchFamily="34" charset="0"/>
              </a:rPr>
              <a:t>On-premises data</a:t>
            </a:r>
          </a:p>
          <a:p>
            <a:pPr defTabSz="932384"/>
            <a:r>
              <a:rPr lang="en-US" sz="918" kern="0" dirty="0">
                <a:solidFill>
                  <a:srgbClr val="000000"/>
                </a:solidFill>
                <a:cs typeface="Segoe UI Light" panose="020B0502040204020203" pitchFamily="34" charset="0"/>
              </a:rPr>
              <a:t>e.g. Analysis Services</a:t>
            </a:r>
          </a:p>
        </p:txBody>
      </p:sp>
      <p:sp>
        <p:nvSpPr>
          <p:cNvPr id="208" name="Oval 154"/>
          <p:cNvSpPr/>
          <p:nvPr/>
        </p:nvSpPr>
        <p:spPr bwMode="auto">
          <a:xfrm>
            <a:off x="658822" y="2401802"/>
            <a:ext cx="372988" cy="372988"/>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GB"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9" name="Freeform 30"/>
          <p:cNvSpPr>
            <a:spLocks noEditPoints="1"/>
          </p:cNvSpPr>
          <p:nvPr/>
        </p:nvSpPr>
        <p:spPr bwMode="auto">
          <a:xfrm>
            <a:off x="742835" y="2497898"/>
            <a:ext cx="204961" cy="180794"/>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3247" tIns="46623" rIns="93247" bIns="46623" numCol="1" anchor="t" anchorCtr="0" compatLnSpc="1">
            <a:prstTxWarp prst="textNoShape">
              <a:avLst/>
            </a:prstTxWarp>
          </a:bodyPr>
          <a:lstStyle/>
          <a:p>
            <a:pPr defTabSz="932418"/>
            <a:endParaRPr lang="en-US" sz="1836" kern="0">
              <a:solidFill>
                <a:srgbClr val="000000"/>
              </a:solidFill>
            </a:endParaRPr>
          </a:p>
        </p:txBody>
      </p:sp>
      <p:cxnSp>
        <p:nvCxnSpPr>
          <p:cNvPr id="210" name="Straight Connector 209"/>
          <p:cNvCxnSpPr/>
          <p:nvPr/>
        </p:nvCxnSpPr>
        <p:spPr>
          <a:xfrm>
            <a:off x="1021322" y="3438349"/>
            <a:ext cx="192885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11" name="Rectangle 1074"/>
          <p:cNvSpPr/>
          <p:nvPr/>
        </p:nvSpPr>
        <p:spPr bwMode="auto">
          <a:xfrm>
            <a:off x="1030934" y="2954827"/>
            <a:ext cx="2192181" cy="372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kern="0" dirty="0">
                <a:solidFill>
                  <a:srgbClr val="000000"/>
                </a:solidFill>
                <a:cs typeface="Segoe UI Light" panose="020B0502040204020203" pitchFamily="34" charset="0"/>
              </a:rPr>
              <a:t>Organizational content packs</a:t>
            </a:r>
            <a:br>
              <a:rPr lang="en-US" sz="1224" kern="0" dirty="0">
                <a:solidFill>
                  <a:srgbClr val="000000"/>
                </a:solidFill>
                <a:cs typeface="Segoe UI Light" panose="020B0502040204020203" pitchFamily="34" charset="0"/>
              </a:rPr>
            </a:br>
            <a:r>
              <a:rPr lang="en-US" sz="918" i="1" kern="0" dirty="0">
                <a:solidFill>
                  <a:srgbClr val="000000"/>
                </a:solidFill>
                <a:cs typeface="Segoe UI Light" panose="020B0502040204020203" pitchFamily="34" charset="0"/>
              </a:rPr>
              <a:t>Corporate data sources or external data services</a:t>
            </a:r>
          </a:p>
        </p:txBody>
      </p:sp>
      <p:sp>
        <p:nvSpPr>
          <p:cNvPr id="212" name="Oval 1076"/>
          <p:cNvSpPr/>
          <p:nvPr/>
        </p:nvSpPr>
        <p:spPr bwMode="auto">
          <a:xfrm>
            <a:off x="658822" y="2954827"/>
            <a:ext cx="372988" cy="372988"/>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GB" sz="2448"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13" name="Group 212"/>
          <p:cNvGrpSpPr/>
          <p:nvPr/>
        </p:nvGrpSpPr>
        <p:grpSpPr>
          <a:xfrm>
            <a:off x="735555" y="3044844"/>
            <a:ext cx="219524" cy="192957"/>
            <a:chOff x="681704" y="2920140"/>
            <a:chExt cx="321649" cy="282723"/>
          </a:xfrm>
          <a:solidFill>
            <a:schemeClr val="tx1"/>
          </a:solidFill>
        </p:grpSpPr>
        <p:sp>
          <p:nvSpPr>
            <p:cNvPr id="214" name="Freeform 34"/>
            <p:cNvSpPr>
              <a:spLocks/>
            </p:cNvSpPr>
            <p:nvPr/>
          </p:nvSpPr>
          <p:spPr bwMode="auto">
            <a:xfrm>
              <a:off x="681704" y="2920140"/>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kern="0">
                <a:solidFill>
                  <a:srgbClr val="000000"/>
                </a:solidFill>
              </a:endParaRPr>
            </a:p>
          </p:txBody>
        </p:sp>
        <p:sp>
          <p:nvSpPr>
            <p:cNvPr id="216" name="Freeform 35"/>
            <p:cNvSpPr>
              <a:spLocks noEditPoints="1"/>
            </p:cNvSpPr>
            <p:nvPr/>
          </p:nvSpPr>
          <p:spPr bwMode="auto">
            <a:xfrm>
              <a:off x="760426" y="2959065"/>
              <a:ext cx="242927" cy="243798"/>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kern="0">
                <a:solidFill>
                  <a:srgbClr val="000000"/>
                </a:solidFill>
              </a:endParaRPr>
            </a:p>
          </p:txBody>
        </p:sp>
      </p:grpSp>
      <p:cxnSp>
        <p:nvCxnSpPr>
          <p:cNvPr id="218" name="Straight Connector 217"/>
          <p:cNvCxnSpPr/>
          <p:nvPr/>
        </p:nvCxnSpPr>
        <p:spPr>
          <a:xfrm>
            <a:off x="1021322" y="3942802"/>
            <a:ext cx="192885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19" name="Rectangle 1081"/>
          <p:cNvSpPr/>
          <p:nvPr/>
        </p:nvSpPr>
        <p:spPr bwMode="auto">
          <a:xfrm>
            <a:off x="1021322" y="3498752"/>
            <a:ext cx="2021700" cy="372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kern="0" dirty="0">
                <a:solidFill>
                  <a:srgbClr val="000000"/>
                </a:solidFill>
                <a:cs typeface="Segoe UI Light" panose="020B0502040204020203" pitchFamily="34" charset="0"/>
              </a:rPr>
              <a:t>Azure services</a:t>
            </a:r>
          </a:p>
          <a:p>
            <a:pPr defTabSz="932384">
              <a:spcAft>
                <a:spcPts val="612"/>
              </a:spcAft>
            </a:pPr>
            <a:r>
              <a:rPr lang="en-US" sz="918" i="1" kern="0" dirty="0">
                <a:solidFill>
                  <a:srgbClr val="000000"/>
                </a:solidFill>
                <a:cs typeface="Segoe UI Light" panose="020B0502040204020203" pitchFamily="34" charset="0"/>
              </a:rPr>
              <a:t>Azure SQL, Stream Analytics…</a:t>
            </a:r>
          </a:p>
        </p:txBody>
      </p:sp>
      <p:sp>
        <p:nvSpPr>
          <p:cNvPr id="220" name="Oval 1083"/>
          <p:cNvSpPr/>
          <p:nvPr/>
        </p:nvSpPr>
        <p:spPr bwMode="auto">
          <a:xfrm>
            <a:off x="658822" y="3479326"/>
            <a:ext cx="372988" cy="372988"/>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GB" sz="2448"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21" name="Group 379"/>
          <p:cNvGrpSpPr/>
          <p:nvPr/>
        </p:nvGrpSpPr>
        <p:grpSpPr>
          <a:xfrm>
            <a:off x="726330" y="3602414"/>
            <a:ext cx="237971" cy="165665"/>
            <a:chOff x="3543365" y="7242811"/>
            <a:chExt cx="1238250" cy="862013"/>
          </a:xfrm>
          <a:solidFill>
            <a:schemeClr val="tx1"/>
          </a:solidFill>
        </p:grpSpPr>
        <p:sp>
          <p:nvSpPr>
            <p:cNvPr id="222" name="Freeform 127"/>
            <p:cNvSpPr>
              <a:spLocks/>
            </p:cNvSpPr>
            <p:nvPr/>
          </p:nvSpPr>
          <p:spPr bwMode="auto">
            <a:xfrm>
              <a:off x="3617978" y="7911149"/>
              <a:ext cx="231775" cy="193675"/>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kern="0">
                <a:solidFill>
                  <a:srgbClr val="000000"/>
                </a:solidFill>
              </a:endParaRPr>
            </a:p>
          </p:txBody>
        </p:sp>
        <p:sp>
          <p:nvSpPr>
            <p:cNvPr id="223" name="Freeform 128"/>
            <p:cNvSpPr>
              <a:spLocks/>
            </p:cNvSpPr>
            <p:nvPr/>
          </p:nvSpPr>
          <p:spPr bwMode="auto">
            <a:xfrm>
              <a:off x="3617978" y="7688899"/>
              <a:ext cx="231775" cy="192088"/>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kern="0">
                <a:solidFill>
                  <a:srgbClr val="000000"/>
                </a:solidFill>
              </a:endParaRPr>
            </a:p>
          </p:txBody>
        </p:sp>
        <p:sp>
          <p:nvSpPr>
            <p:cNvPr id="224" name="Rectangle 129"/>
            <p:cNvSpPr>
              <a:spLocks noChangeArrowheads="1"/>
            </p:cNvSpPr>
            <p:nvPr/>
          </p:nvSpPr>
          <p:spPr bwMode="auto">
            <a:xfrm>
              <a:off x="3617978" y="74666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kern="0">
                <a:solidFill>
                  <a:srgbClr val="000000"/>
                </a:solidFill>
              </a:endParaRPr>
            </a:p>
          </p:txBody>
        </p:sp>
        <p:sp>
          <p:nvSpPr>
            <p:cNvPr id="225" name="Rectangle 130"/>
            <p:cNvSpPr>
              <a:spLocks noChangeArrowheads="1"/>
            </p:cNvSpPr>
            <p:nvPr/>
          </p:nvSpPr>
          <p:spPr bwMode="auto">
            <a:xfrm>
              <a:off x="3617978" y="7242811"/>
              <a:ext cx="231775" cy="1952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kern="0">
                <a:solidFill>
                  <a:srgbClr val="000000"/>
                </a:solidFill>
              </a:endParaRPr>
            </a:p>
          </p:txBody>
        </p:sp>
        <p:sp>
          <p:nvSpPr>
            <p:cNvPr id="226" name="Freeform 131"/>
            <p:cNvSpPr>
              <a:spLocks/>
            </p:cNvSpPr>
            <p:nvPr/>
          </p:nvSpPr>
          <p:spPr bwMode="auto">
            <a:xfrm>
              <a:off x="3895790" y="7911149"/>
              <a:ext cx="230188" cy="193675"/>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kern="0">
                <a:solidFill>
                  <a:srgbClr val="000000"/>
                </a:solidFill>
              </a:endParaRPr>
            </a:p>
          </p:txBody>
        </p:sp>
        <p:sp>
          <p:nvSpPr>
            <p:cNvPr id="227" name="Freeform 132"/>
            <p:cNvSpPr>
              <a:spLocks/>
            </p:cNvSpPr>
            <p:nvPr/>
          </p:nvSpPr>
          <p:spPr bwMode="auto">
            <a:xfrm>
              <a:off x="4125978" y="7688899"/>
              <a:ext cx="0" cy="6350"/>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kern="0">
                <a:solidFill>
                  <a:srgbClr val="000000"/>
                </a:solidFill>
              </a:endParaRPr>
            </a:p>
          </p:txBody>
        </p:sp>
        <p:sp>
          <p:nvSpPr>
            <p:cNvPr id="228" name="Freeform 133"/>
            <p:cNvSpPr>
              <a:spLocks/>
            </p:cNvSpPr>
            <p:nvPr/>
          </p:nvSpPr>
          <p:spPr bwMode="auto">
            <a:xfrm>
              <a:off x="3895790" y="7812724"/>
              <a:ext cx="219075" cy="69850"/>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kern="0">
                <a:solidFill>
                  <a:srgbClr val="000000"/>
                </a:solidFill>
              </a:endParaRPr>
            </a:p>
          </p:txBody>
        </p:sp>
        <p:sp>
          <p:nvSpPr>
            <p:cNvPr id="229" name="Freeform 134"/>
            <p:cNvSpPr>
              <a:spLocks/>
            </p:cNvSpPr>
            <p:nvPr/>
          </p:nvSpPr>
          <p:spPr bwMode="auto">
            <a:xfrm>
              <a:off x="3895790" y="7466649"/>
              <a:ext cx="230188" cy="193675"/>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kern="0">
                <a:solidFill>
                  <a:srgbClr val="000000"/>
                </a:solidFill>
              </a:endParaRPr>
            </a:p>
          </p:txBody>
        </p:sp>
        <p:sp>
          <p:nvSpPr>
            <p:cNvPr id="230" name="Freeform 135"/>
            <p:cNvSpPr>
              <a:spLocks/>
            </p:cNvSpPr>
            <p:nvPr/>
          </p:nvSpPr>
          <p:spPr bwMode="auto">
            <a:xfrm>
              <a:off x="4173603" y="7911149"/>
              <a:ext cx="230188" cy="193675"/>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kern="0">
                <a:solidFill>
                  <a:srgbClr val="000000"/>
                </a:solidFill>
              </a:endParaRPr>
            </a:p>
          </p:txBody>
        </p:sp>
        <p:sp>
          <p:nvSpPr>
            <p:cNvPr id="231" name="Freeform 136"/>
            <p:cNvSpPr>
              <a:spLocks/>
            </p:cNvSpPr>
            <p:nvPr/>
          </p:nvSpPr>
          <p:spPr bwMode="auto">
            <a:xfrm>
              <a:off x="4173603" y="7688899"/>
              <a:ext cx="168275" cy="63500"/>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kern="0">
                <a:solidFill>
                  <a:srgbClr val="000000"/>
                </a:solidFill>
              </a:endParaRPr>
            </a:p>
          </p:txBody>
        </p:sp>
        <p:sp>
          <p:nvSpPr>
            <p:cNvPr id="232" name="Freeform 137"/>
            <p:cNvSpPr>
              <a:spLocks/>
            </p:cNvSpPr>
            <p:nvPr/>
          </p:nvSpPr>
          <p:spPr bwMode="auto">
            <a:xfrm>
              <a:off x="4338703" y="7809549"/>
              <a:ext cx="65088" cy="73025"/>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kern="0">
                <a:solidFill>
                  <a:srgbClr val="000000"/>
                </a:solidFill>
              </a:endParaRPr>
            </a:p>
          </p:txBody>
        </p:sp>
        <p:sp>
          <p:nvSpPr>
            <p:cNvPr id="233" name="Rectangle 138"/>
            <p:cNvSpPr>
              <a:spLocks noChangeArrowheads="1"/>
            </p:cNvSpPr>
            <p:nvPr/>
          </p:nvSpPr>
          <p:spPr bwMode="auto">
            <a:xfrm>
              <a:off x="4449828" y="79111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kern="0">
                <a:solidFill>
                  <a:srgbClr val="000000"/>
                </a:solidFill>
              </a:endParaRPr>
            </a:p>
          </p:txBody>
        </p:sp>
        <p:sp>
          <p:nvSpPr>
            <p:cNvPr id="234" name="Freeform 139"/>
            <p:cNvSpPr>
              <a:spLocks/>
            </p:cNvSpPr>
            <p:nvPr/>
          </p:nvSpPr>
          <p:spPr bwMode="auto">
            <a:xfrm>
              <a:off x="4449828" y="7688899"/>
              <a:ext cx="231775" cy="193675"/>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kern="0">
                <a:solidFill>
                  <a:srgbClr val="000000"/>
                </a:solidFill>
              </a:endParaRPr>
            </a:p>
          </p:txBody>
        </p:sp>
        <p:sp>
          <p:nvSpPr>
            <p:cNvPr id="235" name="Freeform 140"/>
            <p:cNvSpPr>
              <a:spLocks/>
            </p:cNvSpPr>
            <p:nvPr/>
          </p:nvSpPr>
          <p:spPr bwMode="auto">
            <a:xfrm>
              <a:off x="4600640" y="7622224"/>
              <a:ext cx="80963" cy="38100"/>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kern="0">
                <a:solidFill>
                  <a:srgbClr val="000000"/>
                </a:solidFill>
              </a:endParaRPr>
            </a:p>
          </p:txBody>
        </p:sp>
        <p:sp>
          <p:nvSpPr>
            <p:cNvPr id="236" name="Freeform 141"/>
            <p:cNvSpPr>
              <a:spLocks/>
            </p:cNvSpPr>
            <p:nvPr/>
          </p:nvSpPr>
          <p:spPr bwMode="auto">
            <a:xfrm>
              <a:off x="4449828" y="7466649"/>
              <a:ext cx="119063" cy="139700"/>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kern="0">
                <a:solidFill>
                  <a:srgbClr val="000000"/>
                </a:solidFill>
              </a:endParaRPr>
            </a:p>
          </p:txBody>
        </p:sp>
        <p:sp>
          <p:nvSpPr>
            <p:cNvPr id="237" name="Freeform 142"/>
            <p:cNvSpPr>
              <a:spLocks noEditPoints="1"/>
            </p:cNvSpPr>
            <p:nvPr/>
          </p:nvSpPr>
          <p:spPr bwMode="auto">
            <a:xfrm>
              <a:off x="3543365" y="7438074"/>
              <a:ext cx="1238250" cy="590550"/>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kern="0">
                <a:solidFill>
                  <a:srgbClr val="000000"/>
                </a:solidFill>
              </a:endParaRPr>
            </a:p>
          </p:txBody>
        </p:sp>
      </p:grpSp>
      <p:sp>
        <p:nvSpPr>
          <p:cNvPr id="238" name="Rectangle 160"/>
          <p:cNvSpPr/>
          <p:nvPr/>
        </p:nvSpPr>
        <p:spPr bwMode="auto">
          <a:xfrm>
            <a:off x="1021322" y="3988580"/>
            <a:ext cx="2021700" cy="372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endParaRPr lang="en-IN" sz="1224" kern="0" dirty="0">
              <a:solidFill>
                <a:srgbClr val="000000"/>
              </a:solidFill>
              <a:cs typeface="Segoe UI Light" panose="020B0502040204020203" pitchFamily="34" charset="0"/>
            </a:endParaRPr>
          </a:p>
          <a:p>
            <a:pPr defTabSz="932384"/>
            <a:r>
              <a:rPr lang="en-IN" sz="1224" kern="0" dirty="0">
                <a:solidFill>
                  <a:srgbClr val="000000"/>
                </a:solidFill>
                <a:cs typeface="Segoe UI Light" panose="020B0502040204020203" pitchFamily="34" charset="0"/>
              </a:rPr>
              <a:t>Excel files</a:t>
            </a:r>
          </a:p>
          <a:p>
            <a:pPr defTabSz="932384"/>
            <a:r>
              <a:rPr lang="en-IN" sz="918" i="1" kern="0" dirty="0">
                <a:solidFill>
                  <a:srgbClr val="000000"/>
                </a:solidFill>
                <a:cs typeface="Segoe UI Light" panose="020B0502040204020203" pitchFamily="34" charset="0"/>
              </a:rPr>
              <a:t>Workbook data / data models</a:t>
            </a:r>
          </a:p>
          <a:p>
            <a:pPr defTabSz="932384"/>
            <a:endParaRPr lang="en-IN" sz="1224" kern="0" dirty="0">
              <a:solidFill>
                <a:srgbClr val="000000"/>
              </a:solidFill>
              <a:cs typeface="Segoe UI Light" panose="020B0502040204020203" pitchFamily="34" charset="0"/>
            </a:endParaRPr>
          </a:p>
        </p:txBody>
      </p:sp>
      <p:sp>
        <p:nvSpPr>
          <p:cNvPr id="239" name="Oval 162"/>
          <p:cNvSpPr/>
          <p:nvPr/>
        </p:nvSpPr>
        <p:spPr bwMode="auto">
          <a:xfrm>
            <a:off x="658822" y="3988580"/>
            <a:ext cx="372988" cy="372988"/>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GB" sz="2448" kern="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40" name="Straight Connector 239"/>
          <p:cNvCxnSpPr/>
          <p:nvPr/>
        </p:nvCxnSpPr>
        <p:spPr>
          <a:xfrm>
            <a:off x="1021322" y="4411755"/>
            <a:ext cx="192885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41" name="Oval 162"/>
          <p:cNvSpPr/>
          <p:nvPr/>
        </p:nvSpPr>
        <p:spPr bwMode="auto">
          <a:xfrm>
            <a:off x="658822" y="4507182"/>
            <a:ext cx="372988" cy="372988"/>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GB"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160"/>
          <p:cNvSpPr/>
          <p:nvPr/>
        </p:nvSpPr>
        <p:spPr bwMode="auto">
          <a:xfrm>
            <a:off x="1021322" y="4507182"/>
            <a:ext cx="2021700" cy="372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IN" sz="1224" kern="0" dirty="0">
                <a:solidFill>
                  <a:srgbClr val="000000"/>
                </a:solidFill>
                <a:cs typeface="Segoe UI Light" panose="020B0502040204020203" pitchFamily="34" charset="0"/>
              </a:rPr>
              <a:t>Power BI Desktop files</a:t>
            </a:r>
          </a:p>
          <a:p>
            <a:pPr defTabSz="932384"/>
            <a:r>
              <a:rPr lang="en-IN" sz="918" i="1" kern="0" dirty="0">
                <a:solidFill>
                  <a:srgbClr val="000000"/>
                </a:solidFill>
                <a:cs typeface="Segoe UI Light" panose="020B0502040204020203" pitchFamily="34" charset="0"/>
              </a:rPr>
              <a:t>Data from files, databases, Azure, and other sources</a:t>
            </a:r>
          </a:p>
        </p:txBody>
      </p:sp>
      <p:pic>
        <p:nvPicPr>
          <p:cNvPr id="244" name="Picture 243"/>
          <p:cNvPicPr>
            <a:picLocks noChangeAspect="1"/>
          </p:cNvPicPr>
          <p:nvPr/>
        </p:nvPicPr>
        <p:blipFill>
          <a:blip r:embed="rId5" cstate="screen">
            <a:biLevel thresh="75000"/>
            <a:extLst>
              <a:ext uri="{28A0092B-C50C-407E-A947-70E740481C1C}">
                <a14:useLocalDpi xmlns:a14="http://schemas.microsoft.com/office/drawing/2010/main" val="0"/>
              </a:ext>
            </a:extLst>
          </a:blip>
          <a:stretch>
            <a:fillRect/>
          </a:stretch>
        </p:blipFill>
        <p:spPr>
          <a:xfrm>
            <a:off x="726331" y="4059199"/>
            <a:ext cx="244891" cy="244891"/>
          </a:xfrm>
          <a:prstGeom prst="rect">
            <a:avLst/>
          </a:prstGeom>
          <a:solidFill>
            <a:srgbClr val="EDC30D"/>
          </a:solidFill>
        </p:spPr>
      </p:pic>
      <p:pic>
        <p:nvPicPr>
          <p:cNvPr id="245" name="Picture 244"/>
          <p:cNvPicPr>
            <a:picLocks noChangeAspect="1"/>
          </p:cNvPicPr>
          <p:nvPr/>
        </p:nvPicPr>
        <p:blipFill rotWithShape="1">
          <a:blip r:embed="rId6"/>
          <a:srcRect l="6503" t="21287" r="74698" b="20220"/>
          <a:stretch/>
        </p:blipFill>
        <p:spPr>
          <a:xfrm>
            <a:off x="740306" y="4574129"/>
            <a:ext cx="233118" cy="236546"/>
          </a:xfrm>
          <a:prstGeom prst="rect">
            <a:avLst/>
          </a:prstGeom>
        </p:spPr>
      </p:pic>
      <p:pic>
        <p:nvPicPr>
          <p:cNvPr id="246" name="Picture 245"/>
          <p:cNvPicPr>
            <a:picLocks noChangeAspect="1"/>
          </p:cNvPicPr>
          <p:nvPr/>
        </p:nvPicPr>
        <p:blipFill rotWithShape="1">
          <a:blip r:embed="rId6">
            <a:biLevel thresh="25000"/>
          </a:blip>
          <a:srcRect l="6503" t="21287" r="74698" b="20220"/>
          <a:stretch/>
        </p:blipFill>
        <p:spPr>
          <a:xfrm>
            <a:off x="611948" y="5646852"/>
            <a:ext cx="559482" cy="567711"/>
          </a:xfrm>
          <a:prstGeom prst="rect">
            <a:avLst/>
          </a:prstGeom>
        </p:spPr>
      </p:pic>
      <p:grpSp>
        <p:nvGrpSpPr>
          <p:cNvPr id="133" name="Group 132"/>
          <p:cNvGrpSpPr/>
          <p:nvPr/>
        </p:nvGrpSpPr>
        <p:grpSpPr>
          <a:xfrm>
            <a:off x="10248256" y="335772"/>
            <a:ext cx="1912422" cy="583778"/>
            <a:chOff x="10316641" y="149435"/>
            <a:chExt cx="1875360" cy="572464"/>
          </a:xfrm>
        </p:grpSpPr>
        <p:pic>
          <p:nvPicPr>
            <p:cNvPr id="134" name="Picture 133"/>
            <p:cNvPicPr>
              <a:picLocks noChangeAspect="1"/>
            </p:cNvPicPr>
            <p:nvPr/>
          </p:nvPicPr>
          <p:blipFill>
            <a:blip r:embed="rId7">
              <a:duotone>
                <a:schemeClr val="bg2">
                  <a:shade val="45000"/>
                  <a:satMod val="135000"/>
                </a:schemeClr>
                <a:prstClr val="white"/>
              </a:duotone>
              <a:lum bright="-32000"/>
            </a:blip>
            <a:stretch>
              <a:fillRect/>
            </a:stretch>
          </p:blipFill>
          <p:spPr>
            <a:xfrm>
              <a:off x="10316641" y="213005"/>
              <a:ext cx="484908" cy="445325"/>
            </a:xfrm>
            <a:prstGeom prst="rect">
              <a:avLst/>
            </a:prstGeom>
          </p:spPr>
        </p:pic>
        <p:sp>
          <p:nvSpPr>
            <p:cNvPr id="141" name="TextBox 140"/>
            <p:cNvSpPr txBox="1"/>
            <p:nvPr/>
          </p:nvSpPr>
          <p:spPr>
            <a:xfrm>
              <a:off x="10716157" y="149435"/>
              <a:ext cx="1475844" cy="572464"/>
            </a:xfrm>
            <a:prstGeom prst="rect">
              <a:avLst/>
            </a:prstGeom>
            <a:noFill/>
          </p:spPr>
          <p:txBody>
            <a:bodyPr wrap="square" lIns="186494" tIns="149196" rIns="186494" bIns="149196" rtlCol="0">
              <a:spAutoFit/>
            </a:bodyPr>
            <a:lstStyle/>
            <a:p>
              <a:pPr defTabSz="932418">
                <a:lnSpc>
                  <a:spcPct val="90000"/>
                </a:lnSpc>
                <a:spcAft>
                  <a:spcPts val="612"/>
                </a:spcAft>
              </a:pPr>
              <a:r>
                <a:rPr lang="en-US" sz="2040" kern="0" dirty="0">
                  <a:gradFill>
                    <a:gsLst>
                      <a:gs pos="2917">
                        <a:srgbClr val="000000"/>
                      </a:gs>
                      <a:gs pos="30000">
                        <a:srgbClr val="000000"/>
                      </a:gs>
                    </a:gsLst>
                    <a:lin ang="5400000" scaled="0"/>
                  </a:gradFill>
                  <a:latin typeface="Segoe UI Light"/>
                </a:rPr>
                <a:t>Power BI</a:t>
              </a:r>
            </a:p>
          </p:txBody>
        </p:sp>
      </p:grpSp>
      <p:sp>
        <p:nvSpPr>
          <p:cNvPr id="143" name="Rectangle 142"/>
          <p:cNvSpPr/>
          <p:nvPr/>
        </p:nvSpPr>
        <p:spPr>
          <a:xfrm>
            <a:off x="4300277" y="1152504"/>
            <a:ext cx="3946365" cy="414295"/>
          </a:xfrm>
          <a:prstGeom prst="rect">
            <a:avLst/>
          </a:prstGeom>
        </p:spPr>
        <p:txBody>
          <a:bodyPr wrap="square">
            <a:spAutoFit/>
          </a:bodyPr>
          <a:lstStyle/>
          <a:p>
            <a:pPr defTabSz="932384">
              <a:spcAft>
                <a:spcPts val="600"/>
              </a:spcAft>
            </a:pPr>
            <a:r>
              <a:rPr lang="en-US" sz="2040" kern="0" dirty="0">
                <a:solidFill>
                  <a:schemeClr val="tx2">
                    <a:lumMod val="10000"/>
                  </a:schemeClr>
                </a:solidFill>
              </a:rPr>
              <a:t>Power BI service</a:t>
            </a:r>
          </a:p>
        </p:txBody>
      </p:sp>
      <p:grpSp>
        <p:nvGrpSpPr>
          <p:cNvPr id="262" name="Group 261"/>
          <p:cNvGrpSpPr/>
          <p:nvPr/>
        </p:nvGrpSpPr>
        <p:grpSpPr>
          <a:xfrm>
            <a:off x="4486306" y="4926369"/>
            <a:ext cx="1382416" cy="279741"/>
            <a:chOff x="4306193" y="5441922"/>
            <a:chExt cx="1355626" cy="274320"/>
          </a:xfrm>
        </p:grpSpPr>
        <p:sp>
          <p:nvSpPr>
            <p:cNvPr id="285" name="TextBox 293"/>
            <p:cNvSpPr txBox="1"/>
            <p:nvPr/>
          </p:nvSpPr>
          <p:spPr>
            <a:xfrm>
              <a:off x="4675832" y="5470400"/>
              <a:ext cx="985987" cy="219771"/>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kern="0" dirty="0">
                  <a:solidFill>
                    <a:srgbClr val="000000"/>
                  </a:solidFill>
                  <a:ea typeface="Segoe UI" pitchFamily="34" charset="0"/>
                  <a:cs typeface="Segoe UI" pitchFamily="34" charset="0"/>
                </a:rPr>
                <a:t>Data refresh</a:t>
              </a:r>
            </a:p>
          </p:txBody>
        </p:sp>
        <p:sp>
          <p:nvSpPr>
            <p:cNvPr id="286" name="Freeform 122"/>
            <p:cNvSpPr>
              <a:spLocks/>
            </p:cNvSpPr>
            <p:nvPr/>
          </p:nvSpPr>
          <p:spPr bwMode="black">
            <a:xfrm>
              <a:off x="4306193" y="5441922"/>
              <a:ext cx="274320" cy="27432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rgbClr val="EDC30D"/>
            </a:solidFill>
            <a:ln>
              <a:noFill/>
            </a:ln>
            <a:extLst/>
          </p:spPr>
          <p:txBody>
            <a:bodyPr vert="horz" wrap="square" lIns="93247" tIns="46623" rIns="93247" bIns="46623" numCol="1" anchor="t" anchorCtr="0" compatLnSpc="1">
              <a:prstTxWarp prst="textNoShape">
                <a:avLst/>
              </a:prstTxWarp>
            </a:bodyPr>
            <a:lstStyle/>
            <a:p>
              <a:pPr defTabSz="932418"/>
              <a:endParaRPr lang="en-US" sz="1632" kern="0">
                <a:solidFill>
                  <a:srgbClr val="000000"/>
                </a:solidFill>
              </a:endParaRPr>
            </a:p>
          </p:txBody>
        </p:sp>
      </p:grpSp>
      <p:grpSp>
        <p:nvGrpSpPr>
          <p:cNvPr id="287" name="Group 286"/>
          <p:cNvGrpSpPr/>
          <p:nvPr/>
        </p:nvGrpSpPr>
        <p:grpSpPr>
          <a:xfrm>
            <a:off x="4486311" y="3239777"/>
            <a:ext cx="1493592" cy="273914"/>
            <a:chOff x="4306193" y="3788016"/>
            <a:chExt cx="1464646" cy="268606"/>
          </a:xfrm>
        </p:grpSpPr>
        <p:sp>
          <p:nvSpPr>
            <p:cNvPr id="288" name="TextBox 293"/>
            <p:cNvSpPr txBox="1"/>
            <p:nvPr/>
          </p:nvSpPr>
          <p:spPr>
            <a:xfrm>
              <a:off x="4675832" y="3816494"/>
              <a:ext cx="1095007" cy="219771"/>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kern="0" dirty="0">
                  <a:solidFill>
                    <a:srgbClr val="000000"/>
                  </a:solidFill>
                  <a:ea typeface="Segoe UI" pitchFamily="34" charset="0"/>
                  <a:cs typeface="Segoe UI" pitchFamily="34" charset="0"/>
                </a:rPr>
                <a:t>Visualizations</a:t>
              </a:r>
              <a:endParaRPr lang="en-US" sz="1224" kern="0" dirty="0">
                <a:solidFill>
                  <a:srgbClr val="000000"/>
                </a:solidFill>
                <a:ea typeface="Segoe UI" pitchFamily="34" charset="0"/>
                <a:cs typeface="Segoe UI" pitchFamily="34" charset="0"/>
              </a:endParaRPr>
            </a:p>
          </p:txBody>
        </p:sp>
        <p:sp>
          <p:nvSpPr>
            <p:cNvPr id="289" name="Freeform 288"/>
            <p:cNvSpPr>
              <a:spLocks noChangeAspect="1"/>
            </p:cNvSpPr>
            <p:nvPr/>
          </p:nvSpPr>
          <p:spPr bwMode="black">
            <a:xfrm>
              <a:off x="4306193" y="3788016"/>
              <a:ext cx="274320" cy="268606"/>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58" tIns="111887" rIns="139858" bIns="111887" numCol="1" spcCol="0" rtlCol="0" fromWordArt="0" anchor="t" anchorCtr="0" forceAA="0" compatLnSpc="1">
              <a:prstTxWarp prst="textNoShape">
                <a:avLst/>
              </a:prstTxWarp>
              <a:noAutofit/>
            </a:bodyPr>
            <a:lstStyle/>
            <a:p>
              <a:pPr algn="ctr" defTabSz="713039" fontAlgn="base">
                <a:lnSpc>
                  <a:spcPct val="90000"/>
                </a:lnSpc>
                <a:spcBef>
                  <a:spcPct val="0"/>
                </a:spcBef>
                <a:spcAft>
                  <a:spcPct val="0"/>
                </a:spcAft>
              </a:pPr>
              <a:endParaRPr lang="en-US" sz="1836" kern="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91" name="Group 290"/>
          <p:cNvGrpSpPr/>
          <p:nvPr/>
        </p:nvGrpSpPr>
        <p:grpSpPr>
          <a:xfrm>
            <a:off x="4485700" y="2677580"/>
            <a:ext cx="1706739" cy="279741"/>
            <a:chOff x="4305597" y="3236714"/>
            <a:chExt cx="1673662" cy="274320"/>
          </a:xfrm>
        </p:grpSpPr>
        <p:sp>
          <p:nvSpPr>
            <p:cNvPr id="292" name="TextBox 293"/>
            <p:cNvSpPr txBox="1"/>
            <p:nvPr/>
          </p:nvSpPr>
          <p:spPr>
            <a:xfrm>
              <a:off x="4675832" y="3266607"/>
              <a:ext cx="1303427" cy="219771"/>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kern="0" dirty="0">
                  <a:solidFill>
                    <a:srgbClr val="000000"/>
                  </a:solidFill>
                  <a:ea typeface="Segoe UI" pitchFamily="34" charset="0"/>
                  <a:cs typeface="Segoe UI" pitchFamily="34" charset="0"/>
                </a:rPr>
                <a:t>Live dashboards</a:t>
              </a:r>
            </a:p>
          </p:txBody>
        </p:sp>
        <p:sp>
          <p:nvSpPr>
            <p:cNvPr id="293" name="Freeform 5"/>
            <p:cNvSpPr>
              <a:spLocks noChangeAspect="1" noEditPoints="1"/>
            </p:cNvSpPr>
            <p:nvPr/>
          </p:nvSpPr>
          <p:spPr bwMode="black">
            <a:xfrm>
              <a:off x="4305597" y="3236714"/>
              <a:ext cx="275513" cy="274320"/>
            </a:xfrm>
            <a:custGeom>
              <a:avLst/>
              <a:gdLst>
                <a:gd name="T0" fmla="*/ 402 w 1088"/>
                <a:gd name="T1" fmla="*/ 588 h 1090"/>
                <a:gd name="T2" fmla="*/ 502 w 1088"/>
                <a:gd name="T3" fmla="*/ 688 h 1090"/>
                <a:gd name="T4" fmla="*/ 502 w 1088"/>
                <a:gd name="T5" fmla="*/ 989 h 1090"/>
                <a:gd name="T6" fmla="*/ 402 w 1088"/>
                <a:gd name="T7" fmla="*/ 1090 h 1090"/>
                <a:gd name="T8" fmla="*/ 100 w 1088"/>
                <a:gd name="T9" fmla="*/ 1090 h 1090"/>
                <a:gd name="T10" fmla="*/ 0 w 1088"/>
                <a:gd name="T11" fmla="*/ 989 h 1090"/>
                <a:gd name="T12" fmla="*/ 0 w 1088"/>
                <a:gd name="T13" fmla="*/ 688 h 1090"/>
                <a:gd name="T14" fmla="*/ 100 w 1088"/>
                <a:gd name="T15" fmla="*/ 588 h 1090"/>
                <a:gd name="T16" fmla="*/ 402 w 1088"/>
                <a:gd name="T17" fmla="*/ 588 h 1090"/>
                <a:gd name="T18" fmla="*/ 402 w 1088"/>
                <a:gd name="T19" fmla="*/ 588 h 1090"/>
                <a:gd name="T20" fmla="*/ 402 w 1088"/>
                <a:gd name="T21" fmla="*/ 2 h 1090"/>
                <a:gd name="T22" fmla="*/ 402 w 1088"/>
                <a:gd name="T23" fmla="*/ 2 h 1090"/>
                <a:gd name="T24" fmla="*/ 100 w 1088"/>
                <a:gd name="T25" fmla="*/ 2 h 1090"/>
                <a:gd name="T26" fmla="*/ 0 w 1088"/>
                <a:gd name="T27" fmla="*/ 103 h 1090"/>
                <a:gd name="T28" fmla="*/ 0 w 1088"/>
                <a:gd name="T29" fmla="*/ 403 h 1090"/>
                <a:gd name="T30" fmla="*/ 100 w 1088"/>
                <a:gd name="T31" fmla="*/ 504 h 1090"/>
                <a:gd name="T32" fmla="*/ 402 w 1088"/>
                <a:gd name="T33" fmla="*/ 504 h 1090"/>
                <a:gd name="T34" fmla="*/ 502 w 1088"/>
                <a:gd name="T35" fmla="*/ 403 h 1090"/>
                <a:gd name="T36" fmla="*/ 502 w 1088"/>
                <a:gd name="T37" fmla="*/ 103 h 1090"/>
                <a:gd name="T38" fmla="*/ 402 w 1088"/>
                <a:gd name="T39" fmla="*/ 2 h 1090"/>
                <a:gd name="T40" fmla="*/ 966 w 1088"/>
                <a:gd name="T41" fmla="*/ 0 h 1090"/>
                <a:gd name="T42" fmla="*/ 1088 w 1088"/>
                <a:gd name="T43" fmla="*/ 121 h 1090"/>
                <a:gd name="T44" fmla="*/ 1088 w 1088"/>
                <a:gd name="T45" fmla="*/ 383 h 1090"/>
                <a:gd name="T46" fmla="*/ 966 w 1088"/>
                <a:gd name="T47" fmla="*/ 504 h 1090"/>
                <a:gd name="T48" fmla="*/ 704 w 1088"/>
                <a:gd name="T49" fmla="*/ 504 h 1090"/>
                <a:gd name="T50" fmla="*/ 583 w 1088"/>
                <a:gd name="T51" fmla="*/ 383 h 1090"/>
                <a:gd name="T52" fmla="*/ 583 w 1088"/>
                <a:gd name="T53" fmla="*/ 121 h 1090"/>
                <a:gd name="T54" fmla="*/ 704 w 1088"/>
                <a:gd name="T55" fmla="*/ 0 h 1090"/>
                <a:gd name="T56" fmla="*/ 966 w 1088"/>
                <a:gd name="T57" fmla="*/ 0 h 1090"/>
                <a:gd name="T58" fmla="*/ 1020 w 1088"/>
                <a:gd name="T59" fmla="*/ 383 h 1090"/>
                <a:gd name="T60" fmla="*/ 1020 w 1088"/>
                <a:gd name="T61" fmla="*/ 383 h 1090"/>
                <a:gd name="T62" fmla="*/ 1020 w 1088"/>
                <a:gd name="T63" fmla="*/ 121 h 1090"/>
                <a:gd name="T64" fmla="*/ 966 w 1088"/>
                <a:gd name="T65" fmla="*/ 67 h 1090"/>
                <a:gd name="T66" fmla="*/ 704 w 1088"/>
                <a:gd name="T67" fmla="*/ 67 h 1090"/>
                <a:gd name="T68" fmla="*/ 650 w 1088"/>
                <a:gd name="T69" fmla="*/ 121 h 1090"/>
                <a:gd name="T70" fmla="*/ 650 w 1088"/>
                <a:gd name="T71" fmla="*/ 383 h 1090"/>
                <a:gd name="T72" fmla="*/ 704 w 1088"/>
                <a:gd name="T73" fmla="*/ 437 h 1090"/>
                <a:gd name="T74" fmla="*/ 966 w 1088"/>
                <a:gd name="T75" fmla="*/ 437 h 1090"/>
                <a:gd name="T76" fmla="*/ 1020 w 1088"/>
                <a:gd name="T77" fmla="*/ 383 h 1090"/>
                <a:gd name="T78" fmla="*/ 584 w 1088"/>
                <a:gd name="T79" fmla="*/ 688 h 1090"/>
                <a:gd name="T80" fmla="*/ 584 w 1088"/>
                <a:gd name="T81" fmla="*/ 688 h 1090"/>
                <a:gd name="T82" fmla="*/ 584 w 1088"/>
                <a:gd name="T83" fmla="*/ 989 h 1090"/>
                <a:gd name="T84" fmla="*/ 686 w 1088"/>
                <a:gd name="T85" fmla="*/ 1090 h 1090"/>
                <a:gd name="T86" fmla="*/ 987 w 1088"/>
                <a:gd name="T87" fmla="*/ 1090 h 1090"/>
                <a:gd name="T88" fmla="*/ 1088 w 1088"/>
                <a:gd name="T89" fmla="*/ 989 h 1090"/>
                <a:gd name="T90" fmla="*/ 1088 w 1088"/>
                <a:gd name="T91" fmla="*/ 688 h 1090"/>
                <a:gd name="T92" fmla="*/ 987 w 1088"/>
                <a:gd name="T93" fmla="*/ 588 h 1090"/>
                <a:gd name="T94" fmla="*/ 686 w 1088"/>
                <a:gd name="T95" fmla="*/ 588 h 1090"/>
                <a:gd name="T96" fmla="*/ 584 w 1088"/>
                <a:gd name="T97" fmla="*/ 688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8" h="1090">
                  <a:moveTo>
                    <a:pt x="402" y="588"/>
                  </a:moveTo>
                  <a:cubicBezTo>
                    <a:pt x="469" y="588"/>
                    <a:pt x="502" y="621"/>
                    <a:pt x="502" y="688"/>
                  </a:cubicBezTo>
                  <a:cubicBezTo>
                    <a:pt x="502" y="989"/>
                    <a:pt x="502" y="989"/>
                    <a:pt x="502" y="989"/>
                  </a:cubicBezTo>
                  <a:cubicBezTo>
                    <a:pt x="502" y="1056"/>
                    <a:pt x="469" y="1090"/>
                    <a:pt x="402" y="1090"/>
                  </a:cubicBezTo>
                  <a:cubicBezTo>
                    <a:pt x="100" y="1090"/>
                    <a:pt x="100" y="1090"/>
                    <a:pt x="100" y="1090"/>
                  </a:cubicBezTo>
                  <a:cubicBezTo>
                    <a:pt x="33" y="1090"/>
                    <a:pt x="0" y="1056"/>
                    <a:pt x="0" y="989"/>
                  </a:cubicBezTo>
                  <a:cubicBezTo>
                    <a:pt x="0" y="688"/>
                    <a:pt x="0" y="688"/>
                    <a:pt x="0" y="688"/>
                  </a:cubicBezTo>
                  <a:cubicBezTo>
                    <a:pt x="0" y="621"/>
                    <a:pt x="33" y="588"/>
                    <a:pt x="100" y="588"/>
                  </a:cubicBezTo>
                  <a:cubicBezTo>
                    <a:pt x="402" y="588"/>
                    <a:pt x="402" y="588"/>
                    <a:pt x="402" y="588"/>
                  </a:cubicBezTo>
                  <a:cubicBezTo>
                    <a:pt x="402" y="588"/>
                    <a:pt x="402" y="588"/>
                    <a:pt x="402" y="588"/>
                  </a:cubicBezTo>
                  <a:close/>
                  <a:moveTo>
                    <a:pt x="402" y="2"/>
                  </a:moveTo>
                  <a:cubicBezTo>
                    <a:pt x="402" y="2"/>
                    <a:pt x="402" y="2"/>
                    <a:pt x="402" y="2"/>
                  </a:cubicBezTo>
                  <a:cubicBezTo>
                    <a:pt x="100" y="2"/>
                    <a:pt x="100" y="2"/>
                    <a:pt x="100" y="2"/>
                  </a:cubicBezTo>
                  <a:cubicBezTo>
                    <a:pt x="33" y="2"/>
                    <a:pt x="0" y="36"/>
                    <a:pt x="0" y="103"/>
                  </a:cubicBezTo>
                  <a:cubicBezTo>
                    <a:pt x="0" y="103"/>
                    <a:pt x="0" y="103"/>
                    <a:pt x="0" y="403"/>
                  </a:cubicBezTo>
                  <a:cubicBezTo>
                    <a:pt x="0" y="471"/>
                    <a:pt x="33" y="504"/>
                    <a:pt x="100" y="504"/>
                  </a:cubicBezTo>
                  <a:cubicBezTo>
                    <a:pt x="100" y="504"/>
                    <a:pt x="100" y="504"/>
                    <a:pt x="402" y="504"/>
                  </a:cubicBezTo>
                  <a:cubicBezTo>
                    <a:pt x="469" y="504"/>
                    <a:pt x="502" y="471"/>
                    <a:pt x="502" y="403"/>
                  </a:cubicBezTo>
                  <a:cubicBezTo>
                    <a:pt x="502" y="403"/>
                    <a:pt x="502" y="403"/>
                    <a:pt x="502" y="103"/>
                  </a:cubicBezTo>
                  <a:cubicBezTo>
                    <a:pt x="502" y="36"/>
                    <a:pt x="469" y="2"/>
                    <a:pt x="402" y="2"/>
                  </a:cubicBezTo>
                  <a:close/>
                  <a:moveTo>
                    <a:pt x="966" y="0"/>
                  </a:moveTo>
                  <a:cubicBezTo>
                    <a:pt x="1048" y="0"/>
                    <a:pt x="1088" y="40"/>
                    <a:pt x="1088" y="121"/>
                  </a:cubicBezTo>
                  <a:cubicBezTo>
                    <a:pt x="1088" y="121"/>
                    <a:pt x="1088" y="121"/>
                    <a:pt x="1088" y="383"/>
                  </a:cubicBezTo>
                  <a:cubicBezTo>
                    <a:pt x="1088" y="464"/>
                    <a:pt x="1048" y="504"/>
                    <a:pt x="966" y="504"/>
                  </a:cubicBezTo>
                  <a:cubicBezTo>
                    <a:pt x="966" y="504"/>
                    <a:pt x="966" y="504"/>
                    <a:pt x="704" y="504"/>
                  </a:cubicBezTo>
                  <a:cubicBezTo>
                    <a:pt x="623" y="504"/>
                    <a:pt x="583" y="464"/>
                    <a:pt x="583" y="383"/>
                  </a:cubicBezTo>
                  <a:cubicBezTo>
                    <a:pt x="583" y="383"/>
                    <a:pt x="583" y="383"/>
                    <a:pt x="583" y="121"/>
                  </a:cubicBezTo>
                  <a:cubicBezTo>
                    <a:pt x="583" y="40"/>
                    <a:pt x="623" y="0"/>
                    <a:pt x="704" y="0"/>
                  </a:cubicBezTo>
                  <a:cubicBezTo>
                    <a:pt x="704" y="0"/>
                    <a:pt x="704" y="0"/>
                    <a:pt x="966" y="0"/>
                  </a:cubicBezTo>
                  <a:close/>
                  <a:moveTo>
                    <a:pt x="1020" y="383"/>
                  </a:moveTo>
                  <a:cubicBezTo>
                    <a:pt x="1020" y="383"/>
                    <a:pt x="1020" y="383"/>
                    <a:pt x="1020" y="383"/>
                  </a:cubicBezTo>
                  <a:cubicBezTo>
                    <a:pt x="1020" y="121"/>
                    <a:pt x="1020" y="121"/>
                    <a:pt x="1020" y="121"/>
                  </a:cubicBezTo>
                  <a:cubicBezTo>
                    <a:pt x="1020" y="85"/>
                    <a:pt x="1002" y="67"/>
                    <a:pt x="966" y="67"/>
                  </a:cubicBezTo>
                  <a:cubicBezTo>
                    <a:pt x="966" y="67"/>
                    <a:pt x="966" y="67"/>
                    <a:pt x="704" y="67"/>
                  </a:cubicBezTo>
                  <a:cubicBezTo>
                    <a:pt x="668" y="67"/>
                    <a:pt x="650" y="85"/>
                    <a:pt x="650" y="121"/>
                  </a:cubicBezTo>
                  <a:cubicBezTo>
                    <a:pt x="650" y="121"/>
                    <a:pt x="650" y="121"/>
                    <a:pt x="650" y="383"/>
                  </a:cubicBezTo>
                  <a:cubicBezTo>
                    <a:pt x="650" y="419"/>
                    <a:pt x="668" y="437"/>
                    <a:pt x="704" y="437"/>
                  </a:cubicBezTo>
                  <a:cubicBezTo>
                    <a:pt x="704" y="437"/>
                    <a:pt x="704" y="437"/>
                    <a:pt x="966" y="437"/>
                  </a:cubicBezTo>
                  <a:cubicBezTo>
                    <a:pt x="1002" y="437"/>
                    <a:pt x="1020" y="419"/>
                    <a:pt x="1020" y="383"/>
                  </a:cubicBezTo>
                  <a:close/>
                  <a:moveTo>
                    <a:pt x="584" y="688"/>
                  </a:moveTo>
                  <a:cubicBezTo>
                    <a:pt x="584" y="688"/>
                    <a:pt x="584" y="688"/>
                    <a:pt x="584" y="688"/>
                  </a:cubicBezTo>
                  <a:cubicBezTo>
                    <a:pt x="584" y="989"/>
                    <a:pt x="584" y="989"/>
                    <a:pt x="584" y="989"/>
                  </a:cubicBezTo>
                  <a:cubicBezTo>
                    <a:pt x="584" y="1056"/>
                    <a:pt x="619" y="1090"/>
                    <a:pt x="686" y="1090"/>
                  </a:cubicBezTo>
                  <a:cubicBezTo>
                    <a:pt x="686" y="1090"/>
                    <a:pt x="686" y="1090"/>
                    <a:pt x="987" y="1090"/>
                  </a:cubicBezTo>
                  <a:cubicBezTo>
                    <a:pt x="1054" y="1090"/>
                    <a:pt x="1088" y="1056"/>
                    <a:pt x="1088" y="989"/>
                  </a:cubicBezTo>
                  <a:cubicBezTo>
                    <a:pt x="1088" y="989"/>
                    <a:pt x="1088" y="989"/>
                    <a:pt x="1088" y="688"/>
                  </a:cubicBezTo>
                  <a:cubicBezTo>
                    <a:pt x="1088" y="621"/>
                    <a:pt x="1054" y="588"/>
                    <a:pt x="987" y="588"/>
                  </a:cubicBezTo>
                  <a:cubicBezTo>
                    <a:pt x="987" y="588"/>
                    <a:pt x="987" y="588"/>
                    <a:pt x="686" y="588"/>
                  </a:cubicBezTo>
                  <a:cubicBezTo>
                    <a:pt x="619" y="588"/>
                    <a:pt x="584" y="621"/>
                    <a:pt x="584" y="688"/>
                  </a:cubicBezTo>
                  <a:close/>
                </a:path>
              </a:pathLst>
            </a:custGeom>
            <a:solidFill>
              <a:srgbClr val="EDC30D"/>
            </a:solidFill>
            <a:ln>
              <a:noFill/>
            </a:ln>
          </p:spPr>
          <p:txBody>
            <a:bodyPr vert="horz" wrap="square" lIns="69929" tIns="34965" rIns="69929" bIns="34965" numCol="1" anchor="t" anchorCtr="0" compatLnSpc="1">
              <a:prstTxWarp prst="textNoShape">
                <a:avLst/>
              </a:prstTxWarp>
            </a:bodyPr>
            <a:lstStyle/>
            <a:p>
              <a:pPr defTabSz="932418"/>
              <a:endParaRPr lang="en-US" sz="1377" kern="0" dirty="0">
                <a:solidFill>
                  <a:srgbClr val="000000"/>
                </a:solidFill>
              </a:endParaRPr>
            </a:p>
          </p:txBody>
        </p:sp>
      </p:grpSp>
      <p:grpSp>
        <p:nvGrpSpPr>
          <p:cNvPr id="294" name="Group 293"/>
          <p:cNvGrpSpPr/>
          <p:nvPr/>
        </p:nvGrpSpPr>
        <p:grpSpPr>
          <a:xfrm>
            <a:off x="4486310" y="2063345"/>
            <a:ext cx="1554083" cy="296148"/>
            <a:chOff x="4306193" y="2634382"/>
            <a:chExt cx="1523965" cy="290409"/>
          </a:xfrm>
        </p:grpSpPr>
        <p:sp>
          <p:nvSpPr>
            <p:cNvPr id="295" name="Freeform 294"/>
            <p:cNvSpPr>
              <a:spLocks noChangeAspect="1"/>
            </p:cNvSpPr>
            <p:nvPr/>
          </p:nvSpPr>
          <p:spPr bwMode="black">
            <a:xfrm>
              <a:off x="4306193" y="2634382"/>
              <a:ext cx="274320" cy="290409"/>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72584" tIns="58067" rIns="72584" bIns="5806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370046" fontAlgn="base">
                <a:lnSpc>
                  <a:spcPct val="90000"/>
                </a:lnSpc>
                <a:spcBef>
                  <a:spcPct val="0"/>
                </a:spcBef>
                <a:spcAft>
                  <a:spcPct val="0"/>
                </a:spcAft>
              </a:pPr>
              <a:endParaRPr lang="en-US" sz="953" dirty="0">
                <a:gradFill>
                  <a:gsLst>
                    <a:gs pos="0">
                      <a:srgbClr val="FFFFFF"/>
                    </a:gs>
                    <a:gs pos="100000">
                      <a:srgbClr val="FFFFFF"/>
                    </a:gs>
                  </a:gsLst>
                  <a:lin ang="5400000" scaled="0"/>
                </a:gradFill>
                <a:ea typeface="Segoe UI" pitchFamily="34" charset="0"/>
                <a:cs typeface="Segoe UI" pitchFamily="34" charset="0"/>
              </a:endParaRPr>
            </a:p>
          </p:txBody>
        </p:sp>
        <p:sp>
          <p:nvSpPr>
            <p:cNvPr id="296" name="TextBox 293"/>
            <p:cNvSpPr txBox="1"/>
            <p:nvPr/>
          </p:nvSpPr>
          <p:spPr>
            <a:xfrm>
              <a:off x="4675832" y="2662446"/>
              <a:ext cx="1154326" cy="219771"/>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kern="0" dirty="0">
                  <a:solidFill>
                    <a:srgbClr val="000000"/>
                  </a:solidFill>
                  <a:ea typeface="Segoe UI" pitchFamily="34" charset="0"/>
                  <a:cs typeface="Segoe UI" pitchFamily="34" charset="0"/>
                </a:rPr>
                <a:t>Content packs</a:t>
              </a:r>
            </a:p>
          </p:txBody>
        </p:sp>
      </p:grpSp>
      <p:sp>
        <p:nvSpPr>
          <p:cNvPr id="297" name="Left Bracket 296"/>
          <p:cNvSpPr/>
          <p:nvPr/>
        </p:nvSpPr>
        <p:spPr>
          <a:xfrm>
            <a:off x="4310466" y="2243859"/>
            <a:ext cx="173398" cy="3053209"/>
          </a:xfrm>
          <a:prstGeom prst="leftBracket">
            <a:avLst/>
          </a:prstGeom>
          <a:noFill/>
          <a:ln w="28575">
            <a:solidFill>
              <a:srgbClr val="EDC30D"/>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418"/>
            <a:endParaRPr lang="en-US" sz="1836" kern="0">
              <a:solidFill>
                <a:srgbClr val="000000"/>
              </a:solidFill>
            </a:endParaRPr>
          </a:p>
        </p:txBody>
      </p:sp>
      <p:grpSp>
        <p:nvGrpSpPr>
          <p:cNvPr id="298" name="Group 297"/>
          <p:cNvGrpSpPr/>
          <p:nvPr/>
        </p:nvGrpSpPr>
        <p:grpSpPr>
          <a:xfrm>
            <a:off x="9123259" y="2088163"/>
            <a:ext cx="2342370" cy="279741"/>
            <a:chOff x="9011801" y="2831439"/>
            <a:chExt cx="2296976" cy="274320"/>
          </a:xfrm>
        </p:grpSpPr>
        <p:sp>
          <p:nvSpPr>
            <p:cNvPr id="299" name="TextBox 293"/>
            <p:cNvSpPr txBox="1"/>
            <p:nvPr/>
          </p:nvSpPr>
          <p:spPr>
            <a:xfrm>
              <a:off x="9381693" y="2845269"/>
              <a:ext cx="1927084" cy="219771"/>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kern="0" dirty="0">
                  <a:solidFill>
                    <a:srgbClr val="000000"/>
                  </a:solidFill>
                  <a:ea typeface="Segoe UI" pitchFamily="34" charset="0"/>
                  <a:cs typeface="Segoe UI" pitchFamily="34" charset="0"/>
                </a:rPr>
                <a:t>Sharing &amp; collaboration</a:t>
              </a:r>
            </a:p>
          </p:txBody>
        </p:sp>
        <p:sp>
          <p:nvSpPr>
            <p:cNvPr id="300" name="Freeform 299"/>
            <p:cNvSpPr>
              <a:spLocks noChangeAspect="1"/>
            </p:cNvSpPr>
            <p:nvPr/>
          </p:nvSpPr>
          <p:spPr bwMode="black">
            <a:xfrm>
              <a:off x="9011801" y="2831439"/>
              <a:ext cx="312642" cy="274320"/>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rgbClr val="EDC30D"/>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1836"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01" name="Group 300"/>
          <p:cNvGrpSpPr/>
          <p:nvPr/>
        </p:nvGrpSpPr>
        <p:grpSpPr>
          <a:xfrm>
            <a:off x="6455730" y="2091815"/>
            <a:ext cx="2300685" cy="239585"/>
            <a:chOff x="6395967" y="2662299"/>
            <a:chExt cx="2256097" cy="234942"/>
          </a:xfrm>
        </p:grpSpPr>
        <p:sp>
          <p:nvSpPr>
            <p:cNvPr id="302" name="TextBox 293"/>
            <p:cNvSpPr txBox="1"/>
            <p:nvPr/>
          </p:nvSpPr>
          <p:spPr>
            <a:xfrm>
              <a:off x="6744221" y="2677470"/>
              <a:ext cx="1907843" cy="219771"/>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kern="0" dirty="0">
                  <a:solidFill>
                    <a:srgbClr val="000000"/>
                  </a:solidFill>
                  <a:ea typeface="Segoe UI" pitchFamily="34" charset="0"/>
                  <a:cs typeface="Segoe UI" pitchFamily="34" charset="0"/>
                </a:rPr>
                <a:t>Natural language query</a:t>
              </a:r>
            </a:p>
          </p:txBody>
        </p:sp>
        <p:sp>
          <p:nvSpPr>
            <p:cNvPr id="303" name="Oval Callout 302"/>
            <p:cNvSpPr/>
            <p:nvPr/>
          </p:nvSpPr>
          <p:spPr bwMode="auto">
            <a:xfrm>
              <a:off x="6395967" y="2662299"/>
              <a:ext cx="274320" cy="228600"/>
            </a:xfrm>
            <a:prstGeom prst="wedgeEllipseCallout">
              <a:avLst>
                <a:gd name="adj1" fmla="val -59325"/>
                <a:gd name="adj2" fmla="val 71225"/>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816" b="1" kern="0" dirty="0">
                <a:solidFill>
                  <a:srgbClr val="000000"/>
                </a:solidFill>
                <a:ea typeface="Segoe UI" pitchFamily="34" charset="0"/>
                <a:cs typeface="Segoe UI" pitchFamily="34" charset="0"/>
              </a:endParaRPr>
            </a:p>
          </p:txBody>
        </p:sp>
      </p:grpSp>
      <p:grpSp>
        <p:nvGrpSpPr>
          <p:cNvPr id="304" name="Group 303"/>
          <p:cNvGrpSpPr/>
          <p:nvPr/>
        </p:nvGrpSpPr>
        <p:grpSpPr>
          <a:xfrm>
            <a:off x="4486310" y="3827832"/>
            <a:ext cx="1012927" cy="318008"/>
            <a:chOff x="4306193" y="4364674"/>
            <a:chExt cx="993297" cy="311845"/>
          </a:xfrm>
        </p:grpSpPr>
        <p:sp>
          <p:nvSpPr>
            <p:cNvPr id="305" name="TextBox 293"/>
            <p:cNvSpPr txBox="1"/>
            <p:nvPr/>
          </p:nvSpPr>
          <p:spPr>
            <a:xfrm>
              <a:off x="4675832" y="4389405"/>
              <a:ext cx="623658" cy="219771"/>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kern="0" dirty="0">
                  <a:solidFill>
                    <a:srgbClr val="000000"/>
                  </a:solidFill>
                  <a:ea typeface="Segoe UI" pitchFamily="34" charset="0"/>
                  <a:cs typeface="Segoe UI" pitchFamily="34" charset="0"/>
                </a:rPr>
                <a:t>Reports</a:t>
              </a:r>
              <a:endParaRPr lang="en-US" sz="1224" kern="0" dirty="0">
                <a:solidFill>
                  <a:srgbClr val="000000"/>
                </a:solidFill>
                <a:ea typeface="Segoe UI" pitchFamily="34" charset="0"/>
                <a:cs typeface="Segoe UI" pitchFamily="34" charset="0"/>
              </a:endParaRPr>
            </a:p>
          </p:txBody>
        </p:sp>
        <p:sp>
          <p:nvSpPr>
            <p:cNvPr id="306" name="Flowchart: Document 305"/>
            <p:cNvSpPr/>
            <p:nvPr/>
          </p:nvSpPr>
          <p:spPr bwMode="auto">
            <a:xfrm>
              <a:off x="4306193" y="4364674"/>
              <a:ext cx="274320" cy="311845"/>
            </a:xfrm>
            <a:prstGeom prst="flowChartDocument">
              <a:avLst/>
            </a:prstGeom>
            <a:noFill/>
            <a:ln w="28575">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07" name="Group 306"/>
          <p:cNvGrpSpPr/>
          <p:nvPr/>
        </p:nvGrpSpPr>
        <p:grpSpPr>
          <a:xfrm>
            <a:off x="4153087" y="4242716"/>
            <a:ext cx="1413179" cy="583778"/>
            <a:chOff x="3979430" y="4771518"/>
            <a:chExt cx="1385791" cy="572464"/>
          </a:xfrm>
        </p:grpSpPr>
        <p:sp>
          <p:nvSpPr>
            <p:cNvPr id="308" name="TextBox 293"/>
            <p:cNvSpPr txBox="1"/>
            <p:nvPr/>
          </p:nvSpPr>
          <p:spPr>
            <a:xfrm>
              <a:off x="4675832" y="4919099"/>
              <a:ext cx="689389" cy="219771"/>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kern="0" dirty="0">
                  <a:solidFill>
                    <a:srgbClr val="000000"/>
                  </a:solidFill>
                  <a:ea typeface="Segoe UI" pitchFamily="34" charset="0"/>
                  <a:cs typeface="Segoe UI" pitchFamily="34" charset="0"/>
                </a:rPr>
                <a:t>Datasets</a:t>
              </a:r>
            </a:p>
          </p:txBody>
        </p:sp>
        <p:sp>
          <p:nvSpPr>
            <p:cNvPr id="309" name="TextBox 308"/>
            <p:cNvSpPr txBox="1"/>
            <p:nvPr/>
          </p:nvSpPr>
          <p:spPr>
            <a:xfrm>
              <a:off x="3979430" y="4771518"/>
              <a:ext cx="927847" cy="572464"/>
            </a:xfrm>
            <a:prstGeom prst="rect">
              <a:avLst/>
            </a:prstGeom>
            <a:noFill/>
          </p:spPr>
          <p:txBody>
            <a:bodyPr wrap="square" lIns="186494" tIns="149196" rIns="186494" bIns="149196" rtlCol="0">
              <a:spAutoFit/>
            </a:bodyPr>
            <a:lstStyle/>
            <a:p>
              <a:pPr algn="ctr" defTabSz="932418"/>
              <a:r>
                <a:rPr lang="en-US" sz="918" b="1" kern="0" dirty="0">
                  <a:solidFill>
                    <a:srgbClr val="F2C812"/>
                  </a:solidFill>
                </a:rPr>
                <a:t>01001</a:t>
              </a:r>
            </a:p>
            <a:p>
              <a:pPr algn="ctr" defTabSz="932418"/>
              <a:r>
                <a:rPr lang="en-US" sz="918" b="1" kern="0" dirty="0">
                  <a:solidFill>
                    <a:srgbClr val="F2C812"/>
                  </a:solidFill>
                </a:rPr>
                <a:t>10101</a:t>
              </a:r>
            </a:p>
          </p:txBody>
        </p:sp>
      </p:grpSp>
      <p:grpSp>
        <p:nvGrpSpPr>
          <p:cNvPr id="137" name="Group 136"/>
          <p:cNvGrpSpPr/>
          <p:nvPr/>
        </p:nvGrpSpPr>
        <p:grpSpPr>
          <a:xfrm>
            <a:off x="6595600" y="2607402"/>
            <a:ext cx="4598130" cy="2235318"/>
            <a:chOff x="7018864" y="2257415"/>
            <a:chExt cx="5059237" cy="2459479"/>
          </a:xfrm>
        </p:grpSpPr>
        <p:grpSp>
          <p:nvGrpSpPr>
            <p:cNvPr id="138" name="Group 137"/>
            <p:cNvGrpSpPr/>
            <p:nvPr/>
          </p:nvGrpSpPr>
          <p:grpSpPr>
            <a:xfrm>
              <a:off x="7018864" y="2257415"/>
              <a:ext cx="5059237" cy="2459479"/>
              <a:chOff x="7018864" y="2257415"/>
              <a:chExt cx="5059237" cy="2459479"/>
            </a:xfrm>
          </p:grpSpPr>
          <p:grpSp>
            <p:nvGrpSpPr>
              <p:cNvPr id="140" name="Group 139"/>
              <p:cNvGrpSpPr>
                <a:grpSpLocks noChangeAspect="1"/>
              </p:cNvGrpSpPr>
              <p:nvPr/>
            </p:nvGrpSpPr>
            <p:grpSpPr>
              <a:xfrm>
                <a:off x="10432181" y="2257415"/>
                <a:ext cx="548640" cy="1042085"/>
                <a:chOff x="10286449" y="1529656"/>
                <a:chExt cx="917410" cy="1742525"/>
              </a:xfrm>
            </p:grpSpPr>
            <p:sp>
              <p:nvSpPr>
                <p:cNvPr id="253" name="Rounded Rectangle 252"/>
                <p:cNvSpPr/>
                <p:nvPr/>
              </p:nvSpPr>
              <p:spPr bwMode="auto">
                <a:xfrm>
                  <a:off x="10493458" y="1529656"/>
                  <a:ext cx="489183" cy="1739862"/>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spcBef>
                      <a:spcPct val="0"/>
                    </a:spcBef>
                    <a:spcAft>
                      <a:spcPct val="0"/>
                    </a:spcAft>
                  </a:pPr>
                  <a:endParaRPr lang="en-US" sz="204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54" name="Picture 253"/>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10372236" y="1690687"/>
                  <a:ext cx="745838" cy="1344992"/>
                </a:xfrm>
                <a:prstGeom prst="rect">
                  <a:avLst/>
                </a:prstGeom>
                <a:noFill/>
                <a:ln>
                  <a:noFill/>
                </a:ln>
              </p:spPr>
            </p:pic>
            <p:pic>
              <p:nvPicPr>
                <p:cNvPr id="255" name="Picture 254"/>
                <p:cNvPicPr>
                  <a:picLocks noChangeAspect="1"/>
                </p:cNvPicPr>
                <p:nvPr/>
              </p:nvPicPr>
              <p:blipFill rotWithShape="1">
                <a:blip r:embed="rId9" cstate="screen">
                  <a:extLst>
                    <a:ext uri="{28A0092B-C50C-407E-A947-70E740481C1C}">
                      <a14:useLocalDpi xmlns:a14="http://schemas.microsoft.com/office/drawing/2010/main" val="0"/>
                    </a:ext>
                  </a:extLst>
                </a:blip>
                <a:srcRect/>
                <a:stretch/>
              </p:blipFill>
              <p:spPr>
                <a:xfrm>
                  <a:off x="10372230" y="1818052"/>
                  <a:ext cx="745838" cy="1112933"/>
                </a:xfrm>
                <a:prstGeom prst="rect">
                  <a:avLst/>
                </a:prstGeom>
              </p:spPr>
            </p:pic>
            <p:sp>
              <p:nvSpPr>
                <p:cNvPr id="256" name="Rounded Rectangle 223"/>
                <p:cNvSpPr/>
                <p:nvPr/>
              </p:nvSpPr>
              <p:spPr bwMode="auto">
                <a:xfrm>
                  <a:off x="10286449" y="1529656"/>
                  <a:ext cx="917410" cy="1742525"/>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chemeClr val="tx1">
                    <a:lumMod val="95000"/>
                    <a:lumOff val="5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z="816" kern="0" spc="-50" dirty="0" err="1">
                    <a:solidFill>
                      <a:srgbClr val="68217A"/>
                    </a:solidFill>
                    <a:ea typeface="Segoe UI" pitchFamily="34" charset="0"/>
                    <a:cs typeface="Segoe UI" pitchFamily="34" charset="0"/>
                  </a:endParaRPr>
                </a:p>
              </p:txBody>
            </p:sp>
          </p:grpSp>
          <p:sp>
            <p:nvSpPr>
              <p:cNvPr id="146" name="Freeform 1383"/>
              <p:cNvSpPr>
                <a:spLocks noChangeAspect="1" noEditPoints="1"/>
              </p:cNvSpPr>
              <p:nvPr/>
            </p:nvSpPr>
            <p:spPr bwMode="auto">
              <a:xfrm>
                <a:off x="7018864" y="2534980"/>
                <a:ext cx="3840480" cy="2181914"/>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chemeClr val="bg2">
                  <a:lumMod val="10000"/>
                </a:schemeClr>
              </a:solidFill>
              <a:ln w="9525">
                <a:solidFill>
                  <a:schemeClr val="bg1"/>
                </a:solidFill>
              </a:ln>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121"/>
                <a:endParaRPr lang="en-US" sz="1632" dirty="0">
                  <a:solidFill>
                    <a:srgbClr val="000000"/>
                  </a:solidFill>
                </a:endParaRPr>
              </a:p>
            </p:txBody>
          </p:sp>
          <p:grpSp>
            <p:nvGrpSpPr>
              <p:cNvPr id="148" name="Group 147"/>
              <p:cNvGrpSpPr>
                <a:grpSpLocks noChangeAspect="1"/>
              </p:cNvGrpSpPr>
              <p:nvPr/>
            </p:nvGrpSpPr>
            <p:grpSpPr>
              <a:xfrm>
                <a:off x="10432181" y="3352369"/>
                <a:ext cx="1645920" cy="1132186"/>
                <a:chOff x="1117586" y="1978512"/>
                <a:chExt cx="2372574" cy="1629558"/>
              </a:xfrm>
            </p:grpSpPr>
            <p:pic>
              <p:nvPicPr>
                <p:cNvPr id="164" name="Picture 163"/>
                <p:cNvPicPr>
                  <a:picLocks noChangeAspect="1"/>
                </p:cNvPicPr>
                <p:nvPr/>
              </p:nvPicPr>
              <p:blipFill rotWithShape="1">
                <a:blip r:embed="rId10" cstate="screen">
                  <a:extLst>
                    <a:ext uri="{28A0092B-C50C-407E-A947-70E740481C1C}">
                      <a14:useLocalDpi xmlns:a14="http://schemas.microsoft.com/office/drawing/2010/main" val="0"/>
                    </a:ext>
                  </a:extLst>
                </a:blip>
                <a:srcRect/>
                <a:stretch/>
              </p:blipFill>
              <p:spPr>
                <a:xfrm>
                  <a:off x="1309718" y="2130700"/>
                  <a:ext cx="1845671" cy="1326874"/>
                </a:xfrm>
                <a:prstGeom prst="rect">
                  <a:avLst/>
                </a:prstGeom>
                <a:noFill/>
                <a:ln>
                  <a:noFill/>
                </a:ln>
              </p:spPr>
            </p:pic>
            <p:grpSp>
              <p:nvGrpSpPr>
                <p:cNvPr id="166" name="Group 165"/>
                <p:cNvGrpSpPr/>
                <p:nvPr/>
              </p:nvGrpSpPr>
              <p:grpSpPr>
                <a:xfrm>
                  <a:off x="1307936" y="2212479"/>
                  <a:ext cx="1844519" cy="1136088"/>
                  <a:chOff x="1276066" y="3677905"/>
                  <a:chExt cx="2524835" cy="1555113"/>
                </a:xfrm>
              </p:grpSpPr>
              <p:pic>
                <p:nvPicPr>
                  <p:cNvPr id="251" name="Picture 250"/>
                  <p:cNvPicPr>
                    <a:picLocks noChangeAspect="1"/>
                  </p:cNvPicPr>
                  <p:nvPr/>
                </p:nvPicPr>
                <p:blipFill rotWithShape="1">
                  <a:blip r:embed="rId11" cstate="screen">
                    <a:extLst>
                      <a:ext uri="{28A0092B-C50C-407E-A947-70E740481C1C}">
                        <a14:useLocalDpi xmlns:a14="http://schemas.microsoft.com/office/drawing/2010/main" val="0"/>
                      </a:ext>
                    </a:extLst>
                  </a:blip>
                  <a:srcRect/>
                  <a:stretch/>
                </p:blipFill>
                <p:spPr>
                  <a:xfrm>
                    <a:off x="1276066" y="3677905"/>
                    <a:ext cx="2524835" cy="1555113"/>
                  </a:xfrm>
                  <a:prstGeom prst="rect">
                    <a:avLst/>
                  </a:prstGeom>
                </p:spPr>
              </p:pic>
              <p:pic>
                <p:nvPicPr>
                  <p:cNvPr id="252" name="Picture 251"/>
                  <p:cNvPicPr>
                    <a:picLocks noChangeAspect="1"/>
                  </p:cNvPicPr>
                  <p:nvPr/>
                </p:nvPicPr>
                <p:blipFill rotWithShape="1">
                  <a:blip r:embed="rId12" cstate="screen">
                    <a:extLst>
                      <a:ext uri="{28A0092B-C50C-407E-A947-70E740481C1C}">
                        <a14:useLocalDpi xmlns:a14="http://schemas.microsoft.com/office/drawing/2010/main" val="0"/>
                      </a:ext>
                    </a:extLst>
                  </a:blip>
                  <a:srcRect/>
                  <a:stretch/>
                </p:blipFill>
                <p:spPr>
                  <a:xfrm>
                    <a:off x="2524585" y="4449793"/>
                    <a:ext cx="1269242" cy="783225"/>
                  </a:xfrm>
                  <a:prstGeom prst="rect">
                    <a:avLst/>
                  </a:prstGeom>
                </p:spPr>
              </p:pic>
            </p:grpSp>
            <p:grpSp>
              <p:nvGrpSpPr>
                <p:cNvPr id="167" name="Group 166"/>
                <p:cNvGrpSpPr/>
                <p:nvPr/>
              </p:nvGrpSpPr>
              <p:grpSpPr>
                <a:xfrm>
                  <a:off x="1117586" y="1978512"/>
                  <a:ext cx="2372574" cy="1629558"/>
                  <a:chOff x="1117586" y="1978512"/>
                  <a:chExt cx="2372574" cy="1629558"/>
                </a:xfrm>
              </p:grpSpPr>
              <p:sp>
                <p:nvSpPr>
                  <p:cNvPr id="248" name="Rounded Rectangle 89"/>
                  <p:cNvSpPr>
                    <a:spLocks noChangeAspect="1"/>
                  </p:cNvSpPr>
                  <p:nvPr/>
                </p:nvSpPr>
                <p:spPr bwMode="auto">
                  <a:xfrm rot="16200000">
                    <a:off x="1489094" y="1607004"/>
                    <a:ext cx="1629558" cy="2372574"/>
                  </a:xfrm>
                  <a:custGeom>
                    <a:avLst/>
                    <a:gdLst/>
                    <a:ahLst/>
                    <a:cxnLst/>
                    <a:rect l="l" t="t" r="r" b="b"/>
                    <a:pathLst>
                      <a:path w="3265981" h="3654426">
                        <a:moveTo>
                          <a:pt x="2686301" y="3311991"/>
                        </a:moveTo>
                        <a:cubicBezTo>
                          <a:pt x="2647724" y="3311991"/>
                          <a:pt x="2616451" y="3343264"/>
                          <a:pt x="2616451" y="3381841"/>
                        </a:cubicBezTo>
                        <a:cubicBezTo>
                          <a:pt x="2616451" y="3420417"/>
                          <a:pt x="2647724" y="3451690"/>
                          <a:pt x="2686301" y="3451690"/>
                        </a:cubicBezTo>
                        <a:lnTo>
                          <a:pt x="2698749" y="3451691"/>
                        </a:lnTo>
                        <a:cubicBezTo>
                          <a:pt x="2737326" y="3451691"/>
                          <a:pt x="2768599" y="3420418"/>
                          <a:pt x="2768599" y="3381841"/>
                        </a:cubicBezTo>
                        <a:lnTo>
                          <a:pt x="2768600" y="3381841"/>
                        </a:lnTo>
                        <a:cubicBezTo>
                          <a:pt x="2768600" y="3343264"/>
                          <a:pt x="2737327" y="3311991"/>
                          <a:pt x="2698750" y="3311991"/>
                        </a:cubicBezTo>
                        <a:close/>
                        <a:moveTo>
                          <a:pt x="2477370" y="3311991"/>
                        </a:moveTo>
                        <a:cubicBezTo>
                          <a:pt x="2438793" y="3311991"/>
                          <a:pt x="2407520" y="3343264"/>
                          <a:pt x="2407520" y="3381841"/>
                        </a:cubicBezTo>
                        <a:cubicBezTo>
                          <a:pt x="2407520" y="3420417"/>
                          <a:pt x="2438793" y="3451690"/>
                          <a:pt x="2477370" y="3451690"/>
                        </a:cubicBezTo>
                        <a:lnTo>
                          <a:pt x="2490960" y="3451691"/>
                        </a:lnTo>
                        <a:cubicBezTo>
                          <a:pt x="2529537" y="3451691"/>
                          <a:pt x="2560810" y="3420418"/>
                          <a:pt x="2560810" y="3381841"/>
                        </a:cubicBezTo>
                        <a:lnTo>
                          <a:pt x="2560811" y="3381841"/>
                        </a:lnTo>
                        <a:cubicBezTo>
                          <a:pt x="2560811" y="3343264"/>
                          <a:pt x="2529538" y="3311991"/>
                          <a:pt x="2490961" y="3311991"/>
                        </a:cubicBezTo>
                        <a:close/>
                        <a:moveTo>
                          <a:pt x="1951037" y="3311991"/>
                        </a:moveTo>
                        <a:cubicBezTo>
                          <a:pt x="1912460" y="3311991"/>
                          <a:pt x="1881187" y="3343264"/>
                          <a:pt x="1881187" y="3381841"/>
                        </a:cubicBezTo>
                        <a:cubicBezTo>
                          <a:pt x="1881187" y="3420417"/>
                          <a:pt x="1912460" y="3451690"/>
                          <a:pt x="1951037" y="3451690"/>
                        </a:cubicBezTo>
                        <a:lnTo>
                          <a:pt x="2282030" y="3451691"/>
                        </a:lnTo>
                        <a:cubicBezTo>
                          <a:pt x="2320607" y="3451691"/>
                          <a:pt x="2351880" y="3420418"/>
                          <a:pt x="2351880" y="3381841"/>
                        </a:cubicBezTo>
                        <a:lnTo>
                          <a:pt x="2351881" y="3381841"/>
                        </a:lnTo>
                        <a:cubicBezTo>
                          <a:pt x="2351881" y="3343264"/>
                          <a:pt x="2320608" y="3311991"/>
                          <a:pt x="2282031" y="3311991"/>
                        </a:cubicBezTo>
                        <a:close/>
                        <a:moveTo>
                          <a:pt x="299489" y="299430"/>
                        </a:moveTo>
                        <a:lnTo>
                          <a:pt x="299489" y="3141056"/>
                        </a:lnTo>
                        <a:lnTo>
                          <a:pt x="2966489" y="3141056"/>
                        </a:lnTo>
                        <a:lnTo>
                          <a:pt x="2966489" y="299430"/>
                        </a:lnTo>
                        <a:close/>
                        <a:moveTo>
                          <a:pt x="134787" y="0"/>
                        </a:moveTo>
                        <a:lnTo>
                          <a:pt x="3131194" y="0"/>
                        </a:lnTo>
                        <a:cubicBezTo>
                          <a:pt x="3205635" y="0"/>
                          <a:pt x="3265981" y="60346"/>
                          <a:pt x="3265981" y="134787"/>
                        </a:cubicBezTo>
                        <a:lnTo>
                          <a:pt x="3265981" y="3519639"/>
                        </a:lnTo>
                        <a:cubicBezTo>
                          <a:pt x="3265981" y="3594080"/>
                          <a:pt x="3205635" y="3654426"/>
                          <a:pt x="3131194" y="3654426"/>
                        </a:cubicBezTo>
                        <a:lnTo>
                          <a:pt x="134787" y="3654426"/>
                        </a:lnTo>
                        <a:cubicBezTo>
                          <a:pt x="60346" y="3654426"/>
                          <a:pt x="0" y="3594080"/>
                          <a:pt x="0" y="3519639"/>
                        </a:cubicBezTo>
                        <a:lnTo>
                          <a:pt x="0" y="134787"/>
                        </a:lnTo>
                        <a:cubicBezTo>
                          <a:pt x="0" y="60346"/>
                          <a:pt x="60346" y="0"/>
                          <a:pt x="134787" y="0"/>
                        </a:cubicBezTo>
                        <a:close/>
                      </a:path>
                    </a:pathLst>
                  </a:custGeom>
                  <a:solidFill>
                    <a:schemeClr val="bg2">
                      <a:lumMod val="1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z="816" kern="0" spc="-50" dirty="0" err="1">
                      <a:solidFill>
                        <a:srgbClr val="68217A"/>
                      </a:solidFill>
                      <a:ea typeface="Segoe UI" pitchFamily="34" charset="0"/>
                      <a:cs typeface="Segoe UI" pitchFamily="34" charset="0"/>
                    </a:endParaRPr>
                  </a:p>
                </p:txBody>
              </p:sp>
              <p:sp>
                <p:nvSpPr>
                  <p:cNvPr id="249" name="Rectangle 248"/>
                  <p:cNvSpPr/>
                  <p:nvPr/>
                </p:nvSpPr>
                <p:spPr bwMode="auto">
                  <a:xfrm>
                    <a:off x="3172854" y="2198842"/>
                    <a:ext cx="307998" cy="808750"/>
                  </a:xfrm>
                  <a:prstGeom prst="rect">
                    <a:avLst/>
                  </a:prstGeom>
                  <a:solidFill>
                    <a:schemeClr val="bg2">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spcBef>
                        <a:spcPct val="0"/>
                      </a:spcBef>
                      <a:spcAft>
                        <a:spcPct val="0"/>
                      </a:spcAft>
                    </a:pPr>
                    <a:endParaRPr lang="en-US" sz="204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50" name="Picture 249"/>
                  <p:cNvPicPr>
                    <a:picLocks noChangeAspect="1"/>
                  </p:cNvPicPr>
                  <p:nvPr/>
                </p:nvPicPr>
                <p:blipFill>
                  <a:blip r:embed="rId13" cstate="screen">
                    <a:biLevel thresh="25000"/>
                    <a:extLst>
                      <a:ext uri="{28A0092B-C50C-407E-A947-70E740481C1C}">
                        <a14:useLocalDpi xmlns:a14="http://schemas.microsoft.com/office/drawing/2010/main" val="0"/>
                      </a:ext>
                    </a:extLst>
                  </a:blip>
                  <a:stretch>
                    <a:fillRect/>
                  </a:stretch>
                </p:blipFill>
                <p:spPr>
                  <a:xfrm>
                    <a:off x="3229523" y="2739186"/>
                    <a:ext cx="195334" cy="108208"/>
                  </a:xfrm>
                  <a:prstGeom prst="rect">
                    <a:avLst/>
                  </a:prstGeom>
                </p:spPr>
              </p:pic>
            </p:grpSp>
          </p:grpSp>
        </p:grpSp>
        <p:pic>
          <p:nvPicPr>
            <p:cNvPr id="139" name="Picture 138"/>
            <p:cNvPicPr>
              <a:picLocks noChangeAspect="1"/>
            </p:cNvPicPr>
            <p:nvPr/>
          </p:nvPicPr>
          <p:blipFill>
            <a:blip r:embed="rId14"/>
            <a:stretch>
              <a:fillRect/>
            </a:stretch>
          </p:blipFill>
          <p:spPr>
            <a:xfrm>
              <a:off x="7626151" y="2638675"/>
              <a:ext cx="2647950" cy="1733550"/>
            </a:xfrm>
            <a:prstGeom prst="rect">
              <a:avLst/>
            </a:prstGeom>
          </p:spPr>
        </p:pic>
      </p:grpSp>
      <p:sp>
        <p:nvSpPr>
          <p:cNvPr id="136" name="Title 3"/>
          <p:cNvSpPr txBox="1">
            <a:spLocks/>
          </p:cNvSpPr>
          <p:nvPr/>
        </p:nvSpPr>
        <p:spPr>
          <a:xfrm>
            <a:off x="275164" y="292537"/>
            <a:ext cx="11885514" cy="946279"/>
          </a:xfrm>
          <a:prstGeom prst="rect">
            <a:avLst/>
          </a:prstGeom>
        </p:spPr>
        <p:txBody>
          <a:bodyPr vert="horz" wrap="square" lIns="146283" tIns="91427" rIns="146283" bIns="91427" rtlCol="0" anchor="t">
            <a:noAutofit/>
          </a:bodyPr>
          <a:lstStyle>
            <a:lvl1pPr algn="l" defTabSz="932563" rtl="0" eaLnBrk="1" latinLnBrk="0" hangingPunct="1">
              <a:lnSpc>
                <a:spcPct val="90000"/>
              </a:lnSpc>
              <a:spcBef>
                <a:spcPct val="0"/>
              </a:spcBef>
              <a:buNone/>
              <a:defRPr lang="en-US" sz="5198" b="0" kern="1200" cap="none" spc="-102" baseline="0">
                <a:ln w="3175">
                  <a:noFill/>
                </a:ln>
                <a:solidFill>
                  <a:schemeClr val="tx2"/>
                </a:solidFill>
                <a:effectLst/>
                <a:latin typeface="+mj-lt"/>
                <a:ea typeface="+mn-ea"/>
                <a:cs typeface="Segoe UI" pitchFamily="34" charset="0"/>
              </a:defRPr>
            </a:lvl1pPr>
          </a:lstStyle>
          <a:p>
            <a:pPr defTabSz="932384">
              <a:defRPr/>
            </a:pPr>
            <a:r>
              <a:rPr lang="en-US" sz="5399" dirty="0">
                <a:solidFill>
                  <a:schemeClr val="tx2">
                    <a:lumMod val="10000"/>
                  </a:schemeClr>
                </a:solidFill>
                <a:latin typeface="Segoe UI Light"/>
              </a:rPr>
              <a:t>Power BI overview</a:t>
            </a:r>
            <a:endParaRPr lang="en-US" sz="3599" dirty="0">
              <a:solidFill>
                <a:schemeClr val="tx2">
                  <a:lumMod val="10000"/>
                </a:schemeClr>
              </a:solidFill>
              <a:latin typeface="Segoe UI Light"/>
            </a:endParaRPr>
          </a:p>
        </p:txBody>
      </p:sp>
      <p:sp>
        <p:nvSpPr>
          <p:cNvPr id="169" name="Oval 168"/>
          <p:cNvSpPr/>
          <p:nvPr/>
        </p:nvSpPr>
        <p:spPr bwMode="auto">
          <a:xfrm>
            <a:off x="3278516" y="2631548"/>
            <a:ext cx="901700" cy="909521"/>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70" name="Freeform 9"/>
          <p:cNvSpPr>
            <a:spLocks noEditPoints="1"/>
          </p:cNvSpPr>
          <p:nvPr/>
        </p:nvSpPr>
        <p:spPr bwMode="black">
          <a:xfrm>
            <a:off x="3452353" y="2803135"/>
            <a:ext cx="612102" cy="614589"/>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2">
              <a:lumMod val="25000"/>
            </a:schemeClr>
          </a:solidFill>
          <a:ln>
            <a:noFill/>
          </a:ln>
          <a:extLst/>
        </p:spPr>
        <p:txBody>
          <a:bodyPr vert="horz" wrap="square" lIns="91427" tIns="45713" rIns="91427" bIns="45713" numCol="1" anchor="ctr" anchorCtr="0" compatLnSpc="1">
            <a:prstTxWarp prst="textNoShape">
              <a:avLst/>
            </a:prstTxWarp>
          </a:bodyPr>
          <a:lstStyle/>
          <a:p>
            <a:pPr defTabSz="932563"/>
            <a:endParaRPr lang="en-US" dirty="0">
              <a:solidFill>
                <a:srgbClr val="68217A"/>
              </a:solidFill>
            </a:endParaRPr>
          </a:p>
        </p:txBody>
      </p:sp>
    </p:spTree>
    <p:extLst>
      <p:ext uri="{BB962C8B-B14F-4D97-AF65-F5344CB8AC3E}">
        <p14:creationId xmlns:p14="http://schemas.microsoft.com/office/powerpoint/2010/main" val="1254234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9"/>
                                        </p:tgtEl>
                                        <p:attrNameLst>
                                          <p:attrName>style.visibility</p:attrName>
                                        </p:attrNameLst>
                                      </p:cBhvr>
                                      <p:to>
                                        <p:strVal val="visible"/>
                                      </p:to>
                                    </p:set>
                                    <p:animEffect transition="in" filter="fade">
                                      <p:cBhvr>
                                        <p:cTn id="7" dur="500"/>
                                        <p:tgtEl>
                                          <p:spTgt spid="169"/>
                                        </p:tgtEl>
                                      </p:cBhvr>
                                    </p:animEffect>
                                  </p:childTnLst>
                                </p:cTn>
                              </p:par>
                              <p:par>
                                <p:cTn id="8" presetID="42" presetClass="path" presetSubtype="0" accel="34000" decel="66000" fill="hold" grpId="1" nodeType="withEffect">
                                  <p:stCondLst>
                                    <p:cond delay="0"/>
                                  </p:stCondLst>
                                  <p:childTnLst>
                                    <p:animMotion origin="layout" path="M -0.12038 0.01203 L 3.17845E-6 3.47708E-6 " pathEditMode="relative" rAng="0" ptsTypes="AA">
                                      <p:cBhvr>
                                        <p:cTn id="9" dur="1000" fill="hold"/>
                                        <p:tgtEl>
                                          <p:spTgt spid="169"/>
                                        </p:tgtEl>
                                        <p:attrNameLst>
                                          <p:attrName>ppt_x</p:attrName>
                                          <p:attrName>ppt_y</p:attrName>
                                        </p:attrNameLst>
                                      </p:cBhvr>
                                      <p:rCtr x="6012" y="-613"/>
                                    </p:animMotion>
                                  </p:childTnLst>
                                </p:cTn>
                              </p:par>
                            </p:childTnLst>
                          </p:cTn>
                        </p:par>
                        <p:par>
                          <p:cTn id="10" fill="hold">
                            <p:stCondLst>
                              <p:cond delay="1000"/>
                            </p:stCondLst>
                            <p:childTnLst>
                              <p:par>
                                <p:cTn id="11" presetID="10" presetClass="entr" presetSubtype="0" fill="hold" grpId="0" nodeType="afterEffect">
                                  <p:stCondLst>
                                    <p:cond delay="0"/>
                                  </p:stCondLst>
                                  <p:childTnLst>
                                    <p:set>
                                      <p:cBhvr>
                                        <p:cTn id="12" dur="1" fill="hold">
                                          <p:stCondLst>
                                            <p:cond delay="0"/>
                                          </p:stCondLst>
                                        </p:cTn>
                                        <p:tgtEl>
                                          <p:spTgt spid="170"/>
                                        </p:tgtEl>
                                        <p:attrNameLst>
                                          <p:attrName>style.visibility</p:attrName>
                                        </p:attrNameLst>
                                      </p:cBhvr>
                                      <p:to>
                                        <p:strVal val="visible"/>
                                      </p:to>
                                    </p:set>
                                    <p:animEffect transition="in" filter="fade">
                                      <p:cBhvr>
                                        <p:cTn id="13" dur="500"/>
                                        <p:tgtEl>
                                          <p:spTgt spid="170"/>
                                        </p:tgtEl>
                                      </p:cBhvr>
                                    </p:animEffect>
                                  </p:childTnLst>
                                </p:cTn>
                              </p:par>
                              <p:par>
                                <p:cTn id="14" presetID="42" presetClass="path" presetSubtype="0" accel="34000" decel="66000" fill="hold" grpId="1" nodeType="withEffect">
                                  <p:stCondLst>
                                    <p:cond delay="0"/>
                                  </p:stCondLst>
                                  <p:childTnLst>
                                    <p:animMotion origin="layout" path="M -0.12433 0.00295 L -3.62522E-7 1.49342E-6 " pathEditMode="relative" rAng="0" ptsTypes="AA">
                                      <p:cBhvr>
                                        <p:cTn id="15" dur="1000" fill="hold"/>
                                        <p:tgtEl>
                                          <p:spTgt spid="170"/>
                                        </p:tgtEl>
                                        <p:attrNameLst>
                                          <p:attrName>ppt_x</p:attrName>
                                          <p:attrName>ppt_y</p:attrName>
                                        </p:attrNameLst>
                                      </p:cBhvr>
                                      <p:rCtr x="6216" y="-1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9" grpId="0" animBg="1"/>
      <p:bldP spid="169" grpId="1" animBg="1"/>
      <p:bldP spid="170" grpId="0" animBg="1"/>
      <p:bldP spid="170" grpId="1"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Freeform 19"/>
          <p:cNvSpPr>
            <a:spLocks/>
          </p:cNvSpPr>
          <p:nvPr/>
        </p:nvSpPr>
        <p:spPr bwMode="auto">
          <a:xfrm>
            <a:off x="10929474" y="3934356"/>
            <a:ext cx="1282224" cy="800224"/>
          </a:xfrm>
          <a:custGeom>
            <a:avLst/>
            <a:gdLst>
              <a:gd name="T0" fmla="*/ 884 w 1350"/>
              <a:gd name="T1" fmla="*/ 0 h 841"/>
              <a:gd name="T2" fmla="*/ 648 w 1350"/>
              <a:gd name="T3" fmla="*/ 135 h 841"/>
              <a:gd name="T4" fmla="*/ 542 w 1350"/>
              <a:gd name="T5" fmla="*/ 114 h 841"/>
              <a:gd name="T6" fmla="*/ 352 w 1350"/>
              <a:gd name="T7" fmla="*/ 189 h 841"/>
              <a:gd name="T8" fmla="*/ 286 w 1350"/>
              <a:gd name="T9" fmla="*/ 287 h 841"/>
              <a:gd name="T10" fmla="*/ 274 w 1350"/>
              <a:gd name="T11" fmla="*/ 287 h 841"/>
              <a:gd name="T12" fmla="*/ 82 w 1350"/>
              <a:gd name="T13" fmla="*/ 369 h 841"/>
              <a:gd name="T14" fmla="*/ 0 w 1350"/>
              <a:gd name="T15" fmla="*/ 563 h 841"/>
              <a:gd name="T16" fmla="*/ 82 w 1350"/>
              <a:gd name="T17" fmla="*/ 758 h 841"/>
              <a:gd name="T18" fmla="*/ 274 w 1350"/>
              <a:gd name="T19" fmla="*/ 841 h 841"/>
              <a:gd name="T20" fmla="*/ 1076 w 1350"/>
              <a:gd name="T21" fmla="*/ 841 h 841"/>
              <a:gd name="T22" fmla="*/ 1272 w 1350"/>
              <a:gd name="T23" fmla="*/ 758 h 841"/>
              <a:gd name="T24" fmla="*/ 1350 w 1350"/>
              <a:gd name="T25" fmla="*/ 563 h 841"/>
              <a:gd name="T26" fmla="*/ 1272 w 1350"/>
              <a:gd name="T27" fmla="*/ 370 h 841"/>
              <a:gd name="T28" fmla="*/ 1152 w 1350"/>
              <a:gd name="T29" fmla="*/ 297 h 841"/>
              <a:gd name="T30" fmla="*/ 1152 w 1350"/>
              <a:gd name="T31" fmla="*/ 277 h 841"/>
              <a:gd name="T32" fmla="*/ 1076 w 1350"/>
              <a:gd name="T33" fmla="*/ 84 h 841"/>
              <a:gd name="T34" fmla="*/ 884 w 1350"/>
              <a:gd name="T35" fmla="*/ 0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0" h="841">
                <a:moveTo>
                  <a:pt x="884" y="0"/>
                </a:moveTo>
                <a:cubicBezTo>
                  <a:pt x="786" y="0"/>
                  <a:pt x="698" y="54"/>
                  <a:pt x="648" y="135"/>
                </a:cubicBezTo>
                <a:cubicBezTo>
                  <a:pt x="616" y="121"/>
                  <a:pt x="579" y="114"/>
                  <a:pt x="542" y="114"/>
                </a:cubicBezTo>
                <a:cubicBezTo>
                  <a:pt x="470" y="114"/>
                  <a:pt x="403" y="141"/>
                  <a:pt x="352" y="189"/>
                </a:cubicBezTo>
                <a:cubicBezTo>
                  <a:pt x="323" y="217"/>
                  <a:pt x="301" y="250"/>
                  <a:pt x="286" y="287"/>
                </a:cubicBezTo>
                <a:cubicBezTo>
                  <a:pt x="282" y="287"/>
                  <a:pt x="278" y="287"/>
                  <a:pt x="274" y="287"/>
                </a:cubicBezTo>
                <a:cubicBezTo>
                  <a:pt x="203" y="287"/>
                  <a:pt x="134" y="316"/>
                  <a:pt x="82" y="369"/>
                </a:cubicBezTo>
                <a:cubicBezTo>
                  <a:pt x="30" y="421"/>
                  <a:pt x="0" y="490"/>
                  <a:pt x="0" y="563"/>
                </a:cubicBezTo>
                <a:cubicBezTo>
                  <a:pt x="0" y="636"/>
                  <a:pt x="30" y="705"/>
                  <a:pt x="82" y="758"/>
                </a:cubicBezTo>
                <a:cubicBezTo>
                  <a:pt x="134" y="812"/>
                  <a:pt x="203" y="841"/>
                  <a:pt x="274" y="841"/>
                </a:cubicBezTo>
                <a:cubicBezTo>
                  <a:pt x="1076" y="841"/>
                  <a:pt x="1076" y="841"/>
                  <a:pt x="1076" y="841"/>
                </a:cubicBezTo>
                <a:cubicBezTo>
                  <a:pt x="1151" y="841"/>
                  <a:pt x="1220" y="812"/>
                  <a:pt x="1272" y="758"/>
                </a:cubicBezTo>
                <a:cubicBezTo>
                  <a:pt x="1322" y="705"/>
                  <a:pt x="1350" y="636"/>
                  <a:pt x="1350" y="563"/>
                </a:cubicBezTo>
                <a:cubicBezTo>
                  <a:pt x="1350" y="490"/>
                  <a:pt x="1322" y="421"/>
                  <a:pt x="1272" y="370"/>
                </a:cubicBezTo>
                <a:cubicBezTo>
                  <a:pt x="1238" y="334"/>
                  <a:pt x="1197" y="310"/>
                  <a:pt x="1152" y="297"/>
                </a:cubicBezTo>
                <a:cubicBezTo>
                  <a:pt x="1152" y="291"/>
                  <a:pt x="1152" y="284"/>
                  <a:pt x="1152" y="277"/>
                </a:cubicBezTo>
                <a:cubicBezTo>
                  <a:pt x="1152" y="205"/>
                  <a:pt x="1125" y="136"/>
                  <a:pt x="1076" y="84"/>
                </a:cubicBezTo>
                <a:cubicBezTo>
                  <a:pt x="1025" y="30"/>
                  <a:pt x="956" y="0"/>
                  <a:pt x="884" y="0"/>
                </a:cubicBezTo>
                <a:close/>
              </a:path>
            </a:pathLst>
          </a:custGeom>
          <a:noFill/>
          <a:ln w="254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Rectangle 50"/>
          <p:cNvSpPr/>
          <p:nvPr/>
        </p:nvSpPr>
        <p:spPr bwMode="auto">
          <a:xfrm>
            <a:off x="5939451" y="1630337"/>
            <a:ext cx="2830391" cy="3847596"/>
          </a:xfrm>
          <a:prstGeom prst="rect">
            <a:avLst/>
          </a:prstGeom>
          <a:solidFill>
            <a:srgbClr val="5E5E5E"/>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6637" rIns="0" bIns="46637" numCol="1" rtlCol="0" anchor="t" anchorCtr="0" compatLnSpc="1">
            <a:prstTxWarp prst="textNoShape">
              <a:avLst/>
            </a:prstTxWarp>
          </a:bodyPr>
          <a:lstStyle/>
          <a:p>
            <a:pPr marL="114300"/>
            <a:r>
              <a:rPr lang="en-US" sz="6000" spc="-151" dirty="0">
                <a:ln>
                  <a:solidFill>
                    <a:srgbClr val="FFFFFF">
                      <a:alpha val="0"/>
                    </a:srgbClr>
                  </a:solidFill>
                </a:ln>
                <a:solidFill>
                  <a:srgbClr val="FFFFFF"/>
                </a:solidFill>
                <a:cs typeface="Segoe UI Semilight" panose="020B0402040204020203" pitchFamily="34" charset="0"/>
              </a:rPr>
              <a:t>10% </a:t>
            </a:r>
          </a:p>
          <a:p>
            <a:pPr marL="114300" lvl="0"/>
            <a:r>
              <a:rPr lang="en-US" sz="1800" dirty="0">
                <a:ln>
                  <a:solidFill>
                    <a:srgbClr val="FFFFFF">
                      <a:alpha val="0"/>
                    </a:srgbClr>
                  </a:solidFill>
                </a:ln>
                <a:solidFill>
                  <a:srgbClr val="FFFFFF"/>
                </a:solidFill>
                <a:cs typeface="Segoe UI Semilight" panose="020B0402040204020203" pitchFamily="34" charset="0"/>
              </a:rPr>
              <a:t>Organizations</a:t>
            </a:r>
          </a:p>
          <a:p>
            <a:pPr marL="114300"/>
            <a:endParaRPr lang="en-US" sz="2000" dirty="0">
              <a:gradFill>
                <a:gsLst>
                  <a:gs pos="0">
                    <a:srgbClr val="FFFFFF"/>
                  </a:gs>
                  <a:gs pos="100000">
                    <a:srgbClr val="FFFFFF"/>
                  </a:gs>
                </a:gsLst>
                <a:lin ang="5400000" scaled="0"/>
              </a:gradFill>
            </a:endParaRPr>
          </a:p>
          <a:p>
            <a:pPr marL="114300"/>
            <a:endParaRPr lang="en-US" sz="1400" i="1" dirty="0">
              <a:solidFill>
                <a:schemeClr val="bg1"/>
              </a:solidFill>
            </a:endParaRPr>
          </a:p>
          <a:p>
            <a:pPr marL="114300"/>
            <a:endParaRPr lang="en-US" sz="1400" i="1" dirty="0">
              <a:solidFill>
                <a:schemeClr val="bg1"/>
              </a:solidFill>
            </a:endParaRPr>
          </a:p>
          <a:p>
            <a:pPr marL="114300"/>
            <a:endParaRPr lang="en-US" sz="1400" i="1" dirty="0">
              <a:solidFill>
                <a:schemeClr val="bg1"/>
              </a:solidFill>
            </a:endParaRPr>
          </a:p>
          <a:p>
            <a:pPr marL="114300"/>
            <a:endParaRPr lang="en-US" sz="1400" i="1" dirty="0">
              <a:solidFill>
                <a:schemeClr val="bg1"/>
              </a:solidFill>
            </a:endParaRPr>
          </a:p>
          <a:p>
            <a:pPr marL="114300"/>
            <a:endParaRPr lang="en-US" sz="1400" i="1" dirty="0">
              <a:solidFill>
                <a:schemeClr val="bg1"/>
              </a:solidFill>
            </a:endParaRPr>
          </a:p>
          <a:p>
            <a:pPr marL="114300"/>
            <a:endParaRPr lang="en-US" sz="1400" i="1" dirty="0">
              <a:solidFill>
                <a:schemeClr val="bg1"/>
              </a:solidFill>
            </a:endParaRPr>
          </a:p>
          <a:p>
            <a:pPr marL="114300"/>
            <a:endParaRPr lang="en-US" sz="1400" i="1" dirty="0">
              <a:solidFill>
                <a:schemeClr val="bg1"/>
              </a:solidFill>
            </a:endParaRPr>
          </a:p>
          <a:p>
            <a:pPr marL="114300"/>
            <a:endParaRPr lang="en-US" sz="1400" i="1" dirty="0">
              <a:solidFill>
                <a:schemeClr val="bg1"/>
              </a:solidFill>
            </a:endParaRPr>
          </a:p>
          <a:p>
            <a:pPr marL="114300"/>
            <a:endParaRPr lang="en-US" sz="1400" i="1" dirty="0">
              <a:solidFill>
                <a:schemeClr val="bg1"/>
              </a:solidFill>
            </a:endParaRPr>
          </a:p>
          <a:p>
            <a:pPr marL="114300"/>
            <a:r>
              <a:rPr lang="en-US" sz="1400" i="1" dirty="0">
                <a:solidFill>
                  <a:schemeClr val="bg1"/>
                </a:solidFill>
              </a:rPr>
              <a:t>Gartner 2016</a:t>
            </a:r>
          </a:p>
        </p:txBody>
      </p:sp>
      <p:sp>
        <p:nvSpPr>
          <p:cNvPr id="36" name="Rectangle 35"/>
          <p:cNvSpPr/>
          <p:nvPr/>
        </p:nvSpPr>
        <p:spPr bwMode="auto">
          <a:xfrm>
            <a:off x="477873" y="1630337"/>
            <a:ext cx="5352772" cy="3847596"/>
          </a:xfrm>
          <a:prstGeom prst="rect">
            <a:avLst/>
          </a:prstGeom>
          <a:solidFill>
            <a:srgbClr val="F2C81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6637" rIns="0" bIns="46637" numCol="1" rtlCol="0" anchor="t" anchorCtr="0" compatLnSpc="1">
            <a:prstTxWarp prst="textNoShape">
              <a:avLst/>
            </a:prstTxWarp>
          </a:bodyPr>
          <a:lstStyle/>
          <a:p>
            <a:pPr marL="114300" defTabSz="932305" fontAlgn="auto">
              <a:spcBef>
                <a:spcPts val="0"/>
              </a:spcBef>
              <a:spcAft>
                <a:spcPts val="0"/>
              </a:spcAft>
            </a:pPr>
            <a:r>
              <a:rPr lang="en-US" sz="6000" spc="-151" dirty="0">
                <a:ln>
                  <a:solidFill>
                    <a:srgbClr val="FFFFFF">
                      <a:alpha val="0"/>
                    </a:srgbClr>
                  </a:solidFill>
                </a:ln>
                <a:solidFill>
                  <a:schemeClr val="tx2">
                    <a:lumMod val="10000"/>
                  </a:schemeClr>
                </a:solidFill>
                <a:cs typeface="Segoe UI Semilight" panose="020B0402040204020203" pitchFamily="34" charset="0"/>
              </a:rPr>
              <a:t>$1.6 trillion</a:t>
            </a:r>
          </a:p>
          <a:p>
            <a:pPr marL="114300"/>
            <a:r>
              <a:rPr lang="en-US" sz="1800" dirty="0">
                <a:ln>
                  <a:solidFill>
                    <a:srgbClr val="FFFFFF">
                      <a:alpha val="0"/>
                    </a:srgbClr>
                  </a:solidFill>
                </a:ln>
                <a:solidFill>
                  <a:schemeClr val="tx2">
                    <a:lumMod val="10000"/>
                  </a:schemeClr>
                </a:solidFill>
                <a:cs typeface="Segoe UI Semilight" panose="020B0402040204020203" pitchFamily="34" charset="0"/>
              </a:rPr>
              <a:t>Enabled by cloud innovation</a:t>
            </a:r>
          </a:p>
          <a:p>
            <a:pPr marL="114300"/>
            <a:endParaRPr lang="en-US" sz="2000" dirty="0">
              <a:solidFill>
                <a:schemeClr val="tx2">
                  <a:lumMod val="10000"/>
                </a:schemeClr>
              </a:solidFill>
            </a:endParaRPr>
          </a:p>
          <a:p>
            <a:pPr marL="114300"/>
            <a:r>
              <a:rPr lang="en-US" sz="1400" dirty="0">
                <a:ln>
                  <a:solidFill>
                    <a:srgbClr val="FFFFFF">
                      <a:alpha val="0"/>
                    </a:srgbClr>
                  </a:solidFill>
                </a:ln>
                <a:solidFill>
                  <a:schemeClr val="tx2">
                    <a:lumMod val="10000"/>
                  </a:schemeClr>
                </a:solidFill>
                <a:cs typeface="Segoe UI Semilight" panose="020B0402040204020203" pitchFamily="34" charset="0"/>
              </a:rPr>
              <a:t>Additional business value captured by companies that are </a:t>
            </a:r>
            <a:br>
              <a:rPr lang="en-US" sz="1400" dirty="0">
                <a:ln>
                  <a:solidFill>
                    <a:srgbClr val="FFFFFF">
                      <a:alpha val="0"/>
                    </a:srgbClr>
                  </a:solidFill>
                </a:ln>
                <a:solidFill>
                  <a:schemeClr val="tx2">
                    <a:lumMod val="10000"/>
                  </a:schemeClr>
                </a:solidFill>
                <a:cs typeface="Segoe UI Semilight" panose="020B0402040204020203" pitchFamily="34" charset="0"/>
              </a:rPr>
            </a:br>
            <a:r>
              <a:rPr lang="en-US" sz="1400" dirty="0">
                <a:ln>
                  <a:solidFill>
                    <a:srgbClr val="FFFFFF">
                      <a:alpha val="0"/>
                    </a:srgbClr>
                  </a:solidFill>
                </a:ln>
                <a:solidFill>
                  <a:schemeClr val="tx2">
                    <a:lumMod val="10000"/>
                  </a:schemeClr>
                </a:solidFill>
                <a:cs typeface="Segoe UI Semilight" panose="020B0402040204020203" pitchFamily="34" charset="0"/>
              </a:rPr>
              <a:t>leaders in using data assets to their advantage</a:t>
            </a:r>
          </a:p>
          <a:p>
            <a:r>
              <a:rPr lang="en-US" sz="1400" dirty="0">
                <a:solidFill>
                  <a:schemeClr val="tx2">
                    <a:lumMod val="10000"/>
                  </a:schemeClr>
                </a:solidFill>
              </a:rPr>
              <a:t> </a:t>
            </a:r>
            <a:br>
              <a:rPr lang="en-US" sz="1400" dirty="0">
                <a:solidFill>
                  <a:schemeClr val="tx2">
                    <a:lumMod val="10000"/>
                  </a:schemeClr>
                </a:solidFill>
              </a:rPr>
            </a:br>
            <a:endParaRPr lang="en-US" sz="1400" dirty="0">
              <a:solidFill>
                <a:schemeClr val="tx2">
                  <a:lumMod val="10000"/>
                </a:schemeClr>
              </a:solidFill>
            </a:endParaRPr>
          </a:p>
          <a:p>
            <a:pPr marL="114300" defTabSz="932305" fontAlgn="auto">
              <a:spcBef>
                <a:spcPts val="0"/>
              </a:spcBef>
              <a:spcAft>
                <a:spcPts val="0"/>
              </a:spcAft>
            </a:pPr>
            <a:endParaRPr lang="en-US" sz="1400" i="1" dirty="0">
              <a:solidFill>
                <a:schemeClr val="tx2">
                  <a:lumMod val="10000"/>
                </a:schemeClr>
              </a:solidFill>
            </a:endParaRPr>
          </a:p>
          <a:p>
            <a:pPr marL="114300" defTabSz="932305" fontAlgn="auto">
              <a:spcBef>
                <a:spcPts val="0"/>
              </a:spcBef>
              <a:spcAft>
                <a:spcPts val="0"/>
              </a:spcAft>
            </a:pPr>
            <a:endParaRPr lang="en-US" sz="1400" i="1" dirty="0">
              <a:solidFill>
                <a:schemeClr val="tx2">
                  <a:lumMod val="10000"/>
                </a:schemeClr>
              </a:solidFill>
            </a:endParaRPr>
          </a:p>
          <a:p>
            <a:pPr marL="114300" defTabSz="932305" fontAlgn="auto">
              <a:spcBef>
                <a:spcPts val="0"/>
              </a:spcBef>
              <a:spcAft>
                <a:spcPts val="0"/>
              </a:spcAft>
            </a:pPr>
            <a:endParaRPr lang="en-US" sz="1400" i="1" dirty="0">
              <a:solidFill>
                <a:schemeClr val="tx2">
                  <a:lumMod val="10000"/>
                </a:schemeClr>
              </a:solidFill>
            </a:endParaRPr>
          </a:p>
          <a:p>
            <a:pPr marL="114300" defTabSz="932305" fontAlgn="auto">
              <a:spcBef>
                <a:spcPts val="0"/>
              </a:spcBef>
              <a:spcAft>
                <a:spcPts val="0"/>
              </a:spcAft>
            </a:pPr>
            <a:endParaRPr lang="en-US" sz="1400" i="1" dirty="0">
              <a:solidFill>
                <a:schemeClr val="tx2">
                  <a:lumMod val="10000"/>
                </a:schemeClr>
              </a:solidFill>
            </a:endParaRPr>
          </a:p>
          <a:p>
            <a:pPr marL="114300" defTabSz="932305" fontAlgn="auto">
              <a:spcBef>
                <a:spcPts val="0"/>
              </a:spcBef>
              <a:spcAft>
                <a:spcPts val="0"/>
              </a:spcAft>
            </a:pPr>
            <a:endParaRPr lang="en-US" sz="1400" i="1" dirty="0">
              <a:solidFill>
                <a:schemeClr val="tx2">
                  <a:lumMod val="10000"/>
                </a:schemeClr>
              </a:solidFill>
            </a:endParaRPr>
          </a:p>
          <a:p>
            <a:pPr marL="114300" defTabSz="932305" fontAlgn="auto">
              <a:spcBef>
                <a:spcPts val="0"/>
              </a:spcBef>
              <a:spcAft>
                <a:spcPts val="0"/>
              </a:spcAft>
            </a:pPr>
            <a:r>
              <a:rPr lang="en-US" sz="1400" i="1" dirty="0">
                <a:ln>
                  <a:solidFill>
                    <a:srgbClr val="FFFFFF">
                      <a:alpha val="0"/>
                    </a:srgbClr>
                  </a:solidFill>
                </a:ln>
                <a:solidFill>
                  <a:schemeClr val="tx2">
                    <a:lumMod val="10000"/>
                  </a:schemeClr>
                </a:solidFill>
                <a:cs typeface="Segoe UI Semilight" panose="020B0402040204020203" pitchFamily="34" charset="0"/>
              </a:rPr>
              <a:t>IDC 2014</a:t>
            </a:r>
          </a:p>
        </p:txBody>
      </p:sp>
      <p:sp>
        <p:nvSpPr>
          <p:cNvPr id="31" name="Rectangle 30"/>
          <p:cNvSpPr/>
          <p:nvPr/>
        </p:nvSpPr>
        <p:spPr bwMode="auto">
          <a:xfrm>
            <a:off x="8867891" y="1630338"/>
            <a:ext cx="2825671" cy="3847595"/>
          </a:xfrm>
          <a:prstGeom prst="rect">
            <a:avLst/>
          </a:prstGeom>
          <a:solidFill>
            <a:srgbClr val="00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6637" rIns="0" bIns="46637" numCol="1" rtlCol="0" anchor="t" anchorCtr="0" compatLnSpc="1">
            <a:prstTxWarp prst="textNoShape">
              <a:avLst/>
            </a:prstTxWarp>
          </a:bodyPr>
          <a:lstStyle/>
          <a:p>
            <a:pPr marL="169863" lvl="0"/>
            <a:r>
              <a:rPr lang="en-US" sz="6000" dirty="0">
                <a:gradFill>
                  <a:gsLst>
                    <a:gs pos="0">
                      <a:srgbClr val="FFFFFF"/>
                    </a:gs>
                    <a:gs pos="100000">
                      <a:srgbClr val="FFFFFF"/>
                    </a:gs>
                  </a:gsLst>
                  <a:lin ang="5400000" scaled="0"/>
                </a:gradFill>
                <a:cs typeface="Segoe UI Semilight" panose="020B0402040204020203" pitchFamily="34" charset="0"/>
              </a:rPr>
              <a:t>5M</a:t>
            </a:r>
            <a:endParaRPr lang="en-US" sz="6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a:p>
            <a:pPr marL="169863"/>
            <a:r>
              <a:rPr lang="en-US" sz="1800" dirty="0">
                <a:ln>
                  <a:solidFill>
                    <a:srgbClr val="FFFFFF">
                      <a:alpha val="0"/>
                    </a:srgbClr>
                  </a:solidFill>
                </a:ln>
                <a:solidFill>
                  <a:srgbClr val="FFFFFF"/>
                </a:solidFill>
                <a:cs typeface="Segoe UI Semilight" panose="020B0402040204020203" pitchFamily="34" charset="0"/>
              </a:rPr>
              <a:t>Subscribers</a:t>
            </a:r>
          </a:p>
          <a:p>
            <a:pPr marL="169863" lvl="0"/>
            <a:endParaRPr lang="en-US" sz="2000" dirty="0">
              <a:gradFill>
                <a:gsLst>
                  <a:gs pos="0">
                    <a:srgbClr val="FFFFFF"/>
                  </a:gs>
                  <a:gs pos="100000">
                    <a:srgbClr val="FFFFFF"/>
                  </a:gs>
                </a:gsLst>
                <a:lin ang="5400000" scaled="0"/>
              </a:gradFill>
            </a:endParaRPr>
          </a:p>
          <a:p>
            <a:pPr marL="169863" lvl="0"/>
            <a:r>
              <a:rPr lang="en-US" sz="1400" dirty="0">
                <a:solidFill>
                  <a:srgbClr val="FFFFFF"/>
                </a:solidFill>
              </a:rPr>
              <a:t>Are embracing Power BI for modern business intelligence </a:t>
            </a:r>
          </a:p>
        </p:txBody>
      </p:sp>
      <p:sp>
        <p:nvSpPr>
          <p:cNvPr id="75" name="Title 3"/>
          <p:cNvSpPr txBox="1">
            <a:spLocks/>
          </p:cNvSpPr>
          <p:nvPr/>
        </p:nvSpPr>
        <p:spPr>
          <a:xfrm>
            <a:off x="331239" y="387621"/>
            <a:ext cx="11880459" cy="945876"/>
          </a:xfrm>
          <a:prstGeom prst="rect">
            <a:avLst/>
          </a:prstGeom>
        </p:spPr>
        <p:txBody>
          <a:bodyPr/>
          <a:lstStyle>
            <a:lvl1pPr algn="l" defTabSz="931863" rtl="0" fontAlgn="base">
              <a:lnSpc>
                <a:spcPct val="90000"/>
              </a:lnSpc>
              <a:spcBef>
                <a:spcPct val="0"/>
              </a:spcBef>
              <a:spcAft>
                <a:spcPct val="0"/>
              </a:spcAft>
              <a:defRPr lang="en-US" sz="5400" kern="1200" spc="-102" dirty="0">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pPr lvl="0">
              <a:defRPr/>
            </a:pPr>
            <a:r>
              <a:rPr lang="en-US" dirty="0">
                <a:solidFill>
                  <a:schemeClr val="tx2">
                    <a:lumMod val="10000"/>
                  </a:schemeClr>
                </a:solidFill>
              </a:rPr>
              <a:t>Key trends</a:t>
            </a:r>
          </a:p>
        </p:txBody>
      </p:sp>
      <p:sp>
        <p:nvSpPr>
          <p:cNvPr id="3" name="Rectangle 2"/>
          <p:cNvSpPr/>
          <p:nvPr/>
        </p:nvSpPr>
        <p:spPr>
          <a:xfrm>
            <a:off x="5947917" y="3003520"/>
            <a:ext cx="2903039" cy="1169551"/>
          </a:xfrm>
          <a:prstGeom prst="rect">
            <a:avLst/>
          </a:prstGeom>
        </p:spPr>
        <p:txBody>
          <a:bodyPr wrap="square">
            <a:spAutoFit/>
          </a:bodyPr>
          <a:lstStyle/>
          <a:p>
            <a:pPr marL="114300"/>
            <a:r>
              <a:rPr lang="en-US" sz="1400" dirty="0">
                <a:solidFill>
                  <a:schemeClr val="bg1"/>
                </a:solidFill>
              </a:rPr>
              <a:t>Expect to have a highly profitable business unit </a:t>
            </a:r>
          </a:p>
          <a:p>
            <a:pPr marL="114300"/>
            <a:r>
              <a:rPr lang="en-US" sz="1400" dirty="0">
                <a:solidFill>
                  <a:schemeClr val="bg1"/>
                </a:solidFill>
              </a:rPr>
              <a:t>for productizing and commercializing their </a:t>
            </a:r>
          </a:p>
          <a:p>
            <a:pPr marL="114300"/>
            <a:r>
              <a:rPr lang="en-US" sz="1400" dirty="0">
                <a:solidFill>
                  <a:schemeClr val="bg1"/>
                </a:solidFill>
              </a:rPr>
              <a:t>data by 2020</a:t>
            </a:r>
          </a:p>
        </p:txBody>
      </p:sp>
      <p:sp>
        <p:nvSpPr>
          <p:cNvPr id="17" name="Freeform 16"/>
          <p:cNvSpPr>
            <a:spLocks/>
          </p:cNvSpPr>
          <p:nvPr/>
        </p:nvSpPr>
        <p:spPr bwMode="auto">
          <a:xfrm>
            <a:off x="4348919" y="1792184"/>
            <a:ext cx="1282224" cy="800224"/>
          </a:xfrm>
          <a:custGeom>
            <a:avLst/>
            <a:gdLst>
              <a:gd name="T0" fmla="*/ 884 w 1350"/>
              <a:gd name="T1" fmla="*/ 0 h 841"/>
              <a:gd name="T2" fmla="*/ 648 w 1350"/>
              <a:gd name="T3" fmla="*/ 135 h 841"/>
              <a:gd name="T4" fmla="*/ 542 w 1350"/>
              <a:gd name="T5" fmla="*/ 114 h 841"/>
              <a:gd name="T6" fmla="*/ 352 w 1350"/>
              <a:gd name="T7" fmla="*/ 189 h 841"/>
              <a:gd name="T8" fmla="*/ 286 w 1350"/>
              <a:gd name="T9" fmla="*/ 287 h 841"/>
              <a:gd name="T10" fmla="*/ 274 w 1350"/>
              <a:gd name="T11" fmla="*/ 287 h 841"/>
              <a:gd name="T12" fmla="*/ 82 w 1350"/>
              <a:gd name="T13" fmla="*/ 369 h 841"/>
              <a:gd name="T14" fmla="*/ 0 w 1350"/>
              <a:gd name="T15" fmla="*/ 563 h 841"/>
              <a:gd name="T16" fmla="*/ 82 w 1350"/>
              <a:gd name="T17" fmla="*/ 758 h 841"/>
              <a:gd name="T18" fmla="*/ 274 w 1350"/>
              <a:gd name="T19" fmla="*/ 841 h 841"/>
              <a:gd name="T20" fmla="*/ 1076 w 1350"/>
              <a:gd name="T21" fmla="*/ 841 h 841"/>
              <a:gd name="T22" fmla="*/ 1272 w 1350"/>
              <a:gd name="T23" fmla="*/ 758 h 841"/>
              <a:gd name="T24" fmla="*/ 1350 w 1350"/>
              <a:gd name="T25" fmla="*/ 563 h 841"/>
              <a:gd name="T26" fmla="*/ 1272 w 1350"/>
              <a:gd name="T27" fmla="*/ 370 h 841"/>
              <a:gd name="T28" fmla="*/ 1152 w 1350"/>
              <a:gd name="T29" fmla="*/ 297 h 841"/>
              <a:gd name="T30" fmla="*/ 1152 w 1350"/>
              <a:gd name="T31" fmla="*/ 277 h 841"/>
              <a:gd name="T32" fmla="*/ 1076 w 1350"/>
              <a:gd name="T33" fmla="*/ 84 h 841"/>
              <a:gd name="T34" fmla="*/ 884 w 1350"/>
              <a:gd name="T35" fmla="*/ 0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0" h="841">
                <a:moveTo>
                  <a:pt x="884" y="0"/>
                </a:moveTo>
                <a:cubicBezTo>
                  <a:pt x="786" y="0"/>
                  <a:pt x="698" y="54"/>
                  <a:pt x="648" y="135"/>
                </a:cubicBezTo>
                <a:cubicBezTo>
                  <a:pt x="616" y="121"/>
                  <a:pt x="579" y="114"/>
                  <a:pt x="542" y="114"/>
                </a:cubicBezTo>
                <a:cubicBezTo>
                  <a:pt x="470" y="114"/>
                  <a:pt x="403" y="141"/>
                  <a:pt x="352" y="189"/>
                </a:cubicBezTo>
                <a:cubicBezTo>
                  <a:pt x="323" y="217"/>
                  <a:pt x="301" y="250"/>
                  <a:pt x="286" y="287"/>
                </a:cubicBezTo>
                <a:cubicBezTo>
                  <a:pt x="282" y="287"/>
                  <a:pt x="278" y="287"/>
                  <a:pt x="274" y="287"/>
                </a:cubicBezTo>
                <a:cubicBezTo>
                  <a:pt x="203" y="287"/>
                  <a:pt x="134" y="316"/>
                  <a:pt x="82" y="369"/>
                </a:cubicBezTo>
                <a:cubicBezTo>
                  <a:pt x="30" y="421"/>
                  <a:pt x="0" y="490"/>
                  <a:pt x="0" y="563"/>
                </a:cubicBezTo>
                <a:cubicBezTo>
                  <a:pt x="0" y="636"/>
                  <a:pt x="30" y="705"/>
                  <a:pt x="82" y="758"/>
                </a:cubicBezTo>
                <a:cubicBezTo>
                  <a:pt x="134" y="812"/>
                  <a:pt x="203" y="841"/>
                  <a:pt x="274" y="841"/>
                </a:cubicBezTo>
                <a:cubicBezTo>
                  <a:pt x="1076" y="841"/>
                  <a:pt x="1076" y="841"/>
                  <a:pt x="1076" y="841"/>
                </a:cubicBezTo>
                <a:cubicBezTo>
                  <a:pt x="1151" y="841"/>
                  <a:pt x="1220" y="812"/>
                  <a:pt x="1272" y="758"/>
                </a:cubicBezTo>
                <a:cubicBezTo>
                  <a:pt x="1322" y="705"/>
                  <a:pt x="1350" y="636"/>
                  <a:pt x="1350" y="563"/>
                </a:cubicBezTo>
                <a:cubicBezTo>
                  <a:pt x="1350" y="490"/>
                  <a:pt x="1322" y="421"/>
                  <a:pt x="1272" y="370"/>
                </a:cubicBezTo>
                <a:cubicBezTo>
                  <a:pt x="1238" y="334"/>
                  <a:pt x="1197" y="310"/>
                  <a:pt x="1152" y="297"/>
                </a:cubicBezTo>
                <a:cubicBezTo>
                  <a:pt x="1152" y="291"/>
                  <a:pt x="1152" y="284"/>
                  <a:pt x="1152" y="277"/>
                </a:cubicBezTo>
                <a:cubicBezTo>
                  <a:pt x="1152" y="205"/>
                  <a:pt x="1125" y="136"/>
                  <a:pt x="1076" y="84"/>
                </a:cubicBezTo>
                <a:cubicBezTo>
                  <a:pt x="1025" y="30"/>
                  <a:pt x="956" y="0"/>
                  <a:pt x="884" y="0"/>
                </a:cubicBezTo>
                <a:close/>
              </a:path>
            </a:pathLst>
          </a:custGeom>
          <a:noFill/>
          <a:ln w="254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 name="Freeform 17"/>
          <p:cNvSpPr>
            <a:spLocks/>
          </p:cNvSpPr>
          <p:nvPr/>
        </p:nvSpPr>
        <p:spPr bwMode="auto">
          <a:xfrm>
            <a:off x="2513147" y="4482900"/>
            <a:ext cx="1282224" cy="800224"/>
          </a:xfrm>
          <a:custGeom>
            <a:avLst/>
            <a:gdLst>
              <a:gd name="T0" fmla="*/ 884 w 1350"/>
              <a:gd name="T1" fmla="*/ 0 h 841"/>
              <a:gd name="T2" fmla="*/ 648 w 1350"/>
              <a:gd name="T3" fmla="*/ 135 h 841"/>
              <a:gd name="T4" fmla="*/ 542 w 1350"/>
              <a:gd name="T5" fmla="*/ 114 h 841"/>
              <a:gd name="T6" fmla="*/ 352 w 1350"/>
              <a:gd name="T7" fmla="*/ 189 h 841"/>
              <a:gd name="T8" fmla="*/ 286 w 1350"/>
              <a:gd name="T9" fmla="*/ 287 h 841"/>
              <a:gd name="T10" fmla="*/ 274 w 1350"/>
              <a:gd name="T11" fmla="*/ 287 h 841"/>
              <a:gd name="T12" fmla="*/ 82 w 1350"/>
              <a:gd name="T13" fmla="*/ 369 h 841"/>
              <a:gd name="T14" fmla="*/ 0 w 1350"/>
              <a:gd name="T15" fmla="*/ 563 h 841"/>
              <a:gd name="T16" fmla="*/ 82 w 1350"/>
              <a:gd name="T17" fmla="*/ 758 h 841"/>
              <a:gd name="T18" fmla="*/ 274 w 1350"/>
              <a:gd name="T19" fmla="*/ 841 h 841"/>
              <a:gd name="T20" fmla="*/ 1076 w 1350"/>
              <a:gd name="T21" fmla="*/ 841 h 841"/>
              <a:gd name="T22" fmla="*/ 1272 w 1350"/>
              <a:gd name="T23" fmla="*/ 758 h 841"/>
              <a:gd name="T24" fmla="*/ 1350 w 1350"/>
              <a:gd name="T25" fmla="*/ 563 h 841"/>
              <a:gd name="T26" fmla="*/ 1272 w 1350"/>
              <a:gd name="T27" fmla="*/ 370 h 841"/>
              <a:gd name="T28" fmla="*/ 1152 w 1350"/>
              <a:gd name="T29" fmla="*/ 297 h 841"/>
              <a:gd name="T30" fmla="*/ 1152 w 1350"/>
              <a:gd name="T31" fmla="*/ 277 h 841"/>
              <a:gd name="T32" fmla="*/ 1076 w 1350"/>
              <a:gd name="T33" fmla="*/ 84 h 841"/>
              <a:gd name="T34" fmla="*/ 884 w 1350"/>
              <a:gd name="T35" fmla="*/ 0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0" h="841">
                <a:moveTo>
                  <a:pt x="884" y="0"/>
                </a:moveTo>
                <a:cubicBezTo>
                  <a:pt x="786" y="0"/>
                  <a:pt x="698" y="54"/>
                  <a:pt x="648" y="135"/>
                </a:cubicBezTo>
                <a:cubicBezTo>
                  <a:pt x="616" y="121"/>
                  <a:pt x="579" y="114"/>
                  <a:pt x="542" y="114"/>
                </a:cubicBezTo>
                <a:cubicBezTo>
                  <a:pt x="470" y="114"/>
                  <a:pt x="403" y="141"/>
                  <a:pt x="352" y="189"/>
                </a:cubicBezTo>
                <a:cubicBezTo>
                  <a:pt x="323" y="217"/>
                  <a:pt x="301" y="250"/>
                  <a:pt x="286" y="287"/>
                </a:cubicBezTo>
                <a:cubicBezTo>
                  <a:pt x="282" y="287"/>
                  <a:pt x="278" y="287"/>
                  <a:pt x="274" y="287"/>
                </a:cubicBezTo>
                <a:cubicBezTo>
                  <a:pt x="203" y="287"/>
                  <a:pt x="134" y="316"/>
                  <a:pt x="82" y="369"/>
                </a:cubicBezTo>
                <a:cubicBezTo>
                  <a:pt x="30" y="421"/>
                  <a:pt x="0" y="490"/>
                  <a:pt x="0" y="563"/>
                </a:cubicBezTo>
                <a:cubicBezTo>
                  <a:pt x="0" y="636"/>
                  <a:pt x="30" y="705"/>
                  <a:pt x="82" y="758"/>
                </a:cubicBezTo>
                <a:cubicBezTo>
                  <a:pt x="134" y="812"/>
                  <a:pt x="203" y="841"/>
                  <a:pt x="274" y="841"/>
                </a:cubicBezTo>
                <a:cubicBezTo>
                  <a:pt x="1076" y="841"/>
                  <a:pt x="1076" y="841"/>
                  <a:pt x="1076" y="841"/>
                </a:cubicBezTo>
                <a:cubicBezTo>
                  <a:pt x="1151" y="841"/>
                  <a:pt x="1220" y="812"/>
                  <a:pt x="1272" y="758"/>
                </a:cubicBezTo>
                <a:cubicBezTo>
                  <a:pt x="1322" y="705"/>
                  <a:pt x="1350" y="636"/>
                  <a:pt x="1350" y="563"/>
                </a:cubicBezTo>
                <a:cubicBezTo>
                  <a:pt x="1350" y="490"/>
                  <a:pt x="1322" y="421"/>
                  <a:pt x="1272" y="370"/>
                </a:cubicBezTo>
                <a:cubicBezTo>
                  <a:pt x="1238" y="334"/>
                  <a:pt x="1197" y="310"/>
                  <a:pt x="1152" y="297"/>
                </a:cubicBezTo>
                <a:cubicBezTo>
                  <a:pt x="1152" y="291"/>
                  <a:pt x="1152" y="284"/>
                  <a:pt x="1152" y="277"/>
                </a:cubicBezTo>
                <a:cubicBezTo>
                  <a:pt x="1152" y="205"/>
                  <a:pt x="1125" y="136"/>
                  <a:pt x="1076" y="84"/>
                </a:cubicBezTo>
                <a:cubicBezTo>
                  <a:pt x="1025" y="30"/>
                  <a:pt x="956" y="0"/>
                  <a:pt x="884" y="0"/>
                </a:cubicBezTo>
                <a:close/>
              </a:path>
            </a:pathLst>
          </a:custGeom>
          <a:noFill/>
          <a:ln w="254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 name="Freeform 18"/>
          <p:cNvSpPr>
            <a:spLocks/>
          </p:cNvSpPr>
          <p:nvPr/>
        </p:nvSpPr>
        <p:spPr bwMode="auto">
          <a:xfrm>
            <a:off x="7399436" y="3934356"/>
            <a:ext cx="1282224" cy="800224"/>
          </a:xfrm>
          <a:custGeom>
            <a:avLst/>
            <a:gdLst>
              <a:gd name="T0" fmla="*/ 884 w 1350"/>
              <a:gd name="T1" fmla="*/ 0 h 841"/>
              <a:gd name="T2" fmla="*/ 648 w 1350"/>
              <a:gd name="T3" fmla="*/ 135 h 841"/>
              <a:gd name="T4" fmla="*/ 542 w 1350"/>
              <a:gd name="T5" fmla="*/ 114 h 841"/>
              <a:gd name="T6" fmla="*/ 352 w 1350"/>
              <a:gd name="T7" fmla="*/ 189 h 841"/>
              <a:gd name="T8" fmla="*/ 286 w 1350"/>
              <a:gd name="T9" fmla="*/ 287 h 841"/>
              <a:gd name="T10" fmla="*/ 274 w 1350"/>
              <a:gd name="T11" fmla="*/ 287 h 841"/>
              <a:gd name="T12" fmla="*/ 82 w 1350"/>
              <a:gd name="T13" fmla="*/ 369 h 841"/>
              <a:gd name="T14" fmla="*/ 0 w 1350"/>
              <a:gd name="T15" fmla="*/ 563 h 841"/>
              <a:gd name="T16" fmla="*/ 82 w 1350"/>
              <a:gd name="T17" fmla="*/ 758 h 841"/>
              <a:gd name="T18" fmla="*/ 274 w 1350"/>
              <a:gd name="T19" fmla="*/ 841 h 841"/>
              <a:gd name="T20" fmla="*/ 1076 w 1350"/>
              <a:gd name="T21" fmla="*/ 841 h 841"/>
              <a:gd name="T22" fmla="*/ 1272 w 1350"/>
              <a:gd name="T23" fmla="*/ 758 h 841"/>
              <a:gd name="T24" fmla="*/ 1350 w 1350"/>
              <a:gd name="T25" fmla="*/ 563 h 841"/>
              <a:gd name="T26" fmla="*/ 1272 w 1350"/>
              <a:gd name="T27" fmla="*/ 370 h 841"/>
              <a:gd name="T28" fmla="*/ 1152 w 1350"/>
              <a:gd name="T29" fmla="*/ 297 h 841"/>
              <a:gd name="T30" fmla="*/ 1152 w 1350"/>
              <a:gd name="T31" fmla="*/ 277 h 841"/>
              <a:gd name="T32" fmla="*/ 1076 w 1350"/>
              <a:gd name="T33" fmla="*/ 84 h 841"/>
              <a:gd name="T34" fmla="*/ 884 w 1350"/>
              <a:gd name="T35" fmla="*/ 0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0" h="841">
                <a:moveTo>
                  <a:pt x="884" y="0"/>
                </a:moveTo>
                <a:cubicBezTo>
                  <a:pt x="786" y="0"/>
                  <a:pt x="698" y="54"/>
                  <a:pt x="648" y="135"/>
                </a:cubicBezTo>
                <a:cubicBezTo>
                  <a:pt x="616" y="121"/>
                  <a:pt x="579" y="114"/>
                  <a:pt x="542" y="114"/>
                </a:cubicBezTo>
                <a:cubicBezTo>
                  <a:pt x="470" y="114"/>
                  <a:pt x="403" y="141"/>
                  <a:pt x="352" y="189"/>
                </a:cubicBezTo>
                <a:cubicBezTo>
                  <a:pt x="323" y="217"/>
                  <a:pt x="301" y="250"/>
                  <a:pt x="286" y="287"/>
                </a:cubicBezTo>
                <a:cubicBezTo>
                  <a:pt x="282" y="287"/>
                  <a:pt x="278" y="287"/>
                  <a:pt x="274" y="287"/>
                </a:cubicBezTo>
                <a:cubicBezTo>
                  <a:pt x="203" y="287"/>
                  <a:pt x="134" y="316"/>
                  <a:pt x="82" y="369"/>
                </a:cubicBezTo>
                <a:cubicBezTo>
                  <a:pt x="30" y="421"/>
                  <a:pt x="0" y="490"/>
                  <a:pt x="0" y="563"/>
                </a:cubicBezTo>
                <a:cubicBezTo>
                  <a:pt x="0" y="636"/>
                  <a:pt x="30" y="705"/>
                  <a:pt x="82" y="758"/>
                </a:cubicBezTo>
                <a:cubicBezTo>
                  <a:pt x="134" y="812"/>
                  <a:pt x="203" y="841"/>
                  <a:pt x="274" y="841"/>
                </a:cubicBezTo>
                <a:cubicBezTo>
                  <a:pt x="1076" y="841"/>
                  <a:pt x="1076" y="841"/>
                  <a:pt x="1076" y="841"/>
                </a:cubicBezTo>
                <a:cubicBezTo>
                  <a:pt x="1151" y="841"/>
                  <a:pt x="1220" y="812"/>
                  <a:pt x="1272" y="758"/>
                </a:cubicBezTo>
                <a:cubicBezTo>
                  <a:pt x="1322" y="705"/>
                  <a:pt x="1350" y="636"/>
                  <a:pt x="1350" y="563"/>
                </a:cubicBezTo>
                <a:cubicBezTo>
                  <a:pt x="1350" y="490"/>
                  <a:pt x="1322" y="421"/>
                  <a:pt x="1272" y="370"/>
                </a:cubicBezTo>
                <a:cubicBezTo>
                  <a:pt x="1238" y="334"/>
                  <a:pt x="1197" y="310"/>
                  <a:pt x="1152" y="297"/>
                </a:cubicBezTo>
                <a:cubicBezTo>
                  <a:pt x="1152" y="291"/>
                  <a:pt x="1152" y="284"/>
                  <a:pt x="1152" y="277"/>
                </a:cubicBezTo>
                <a:cubicBezTo>
                  <a:pt x="1152" y="205"/>
                  <a:pt x="1125" y="136"/>
                  <a:pt x="1076" y="84"/>
                </a:cubicBezTo>
                <a:cubicBezTo>
                  <a:pt x="1025" y="30"/>
                  <a:pt x="956" y="0"/>
                  <a:pt x="884" y="0"/>
                </a:cubicBezTo>
                <a:close/>
              </a:path>
            </a:pathLst>
          </a:custGeom>
          <a:noFill/>
          <a:ln w="254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614964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369188" y="1475802"/>
            <a:ext cx="6445838" cy="723437"/>
            <a:chOff x="330771" y="2616822"/>
            <a:chExt cx="6320920" cy="709416"/>
          </a:xfrm>
        </p:grpSpPr>
        <p:sp>
          <p:nvSpPr>
            <p:cNvPr id="56" name="Rectangle 55"/>
            <p:cNvSpPr/>
            <p:nvPr/>
          </p:nvSpPr>
          <p:spPr bwMode="auto">
            <a:xfrm>
              <a:off x="330771" y="2616822"/>
              <a:ext cx="6320920" cy="7094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45" tIns="146262" rIns="182828" bIns="146262" numCol="1" spcCol="0" rtlCol="0" fromWordArt="0" anchor="ctr" anchorCtr="0" forceAA="0" compatLnSpc="1">
              <a:prstTxWarp prst="textNoShape">
                <a:avLst/>
              </a:prstTxWarp>
              <a:noAutofit/>
            </a:bodyPr>
            <a:lstStyle/>
            <a:p>
              <a:pPr marL="699313" defTabSz="932384" fontAlgn="base">
                <a:lnSpc>
                  <a:spcPct val="90000"/>
                </a:lnSpc>
                <a:spcBef>
                  <a:spcPct val="20000"/>
                </a:spcBef>
                <a:spcAft>
                  <a:spcPct val="0"/>
                </a:spcAft>
                <a:buSzPct val="90000"/>
              </a:pPr>
              <a:r>
                <a:rPr lang="en-US" sz="2040" kern="0" dirty="0">
                  <a:ln w="3175">
                    <a:noFill/>
                  </a:ln>
                  <a:solidFill>
                    <a:srgbClr val="000000"/>
                  </a:solidFill>
                  <a:latin typeface="Calibri Light" panose="020F0302020204030204"/>
                </a:rPr>
                <a:t>Pre-built dashboards and reports for popular SaaS solutions</a:t>
              </a:r>
            </a:p>
          </p:txBody>
        </p:sp>
        <p:sp>
          <p:nvSpPr>
            <p:cNvPr id="72" name="Rectangle 71"/>
            <p:cNvSpPr/>
            <p:nvPr/>
          </p:nvSpPr>
          <p:spPr bwMode="auto">
            <a:xfrm>
              <a:off x="332292" y="2616822"/>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marL="634757" defTabSz="932114" fontAlgn="base">
                <a:lnSpc>
                  <a:spcPct val="90000"/>
                </a:lnSpc>
                <a:spcBef>
                  <a:spcPct val="0"/>
                </a:spcBef>
                <a:spcAft>
                  <a:spcPct val="0"/>
                </a:spcAft>
              </a:pPr>
              <a:endParaRPr lang="en-US" sz="2800"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3" name="Freeform 24"/>
            <p:cNvSpPr>
              <a:spLocks noEditPoints="1"/>
            </p:cNvSpPr>
            <p:nvPr/>
          </p:nvSpPr>
          <p:spPr bwMode="black">
            <a:xfrm>
              <a:off x="429207" y="2675334"/>
              <a:ext cx="490621" cy="569164"/>
            </a:xfrm>
            <a:custGeom>
              <a:avLst/>
              <a:gdLst>
                <a:gd name="T0" fmla="*/ 126 w 259"/>
                <a:gd name="T1" fmla="*/ 53 h 300"/>
                <a:gd name="T2" fmla="*/ 120 w 259"/>
                <a:gd name="T3" fmla="*/ 38 h 300"/>
                <a:gd name="T4" fmla="*/ 77 w 259"/>
                <a:gd name="T5" fmla="*/ 43 h 300"/>
                <a:gd name="T6" fmla="*/ 105 w 259"/>
                <a:gd name="T7" fmla="*/ 53 h 300"/>
                <a:gd name="T8" fmla="*/ 105 w 259"/>
                <a:gd name="T9" fmla="*/ 53 h 300"/>
                <a:gd name="T10" fmla="*/ 84 w 259"/>
                <a:gd name="T11" fmla="*/ 136 h 300"/>
                <a:gd name="T12" fmla="*/ 79 w 259"/>
                <a:gd name="T13" fmla="*/ 124 h 300"/>
                <a:gd name="T14" fmla="*/ 45 w 259"/>
                <a:gd name="T15" fmla="*/ 128 h 300"/>
                <a:gd name="T16" fmla="*/ 67 w 259"/>
                <a:gd name="T17" fmla="*/ 136 h 300"/>
                <a:gd name="T18" fmla="*/ 67 w 259"/>
                <a:gd name="T19" fmla="*/ 136 h 300"/>
                <a:gd name="T20" fmla="*/ 35 w 259"/>
                <a:gd name="T21" fmla="*/ 69 h 300"/>
                <a:gd name="T22" fmla="*/ 32 w 259"/>
                <a:gd name="T23" fmla="*/ 63 h 300"/>
                <a:gd name="T24" fmla="*/ 15 w 259"/>
                <a:gd name="T25" fmla="*/ 65 h 300"/>
                <a:gd name="T26" fmla="*/ 26 w 259"/>
                <a:gd name="T27" fmla="*/ 69 h 300"/>
                <a:gd name="T28" fmla="*/ 26 w 259"/>
                <a:gd name="T29" fmla="*/ 69 h 300"/>
                <a:gd name="T30" fmla="*/ 233 w 259"/>
                <a:gd name="T31" fmla="*/ 19 h 300"/>
                <a:gd name="T32" fmla="*/ 231 w 259"/>
                <a:gd name="T33" fmla="*/ 13 h 300"/>
                <a:gd name="T34" fmla="*/ 214 w 259"/>
                <a:gd name="T35" fmla="*/ 15 h 300"/>
                <a:gd name="T36" fmla="*/ 225 w 259"/>
                <a:gd name="T37" fmla="*/ 19 h 300"/>
                <a:gd name="T38" fmla="*/ 225 w 259"/>
                <a:gd name="T39" fmla="*/ 19 h 300"/>
                <a:gd name="T40" fmla="*/ 248 w 259"/>
                <a:gd name="T41" fmla="*/ 141 h 300"/>
                <a:gd name="T42" fmla="*/ 246 w 259"/>
                <a:gd name="T43" fmla="*/ 135 h 300"/>
                <a:gd name="T44" fmla="*/ 229 w 259"/>
                <a:gd name="T45" fmla="*/ 136 h 300"/>
                <a:gd name="T46" fmla="*/ 240 w 259"/>
                <a:gd name="T47" fmla="*/ 141 h 300"/>
                <a:gd name="T48" fmla="*/ 240 w 259"/>
                <a:gd name="T49" fmla="*/ 141 h 300"/>
                <a:gd name="T50" fmla="*/ 20 w 259"/>
                <a:gd name="T51" fmla="*/ 162 h 300"/>
                <a:gd name="T52" fmla="*/ 17 w 259"/>
                <a:gd name="T53" fmla="*/ 156 h 300"/>
                <a:gd name="T54" fmla="*/ 0 w 259"/>
                <a:gd name="T55" fmla="*/ 158 h 300"/>
                <a:gd name="T56" fmla="*/ 11 w 259"/>
                <a:gd name="T57" fmla="*/ 162 h 300"/>
                <a:gd name="T58" fmla="*/ 11 w 259"/>
                <a:gd name="T59" fmla="*/ 162 h 300"/>
                <a:gd name="T60" fmla="*/ 226 w 259"/>
                <a:gd name="T61" fmla="*/ 100 h 300"/>
                <a:gd name="T62" fmla="*/ 219 w 259"/>
                <a:gd name="T63" fmla="*/ 82 h 300"/>
                <a:gd name="T64" fmla="*/ 168 w 259"/>
                <a:gd name="T65" fmla="*/ 88 h 300"/>
                <a:gd name="T66" fmla="*/ 201 w 259"/>
                <a:gd name="T67" fmla="*/ 100 h 300"/>
                <a:gd name="T68" fmla="*/ 201 w 259"/>
                <a:gd name="T69" fmla="*/ 100 h 300"/>
                <a:gd name="T70" fmla="*/ 223 w 259"/>
                <a:gd name="T71" fmla="*/ 146 h 300"/>
                <a:gd name="T72" fmla="*/ 156 w 259"/>
                <a:gd name="T73" fmla="*/ 178 h 300"/>
                <a:gd name="T74" fmla="*/ 150 w 259"/>
                <a:gd name="T75" fmla="*/ 178 h 300"/>
                <a:gd name="T76" fmla="*/ 206 w 259"/>
                <a:gd name="T77" fmla="*/ 17 h 300"/>
                <a:gd name="T78" fmla="*/ 120 w 259"/>
                <a:gd name="T79" fmla="*/ 69 h 300"/>
                <a:gd name="T80" fmla="*/ 54 w 259"/>
                <a:gd name="T81" fmla="*/ 62 h 300"/>
                <a:gd name="T82" fmla="*/ 103 w 259"/>
                <a:gd name="T83" fmla="*/ 178 h 300"/>
                <a:gd name="T84" fmla="*/ 97 w 259"/>
                <a:gd name="T85" fmla="*/ 178 h 300"/>
                <a:gd name="T86" fmla="*/ 36 w 259"/>
                <a:gd name="T87" fmla="*/ 160 h 300"/>
                <a:gd name="T88" fmla="*/ 22 w 259"/>
                <a:gd name="T89" fmla="*/ 236 h 300"/>
                <a:gd name="T90" fmla="*/ 60 w 259"/>
                <a:gd name="T91" fmla="*/ 294 h 300"/>
                <a:gd name="T92" fmla="*/ 212 w 259"/>
                <a:gd name="T93" fmla="*/ 195 h 300"/>
                <a:gd name="T94" fmla="*/ 250 w 259"/>
                <a:gd name="T95" fmla="*/ 231 h 300"/>
                <a:gd name="T96" fmla="*/ 113 w 259"/>
                <a:gd name="T97" fmla="*/ 2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9" h="300">
                  <a:moveTo>
                    <a:pt x="115" y="81"/>
                  </a:moveTo>
                  <a:cubicBezTo>
                    <a:pt x="115" y="81"/>
                    <a:pt x="115" y="52"/>
                    <a:pt x="120" y="47"/>
                  </a:cubicBezTo>
                  <a:cubicBezTo>
                    <a:pt x="125" y="42"/>
                    <a:pt x="153" y="43"/>
                    <a:pt x="153" y="43"/>
                  </a:cubicBezTo>
                  <a:cubicBezTo>
                    <a:pt x="153" y="43"/>
                    <a:pt x="131" y="48"/>
                    <a:pt x="126" y="53"/>
                  </a:cubicBezTo>
                  <a:cubicBezTo>
                    <a:pt x="120" y="58"/>
                    <a:pt x="115" y="81"/>
                    <a:pt x="115" y="81"/>
                  </a:cubicBezTo>
                  <a:close/>
                  <a:moveTo>
                    <a:pt x="126" y="32"/>
                  </a:moveTo>
                  <a:cubicBezTo>
                    <a:pt x="120" y="27"/>
                    <a:pt x="115" y="5"/>
                    <a:pt x="115" y="5"/>
                  </a:cubicBezTo>
                  <a:cubicBezTo>
                    <a:pt x="115" y="5"/>
                    <a:pt x="115" y="33"/>
                    <a:pt x="120" y="38"/>
                  </a:cubicBezTo>
                  <a:cubicBezTo>
                    <a:pt x="125" y="43"/>
                    <a:pt x="153" y="43"/>
                    <a:pt x="153" y="43"/>
                  </a:cubicBezTo>
                  <a:cubicBezTo>
                    <a:pt x="153" y="43"/>
                    <a:pt x="131" y="38"/>
                    <a:pt x="126" y="32"/>
                  </a:cubicBezTo>
                  <a:close/>
                  <a:moveTo>
                    <a:pt x="105" y="32"/>
                  </a:moveTo>
                  <a:cubicBezTo>
                    <a:pt x="100" y="38"/>
                    <a:pt x="77" y="43"/>
                    <a:pt x="77" y="43"/>
                  </a:cubicBezTo>
                  <a:cubicBezTo>
                    <a:pt x="77" y="43"/>
                    <a:pt x="105" y="43"/>
                    <a:pt x="111" y="38"/>
                  </a:cubicBezTo>
                  <a:cubicBezTo>
                    <a:pt x="116" y="33"/>
                    <a:pt x="115" y="5"/>
                    <a:pt x="115" y="5"/>
                  </a:cubicBezTo>
                  <a:cubicBezTo>
                    <a:pt x="115" y="5"/>
                    <a:pt x="110" y="27"/>
                    <a:pt x="105" y="32"/>
                  </a:cubicBezTo>
                  <a:close/>
                  <a:moveTo>
                    <a:pt x="105" y="53"/>
                  </a:moveTo>
                  <a:cubicBezTo>
                    <a:pt x="110" y="58"/>
                    <a:pt x="115" y="81"/>
                    <a:pt x="115" y="81"/>
                  </a:cubicBezTo>
                  <a:cubicBezTo>
                    <a:pt x="115" y="81"/>
                    <a:pt x="116" y="52"/>
                    <a:pt x="111" y="47"/>
                  </a:cubicBezTo>
                  <a:cubicBezTo>
                    <a:pt x="105" y="42"/>
                    <a:pt x="77" y="43"/>
                    <a:pt x="77" y="43"/>
                  </a:cubicBezTo>
                  <a:cubicBezTo>
                    <a:pt x="77" y="43"/>
                    <a:pt x="100" y="48"/>
                    <a:pt x="105" y="53"/>
                  </a:cubicBezTo>
                  <a:close/>
                  <a:moveTo>
                    <a:pt x="75" y="158"/>
                  </a:moveTo>
                  <a:cubicBezTo>
                    <a:pt x="75" y="158"/>
                    <a:pt x="75" y="136"/>
                    <a:pt x="79" y="131"/>
                  </a:cubicBezTo>
                  <a:cubicBezTo>
                    <a:pt x="83" y="127"/>
                    <a:pt x="106" y="128"/>
                    <a:pt x="106" y="128"/>
                  </a:cubicBezTo>
                  <a:cubicBezTo>
                    <a:pt x="106" y="128"/>
                    <a:pt x="88" y="132"/>
                    <a:pt x="84" y="136"/>
                  </a:cubicBezTo>
                  <a:cubicBezTo>
                    <a:pt x="79" y="140"/>
                    <a:pt x="75" y="158"/>
                    <a:pt x="75" y="158"/>
                  </a:cubicBezTo>
                  <a:close/>
                  <a:moveTo>
                    <a:pt x="84" y="119"/>
                  </a:moveTo>
                  <a:cubicBezTo>
                    <a:pt x="79" y="115"/>
                    <a:pt x="75" y="97"/>
                    <a:pt x="75" y="97"/>
                  </a:cubicBezTo>
                  <a:cubicBezTo>
                    <a:pt x="75" y="97"/>
                    <a:pt x="75" y="120"/>
                    <a:pt x="79" y="124"/>
                  </a:cubicBezTo>
                  <a:cubicBezTo>
                    <a:pt x="83" y="128"/>
                    <a:pt x="106" y="128"/>
                    <a:pt x="106" y="128"/>
                  </a:cubicBezTo>
                  <a:cubicBezTo>
                    <a:pt x="106" y="128"/>
                    <a:pt x="88" y="124"/>
                    <a:pt x="84" y="119"/>
                  </a:cubicBezTo>
                  <a:close/>
                  <a:moveTo>
                    <a:pt x="67" y="119"/>
                  </a:moveTo>
                  <a:cubicBezTo>
                    <a:pt x="63" y="124"/>
                    <a:pt x="45" y="128"/>
                    <a:pt x="45" y="128"/>
                  </a:cubicBezTo>
                  <a:cubicBezTo>
                    <a:pt x="45" y="128"/>
                    <a:pt x="68" y="128"/>
                    <a:pt x="72" y="124"/>
                  </a:cubicBezTo>
                  <a:cubicBezTo>
                    <a:pt x="76" y="120"/>
                    <a:pt x="75" y="97"/>
                    <a:pt x="75" y="97"/>
                  </a:cubicBezTo>
                  <a:cubicBezTo>
                    <a:pt x="75" y="97"/>
                    <a:pt x="71" y="115"/>
                    <a:pt x="67" y="119"/>
                  </a:cubicBezTo>
                  <a:close/>
                  <a:moveTo>
                    <a:pt x="67" y="136"/>
                  </a:moveTo>
                  <a:cubicBezTo>
                    <a:pt x="71" y="140"/>
                    <a:pt x="75" y="158"/>
                    <a:pt x="75" y="158"/>
                  </a:cubicBezTo>
                  <a:cubicBezTo>
                    <a:pt x="75" y="158"/>
                    <a:pt x="76" y="136"/>
                    <a:pt x="72" y="131"/>
                  </a:cubicBezTo>
                  <a:cubicBezTo>
                    <a:pt x="68" y="127"/>
                    <a:pt x="45" y="128"/>
                    <a:pt x="45" y="128"/>
                  </a:cubicBezTo>
                  <a:cubicBezTo>
                    <a:pt x="45" y="128"/>
                    <a:pt x="63" y="132"/>
                    <a:pt x="67" y="136"/>
                  </a:cubicBezTo>
                  <a:close/>
                  <a:moveTo>
                    <a:pt x="31" y="80"/>
                  </a:moveTo>
                  <a:cubicBezTo>
                    <a:pt x="31" y="80"/>
                    <a:pt x="30" y="69"/>
                    <a:pt x="32" y="67"/>
                  </a:cubicBezTo>
                  <a:cubicBezTo>
                    <a:pt x="35" y="65"/>
                    <a:pt x="46" y="65"/>
                    <a:pt x="46" y="65"/>
                  </a:cubicBezTo>
                  <a:cubicBezTo>
                    <a:pt x="46" y="65"/>
                    <a:pt x="37" y="67"/>
                    <a:pt x="35" y="69"/>
                  </a:cubicBezTo>
                  <a:cubicBezTo>
                    <a:pt x="33" y="71"/>
                    <a:pt x="31" y="80"/>
                    <a:pt x="31" y="80"/>
                  </a:cubicBezTo>
                  <a:close/>
                  <a:moveTo>
                    <a:pt x="35" y="61"/>
                  </a:moveTo>
                  <a:cubicBezTo>
                    <a:pt x="33" y="59"/>
                    <a:pt x="31" y="50"/>
                    <a:pt x="31" y="50"/>
                  </a:cubicBezTo>
                  <a:cubicBezTo>
                    <a:pt x="31" y="50"/>
                    <a:pt x="30" y="61"/>
                    <a:pt x="32" y="63"/>
                  </a:cubicBezTo>
                  <a:cubicBezTo>
                    <a:pt x="35" y="65"/>
                    <a:pt x="46" y="65"/>
                    <a:pt x="46" y="65"/>
                  </a:cubicBezTo>
                  <a:cubicBezTo>
                    <a:pt x="46" y="65"/>
                    <a:pt x="37" y="63"/>
                    <a:pt x="35" y="61"/>
                  </a:cubicBezTo>
                  <a:close/>
                  <a:moveTo>
                    <a:pt x="26" y="61"/>
                  </a:moveTo>
                  <a:cubicBezTo>
                    <a:pt x="24" y="63"/>
                    <a:pt x="15" y="65"/>
                    <a:pt x="15" y="65"/>
                  </a:cubicBezTo>
                  <a:cubicBezTo>
                    <a:pt x="15" y="65"/>
                    <a:pt x="27" y="65"/>
                    <a:pt x="29" y="63"/>
                  </a:cubicBezTo>
                  <a:cubicBezTo>
                    <a:pt x="31" y="61"/>
                    <a:pt x="31" y="50"/>
                    <a:pt x="31" y="50"/>
                  </a:cubicBezTo>
                  <a:cubicBezTo>
                    <a:pt x="31" y="50"/>
                    <a:pt x="29" y="59"/>
                    <a:pt x="26" y="61"/>
                  </a:cubicBezTo>
                  <a:close/>
                  <a:moveTo>
                    <a:pt x="26" y="69"/>
                  </a:moveTo>
                  <a:cubicBezTo>
                    <a:pt x="29" y="71"/>
                    <a:pt x="31" y="80"/>
                    <a:pt x="31" y="80"/>
                  </a:cubicBezTo>
                  <a:cubicBezTo>
                    <a:pt x="31" y="80"/>
                    <a:pt x="31" y="69"/>
                    <a:pt x="29" y="67"/>
                  </a:cubicBezTo>
                  <a:cubicBezTo>
                    <a:pt x="27" y="65"/>
                    <a:pt x="15" y="65"/>
                    <a:pt x="15" y="65"/>
                  </a:cubicBezTo>
                  <a:cubicBezTo>
                    <a:pt x="15" y="65"/>
                    <a:pt x="24" y="67"/>
                    <a:pt x="26" y="69"/>
                  </a:cubicBezTo>
                  <a:close/>
                  <a:moveTo>
                    <a:pt x="229" y="30"/>
                  </a:moveTo>
                  <a:cubicBezTo>
                    <a:pt x="229" y="30"/>
                    <a:pt x="229" y="19"/>
                    <a:pt x="231" y="17"/>
                  </a:cubicBezTo>
                  <a:cubicBezTo>
                    <a:pt x="233" y="15"/>
                    <a:pt x="244" y="15"/>
                    <a:pt x="244" y="15"/>
                  </a:cubicBezTo>
                  <a:cubicBezTo>
                    <a:pt x="244" y="15"/>
                    <a:pt x="235" y="17"/>
                    <a:pt x="233" y="19"/>
                  </a:cubicBezTo>
                  <a:cubicBezTo>
                    <a:pt x="231" y="21"/>
                    <a:pt x="229" y="30"/>
                    <a:pt x="229" y="30"/>
                  </a:cubicBezTo>
                  <a:close/>
                  <a:moveTo>
                    <a:pt x="233" y="11"/>
                  </a:moveTo>
                  <a:cubicBezTo>
                    <a:pt x="231" y="9"/>
                    <a:pt x="229" y="0"/>
                    <a:pt x="229" y="0"/>
                  </a:cubicBezTo>
                  <a:cubicBezTo>
                    <a:pt x="229" y="0"/>
                    <a:pt x="229" y="11"/>
                    <a:pt x="231" y="13"/>
                  </a:cubicBezTo>
                  <a:cubicBezTo>
                    <a:pt x="233" y="15"/>
                    <a:pt x="244" y="15"/>
                    <a:pt x="244" y="15"/>
                  </a:cubicBezTo>
                  <a:cubicBezTo>
                    <a:pt x="244" y="15"/>
                    <a:pt x="235" y="13"/>
                    <a:pt x="233" y="11"/>
                  </a:cubicBezTo>
                  <a:close/>
                  <a:moveTo>
                    <a:pt x="225" y="11"/>
                  </a:moveTo>
                  <a:cubicBezTo>
                    <a:pt x="223" y="13"/>
                    <a:pt x="214" y="15"/>
                    <a:pt x="214" y="15"/>
                  </a:cubicBezTo>
                  <a:cubicBezTo>
                    <a:pt x="214" y="15"/>
                    <a:pt x="225" y="15"/>
                    <a:pt x="227" y="13"/>
                  </a:cubicBezTo>
                  <a:cubicBezTo>
                    <a:pt x="229" y="11"/>
                    <a:pt x="229" y="0"/>
                    <a:pt x="229" y="0"/>
                  </a:cubicBezTo>
                  <a:cubicBezTo>
                    <a:pt x="229" y="0"/>
                    <a:pt x="227" y="9"/>
                    <a:pt x="225" y="11"/>
                  </a:cubicBezTo>
                  <a:close/>
                  <a:moveTo>
                    <a:pt x="225" y="19"/>
                  </a:moveTo>
                  <a:cubicBezTo>
                    <a:pt x="227" y="21"/>
                    <a:pt x="229" y="30"/>
                    <a:pt x="229" y="30"/>
                  </a:cubicBezTo>
                  <a:cubicBezTo>
                    <a:pt x="229" y="30"/>
                    <a:pt x="229" y="19"/>
                    <a:pt x="227" y="17"/>
                  </a:cubicBezTo>
                  <a:cubicBezTo>
                    <a:pt x="225" y="15"/>
                    <a:pt x="214" y="15"/>
                    <a:pt x="214" y="15"/>
                  </a:cubicBezTo>
                  <a:cubicBezTo>
                    <a:pt x="214" y="15"/>
                    <a:pt x="223" y="17"/>
                    <a:pt x="225" y="19"/>
                  </a:cubicBezTo>
                  <a:close/>
                  <a:moveTo>
                    <a:pt x="244" y="152"/>
                  </a:moveTo>
                  <a:cubicBezTo>
                    <a:pt x="244" y="152"/>
                    <a:pt x="244" y="140"/>
                    <a:pt x="246" y="138"/>
                  </a:cubicBezTo>
                  <a:cubicBezTo>
                    <a:pt x="248" y="136"/>
                    <a:pt x="259" y="136"/>
                    <a:pt x="259" y="136"/>
                  </a:cubicBezTo>
                  <a:cubicBezTo>
                    <a:pt x="259" y="136"/>
                    <a:pt x="250" y="138"/>
                    <a:pt x="248" y="141"/>
                  </a:cubicBezTo>
                  <a:cubicBezTo>
                    <a:pt x="246" y="143"/>
                    <a:pt x="244" y="152"/>
                    <a:pt x="244" y="152"/>
                  </a:cubicBezTo>
                  <a:close/>
                  <a:moveTo>
                    <a:pt x="248" y="132"/>
                  </a:moveTo>
                  <a:cubicBezTo>
                    <a:pt x="246" y="130"/>
                    <a:pt x="244" y="121"/>
                    <a:pt x="244" y="121"/>
                  </a:cubicBezTo>
                  <a:cubicBezTo>
                    <a:pt x="244" y="121"/>
                    <a:pt x="244" y="133"/>
                    <a:pt x="246" y="135"/>
                  </a:cubicBezTo>
                  <a:cubicBezTo>
                    <a:pt x="248" y="137"/>
                    <a:pt x="259" y="136"/>
                    <a:pt x="259" y="136"/>
                  </a:cubicBezTo>
                  <a:cubicBezTo>
                    <a:pt x="259" y="136"/>
                    <a:pt x="250" y="134"/>
                    <a:pt x="248" y="132"/>
                  </a:cubicBezTo>
                  <a:close/>
                  <a:moveTo>
                    <a:pt x="240" y="132"/>
                  </a:moveTo>
                  <a:cubicBezTo>
                    <a:pt x="238" y="134"/>
                    <a:pt x="229" y="136"/>
                    <a:pt x="229" y="136"/>
                  </a:cubicBezTo>
                  <a:cubicBezTo>
                    <a:pt x="229" y="136"/>
                    <a:pt x="240" y="137"/>
                    <a:pt x="242" y="135"/>
                  </a:cubicBezTo>
                  <a:cubicBezTo>
                    <a:pt x="244" y="133"/>
                    <a:pt x="244" y="121"/>
                    <a:pt x="244" y="121"/>
                  </a:cubicBezTo>
                  <a:cubicBezTo>
                    <a:pt x="244" y="121"/>
                    <a:pt x="242" y="130"/>
                    <a:pt x="240" y="132"/>
                  </a:cubicBezTo>
                  <a:close/>
                  <a:moveTo>
                    <a:pt x="240" y="141"/>
                  </a:moveTo>
                  <a:cubicBezTo>
                    <a:pt x="242" y="143"/>
                    <a:pt x="244" y="152"/>
                    <a:pt x="244" y="152"/>
                  </a:cubicBezTo>
                  <a:cubicBezTo>
                    <a:pt x="244" y="152"/>
                    <a:pt x="244" y="140"/>
                    <a:pt x="242" y="138"/>
                  </a:cubicBezTo>
                  <a:cubicBezTo>
                    <a:pt x="240" y="136"/>
                    <a:pt x="229" y="136"/>
                    <a:pt x="229" y="136"/>
                  </a:cubicBezTo>
                  <a:cubicBezTo>
                    <a:pt x="229" y="136"/>
                    <a:pt x="238" y="138"/>
                    <a:pt x="240" y="141"/>
                  </a:cubicBezTo>
                  <a:close/>
                  <a:moveTo>
                    <a:pt x="15" y="173"/>
                  </a:moveTo>
                  <a:cubicBezTo>
                    <a:pt x="15" y="173"/>
                    <a:pt x="15" y="162"/>
                    <a:pt x="17" y="160"/>
                  </a:cubicBezTo>
                  <a:cubicBezTo>
                    <a:pt x="19" y="158"/>
                    <a:pt x="31" y="158"/>
                    <a:pt x="31" y="158"/>
                  </a:cubicBezTo>
                  <a:cubicBezTo>
                    <a:pt x="31" y="158"/>
                    <a:pt x="22" y="160"/>
                    <a:pt x="20" y="162"/>
                  </a:cubicBezTo>
                  <a:cubicBezTo>
                    <a:pt x="17" y="164"/>
                    <a:pt x="15" y="173"/>
                    <a:pt x="15" y="173"/>
                  </a:cubicBezTo>
                  <a:close/>
                  <a:moveTo>
                    <a:pt x="20" y="154"/>
                  </a:moveTo>
                  <a:cubicBezTo>
                    <a:pt x="17" y="152"/>
                    <a:pt x="15" y="143"/>
                    <a:pt x="15" y="143"/>
                  </a:cubicBezTo>
                  <a:cubicBezTo>
                    <a:pt x="15" y="143"/>
                    <a:pt x="15" y="154"/>
                    <a:pt x="17" y="156"/>
                  </a:cubicBezTo>
                  <a:cubicBezTo>
                    <a:pt x="19" y="158"/>
                    <a:pt x="31" y="158"/>
                    <a:pt x="31" y="158"/>
                  </a:cubicBezTo>
                  <a:cubicBezTo>
                    <a:pt x="31" y="158"/>
                    <a:pt x="22" y="156"/>
                    <a:pt x="20" y="154"/>
                  </a:cubicBezTo>
                  <a:close/>
                  <a:moveTo>
                    <a:pt x="11" y="154"/>
                  </a:moveTo>
                  <a:cubicBezTo>
                    <a:pt x="9" y="156"/>
                    <a:pt x="0" y="158"/>
                    <a:pt x="0" y="158"/>
                  </a:cubicBezTo>
                  <a:cubicBezTo>
                    <a:pt x="0" y="158"/>
                    <a:pt x="11" y="158"/>
                    <a:pt x="14" y="156"/>
                  </a:cubicBezTo>
                  <a:cubicBezTo>
                    <a:pt x="16" y="154"/>
                    <a:pt x="15" y="143"/>
                    <a:pt x="15" y="143"/>
                  </a:cubicBezTo>
                  <a:cubicBezTo>
                    <a:pt x="15" y="143"/>
                    <a:pt x="13" y="152"/>
                    <a:pt x="11" y="154"/>
                  </a:cubicBezTo>
                  <a:close/>
                  <a:moveTo>
                    <a:pt x="11" y="162"/>
                  </a:moveTo>
                  <a:cubicBezTo>
                    <a:pt x="13" y="164"/>
                    <a:pt x="15" y="173"/>
                    <a:pt x="15" y="173"/>
                  </a:cubicBezTo>
                  <a:cubicBezTo>
                    <a:pt x="15" y="173"/>
                    <a:pt x="16" y="162"/>
                    <a:pt x="14" y="160"/>
                  </a:cubicBezTo>
                  <a:cubicBezTo>
                    <a:pt x="11" y="158"/>
                    <a:pt x="0" y="158"/>
                    <a:pt x="0" y="158"/>
                  </a:cubicBezTo>
                  <a:cubicBezTo>
                    <a:pt x="0" y="158"/>
                    <a:pt x="9" y="160"/>
                    <a:pt x="11" y="162"/>
                  </a:cubicBezTo>
                  <a:close/>
                  <a:moveTo>
                    <a:pt x="214" y="133"/>
                  </a:moveTo>
                  <a:cubicBezTo>
                    <a:pt x="214" y="133"/>
                    <a:pt x="213" y="99"/>
                    <a:pt x="219" y="93"/>
                  </a:cubicBezTo>
                  <a:cubicBezTo>
                    <a:pt x="226" y="87"/>
                    <a:pt x="259" y="88"/>
                    <a:pt x="259" y="88"/>
                  </a:cubicBezTo>
                  <a:cubicBezTo>
                    <a:pt x="259" y="88"/>
                    <a:pt x="232" y="94"/>
                    <a:pt x="226" y="100"/>
                  </a:cubicBezTo>
                  <a:cubicBezTo>
                    <a:pt x="220" y="106"/>
                    <a:pt x="214" y="133"/>
                    <a:pt x="214" y="133"/>
                  </a:cubicBezTo>
                  <a:close/>
                  <a:moveTo>
                    <a:pt x="226" y="75"/>
                  </a:moveTo>
                  <a:cubicBezTo>
                    <a:pt x="220" y="69"/>
                    <a:pt x="214" y="42"/>
                    <a:pt x="214" y="42"/>
                  </a:cubicBezTo>
                  <a:cubicBezTo>
                    <a:pt x="214" y="42"/>
                    <a:pt x="213" y="76"/>
                    <a:pt x="219" y="82"/>
                  </a:cubicBezTo>
                  <a:cubicBezTo>
                    <a:pt x="226" y="88"/>
                    <a:pt x="259" y="88"/>
                    <a:pt x="259" y="88"/>
                  </a:cubicBezTo>
                  <a:cubicBezTo>
                    <a:pt x="259" y="88"/>
                    <a:pt x="232" y="81"/>
                    <a:pt x="226" y="75"/>
                  </a:cubicBezTo>
                  <a:close/>
                  <a:moveTo>
                    <a:pt x="201" y="75"/>
                  </a:moveTo>
                  <a:cubicBezTo>
                    <a:pt x="195" y="81"/>
                    <a:pt x="168" y="88"/>
                    <a:pt x="168" y="88"/>
                  </a:cubicBezTo>
                  <a:cubicBezTo>
                    <a:pt x="168" y="88"/>
                    <a:pt x="202" y="88"/>
                    <a:pt x="208" y="82"/>
                  </a:cubicBezTo>
                  <a:cubicBezTo>
                    <a:pt x="215" y="76"/>
                    <a:pt x="214" y="42"/>
                    <a:pt x="214" y="42"/>
                  </a:cubicBezTo>
                  <a:cubicBezTo>
                    <a:pt x="214" y="42"/>
                    <a:pt x="208" y="69"/>
                    <a:pt x="201" y="75"/>
                  </a:cubicBezTo>
                  <a:close/>
                  <a:moveTo>
                    <a:pt x="201" y="100"/>
                  </a:moveTo>
                  <a:cubicBezTo>
                    <a:pt x="208" y="106"/>
                    <a:pt x="214" y="133"/>
                    <a:pt x="214" y="133"/>
                  </a:cubicBezTo>
                  <a:cubicBezTo>
                    <a:pt x="214" y="133"/>
                    <a:pt x="215" y="99"/>
                    <a:pt x="208" y="93"/>
                  </a:cubicBezTo>
                  <a:cubicBezTo>
                    <a:pt x="202" y="87"/>
                    <a:pt x="168" y="88"/>
                    <a:pt x="168" y="88"/>
                  </a:cubicBezTo>
                  <a:cubicBezTo>
                    <a:pt x="168" y="88"/>
                    <a:pt x="195" y="94"/>
                    <a:pt x="201" y="100"/>
                  </a:cubicBezTo>
                  <a:close/>
                  <a:moveTo>
                    <a:pt x="250" y="231"/>
                  </a:moveTo>
                  <a:cubicBezTo>
                    <a:pt x="212" y="178"/>
                    <a:pt x="212" y="178"/>
                    <a:pt x="212" y="178"/>
                  </a:cubicBezTo>
                  <a:cubicBezTo>
                    <a:pt x="189" y="178"/>
                    <a:pt x="189" y="178"/>
                    <a:pt x="189" y="178"/>
                  </a:cubicBezTo>
                  <a:cubicBezTo>
                    <a:pt x="193" y="160"/>
                    <a:pt x="207" y="146"/>
                    <a:pt x="223" y="146"/>
                  </a:cubicBezTo>
                  <a:cubicBezTo>
                    <a:pt x="224" y="146"/>
                    <a:pt x="226" y="144"/>
                    <a:pt x="226" y="143"/>
                  </a:cubicBezTo>
                  <a:cubicBezTo>
                    <a:pt x="226" y="141"/>
                    <a:pt x="224" y="140"/>
                    <a:pt x="223" y="140"/>
                  </a:cubicBezTo>
                  <a:cubicBezTo>
                    <a:pt x="203" y="140"/>
                    <a:pt x="187" y="156"/>
                    <a:pt x="183" y="178"/>
                  </a:cubicBezTo>
                  <a:cubicBezTo>
                    <a:pt x="156" y="178"/>
                    <a:pt x="156" y="178"/>
                    <a:pt x="156" y="178"/>
                  </a:cubicBezTo>
                  <a:cubicBezTo>
                    <a:pt x="158" y="140"/>
                    <a:pt x="173" y="110"/>
                    <a:pt x="190" y="110"/>
                  </a:cubicBezTo>
                  <a:cubicBezTo>
                    <a:pt x="191" y="110"/>
                    <a:pt x="193" y="109"/>
                    <a:pt x="193" y="107"/>
                  </a:cubicBezTo>
                  <a:cubicBezTo>
                    <a:pt x="193" y="105"/>
                    <a:pt x="191" y="104"/>
                    <a:pt x="190" y="104"/>
                  </a:cubicBezTo>
                  <a:cubicBezTo>
                    <a:pt x="169" y="104"/>
                    <a:pt x="152" y="136"/>
                    <a:pt x="150" y="178"/>
                  </a:cubicBezTo>
                  <a:cubicBezTo>
                    <a:pt x="139" y="178"/>
                    <a:pt x="139" y="178"/>
                    <a:pt x="139" y="178"/>
                  </a:cubicBezTo>
                  <a:cubicBezTo>
                    <a:pt x="141" y="92"/>
                    <a:pt x="170" y="23"/>
                    <a:pt x="206" y="23"/>
                  </a:cubicBezTo>
                  <a:cubicBezTo>
                    <a:pt x="208" y="23"/>
                    <a:pt x="210" y="21"/>
                    <a:pt x="210" y="20"/>
                  </a:cubicBezTo>
                  <a:cubicBezTo>
                    <a:pt x="210" y="18"/>
                    <a:pt x="208" y="17"/>
                    <a:pt x="206" y="17"/>
                  </a:cubicBezTo>
                  <a:cubicBezTo>
                    <a:pt x="166" y="17"/>
                    <a:pt x="135" y="87"/>
                    <a:pt x="133" y="178"/>
                  </a:cubicBezTo>
                  <a:cubicBezTo>
                    <a:pt x="129" y="178"/>
                    <a:pt x="129" y="178"/>
                    <a:pt x="129" y="178"/>
                  </a:cubicBezTo>
                  <a:cubicBezTo>
                    <a:pt x="129" y="66"/>
                    <a:pt x="127" y="66"/>
                    <a:pt x="124" y="66"/>
                  </a:cubicBezTo>
                  <a:cubicBezTo>
                    <a:pt x="122" y="66"/>
                    <a:pt x="120" y="68"/>
                    <a:pt x="120" y="69"/>
                  </a:cubicBezTo>
                  <a:cubicBezTo>
                    <a:pt x="120" y="70"/>
                    <a:pt x="121" y="70"/>
                    <a:pt x="121" y="71"/>
                  </a:cubicBezTo>
                  <a:cubicBezTo>
                    <a:pt x="122" y="76"/>
                    <a:pt x="123" y="118"/>
                    <a:pt x="123" y="178"/>
                  </a:cubicBezTo>
                  <a:cubicBezTo>
                    <a:pt x="120" y="178"/>
                    <a:pt x="120" y="178"/>
                    <a:pt x="120" y="178"/>
                  </a:cubicBezTo>
                  <a:cubicBezTo>
                    <a:pt x="118" y="114"/>
                    <a:pt x="89" y="62"/>
                    <a:pt x="54" y="62"/>
                  </a:cubicBezTo>
                  <a:cubicBezTo>
                    <a:pt x="52" y="62"/>
                    <a:pt x="51" y="63"/>
                    <a:pt x="51" y="65"/>
                  </a:cubicBezTo>
                  <a:cubicBezTo>
                    <a:pt x="51" y="67"/>
                    <a:pt x="52" y="68"/>
                    <a:pt x="54" y="68"/>
                  </a:cubicBezTo>
                  <a:cubicBezTo>
                    <a:pt x="86" y="68"/>
                    <a:pt x="112" y="117"/>
                    <a:pt x="113" y="178"/>
                  </a:cubicBezTo>
                  <a:cubicBezTo>
                    <a:pt x="103" y="178"/>
                    <a:pt x="103" y="178"/>
                    <a:pt x="103" y="178"/>
                  </a:cubicBezTo>
                  <a:cubicBezTo>
                    <a:pt x="103" y="161"/>
                    <a:pt x="98" y="144"/>
                    <a:pt x="89" y="144"/>
                  </a:cubicBezTo>
                  <a:cubicBezTo>
                    <a:pt x="87" y="144"/>
                    <a:pt x="86" y="145"/>
                    <a:pt x="86" y="147"/>
                  </a:cubicBezTo>
                  <a:cubicBezTo>
                    <a:pt x="86" y="149"/>
                    <a:pt x="87" y="150"/>
                    <a:pt x="89" y="150"/>
                  </a:cubicBezTo>
                  <a:cubicBezTo>
                    <a:pt x="91" y="150"/>
                    <a:pt x="97" y="161"/>
                    <a:pt x="97" y="178"/>
                  </a:cubicBezTo>
                  <a:cubicBezTo>
                    <a:pt x="86" y="178"/>
                    <a:pt x="86" y="178"/>
                    <a:pt x="86" y="178"/>
                  </a:cubicBezTo>
                  <a:cubicBezTo>
                    <a:pt x="79" y="164"/>
                    <a:pt x="59" y="154"/>
                    <a:pt x="36" y="154"/>
                  </a:cubicBezTo>
                  <a:cubicBezTo>
                    <a:pt x="34" y="154"/>
                    <a:pt x="33" y="156"/>
                    <a:pt x="33" y="157"/>
                  </a:cubicBezTo>
                  <a:cubicBezTo>
                    <a:pt x="33" y="159"/>
                    <a:pt x="34" y="160"/>
                    <a:pt x="36" y="160"/>
                  </a:cubicBezTo>
                  <a:cubicBezTo>
                    <a:pt x="55" y="160"/>
                    <a:pt x="72" y="168"/>
                    <a:pt x="79" y="178"/>
                  </a:cubicBezTo>
                  <a:cubicBezTo>
                    <a:pt x="60" y="178"/>
                    <a:pt x="60" y="178"/>
                    <a:pt x="60" y="178"/>
                  </a:cubicBezTo>
                  <a:cubicBezTo>
                    <a:pt x="22" y="231"/>
                    <a:pt x="22" y="231"/>
                    <a:pt x="22" y="231"/>
                  </a:cubicBezTo>
                  <a:cubicBezTo>
                    <a:pt x="21" y="233"/>
                    <a:pt x="21" y="235"/>
                    <a:pt x="22" y="236"/>
                  </a:cubicBezTo>
                  <a:cubicBezTo>
                    <a:pt x="27" y="238"/>
                    <a:pt x="27" y="238"/>
                    <a:pt x="27" y="238"/>
                  </a:cubicBezTo>
                  <a:cubicBezTo>
                    <a:pt x="28" y="239"/>
                    <a:pt x="30" y="239"/>
                    <a:pt x="31" y="238"/>
                  </a:cubicBezTo>
                  <a:cubicBezTo>
                    <a:pt x="60" y="195"/>
                    <a:pt x="60" y="195"/>
                    <a:pt x="60" y="195"/>
                  </a:cubicBezTo>
                  <a:cubicBezTo>
                    <a:pt x="60" y="294"/>
                    <a:pt x="60" y="294"/>
                    <a:pt x="60" y="294"/>
                  </a:cubicBezTo>
                  <a:cubicBezTo>
                    <a:pt x="60" y="297"/>
                    <a:pt x="63" y="300"/>
                    <a:pt x="66" y="300"/>
                  </a:cubicBezTo>
                  <a:cubicBezTo>
                    <a:pt x="206" y="300"/>
                    <a:pt x="206" y="300"/>
                    <a:pt x="206" y="300"/>
                  </a:cubicBezTo>
                  <a:cubicBezTo>
                    <a:pt x="209" y="300"/>
                    <a:pt x="212" y="297"/>
                    <a:pt x="212" y="294"/>
                  </a:cubicBezTo>
                  <a:cubicBezTo>
                    <a:pt x="212" y="195"/>
                    <a:pt x="212" y="195"/>
                    <a:pt x="212" y="195"/>
                  </a:cubicBezTo>
                  <a:cubicBezTo>
                    <a:pt x="242" y="238"/>
                    <a:pt x="242" y="238"/>
                    <a:pt x="242" y="238"/>
                  </a:cubicBezTo>
                  <a:cubicBezTo>
                    <a:pt x="243" y="239"/>
                    <a:pt x="244" y="239"/>
                    <a:pt x="246" y="238"/>
                  </a:cubicBezTo>
                  <a:cubicBezTo>
                    <a:pt x="250" y="236"/>
                    <a:pt x="250" y="236"/>
                    <a:pt x="250" y="236"/>
                  </a:cubicBezTo>
                  <a:cubicBezTo>
                    <a:pt x="251" y="235"/>
                    <a:pt x="251" y="233"/>
                    <a:pt x="250" y="231"/>
                  </a:cubicBezTo>
                  <a:close/>
                  <a:moveTo>
                    <a:pt x="159" y="226"/>
                  </a:moveTo>
                  <a:cubicBezTo>
                    <a:pt x="113" y="226"/>
                    <a:pt x="113" y="226"/>
                    <a:pt x="113" y="226"/>
                  </a:cubicBezTo>
                  <a:cubicBezTo>
                    <a:pt x="110" y="226"/>
                    <a:pt x="107" y="223"/>
                    <a:pt x="107" y="220"/>
                  </a:cubicBezTo>
                  <a:cubicBezTo>
                    <a:pt x="107" y="216"/>
                    <a:pt x="110" y="214"/>
                    <a:pt x="113" y="214"/>
                  </a:cubicBezTo>
                  <a:cubicBezTo>
                    <a:pt x="159" y="214"/>
                    <a:pt x="159" y="214"/>
                    <a:pt x="159" y="214"/>
                  </a:cubicBezTo>
                  <a:cubicBezTo>
                    <a:pt x="162" y="214"/>
                    <a:pt x="165" y="216"/>
                    <a:pt x="165" y="220"/>
                  </a:cubicBezTo>
                  <a:cubicBezTo>
                    <a:pt x="165" y="223"/>
                    <a:pt x="162" y="226"/>
                    <a:pt x="159" y="226"/>
                  </a:cubicBezTo>
                  <a:close/>
                </a:path>
              </a:pathLst>
            </a:custGeom>
            <a:solidFill>
              <a:srgbClr val="F2C812"/>
            </a:solidFill>
            <a:ln>
              <a:noFill/>
            </a:ln>
          </p:spPr>
          <p:txBody>
            <a:bodyPr vert="horz" wrap="square" lIns="82281" tIns="41141" rIns="82281" bIns="41141" numCol="1" anchor="t" anchorCtr="0" compatLnSpc="1">
              <a:prstTxWarp prst="textNoShape">
                <a:avLst/>
              </a:prstTxWarp>
            </a:bodyPr>
            <a:lstStyle/>
            <a:p>
              <a:pPr defTabSz="932384"/>
              <a:endParaRPr lang="en-US" sz="1598" kern="0">
                <a:solidFill>
                  <a:srgbClr val="000000"/>
                </a:solidFill>
              </a:endParaRPr>
            </a:p>
          </p:txBody>
        </p:sp>
      </p:grpSp>
      <p:grpSp>
        <p:nvGrpSpPr>
          <p:cNvPr id="9" name="Group 8"/>
          <p:cNvGrpSpPr/>
          <p:nvPr/>
        </p:nvGrpSpPr>
        <p:grpSpPr>
          <a:xfrm>
            <a:off x="369188" y="4998817"/>
            <a:ext cx="6445838" cy="723437"/>
            <a:chOff x="330771" y="5800102"/>
            <a:chExt cx="6320920" cy="709416"/>
          </a:xfrm>
        </p:grpSpPr>
        <p:sp>
          <p:nvSpPr>
            <p:cNvPr id="54" name="Rectangle 53"/>
            <p:cNvSpPr/>
            <p:nvPr/>
          </p:nvSpPr>
          <p:spPr bwMode="auto">
            <a:xfrm>
              <a:off x="330771" y="5800102"/>
              <a:ext cx="6320920" cy="7094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45" tIns="146262" rIns="182828" bIns="146262" numCol="1" spcCol="0" rtlCol="0" fromWordArt="0" anchor="ctr" anchorCtr="0" forceAA="0" compatLnSpc="1">
              <a:prstTxWarp prst="textNoShape">
                <a:avLst/>
              </a:prstTxWarp>
              <a:noAutofit/>
            </a:bodyPr>
            <a:lstStyle/>
            <a:p>
              <a:pPr marL="699313" defTabSz="932384" fontAlgn="base">
                <a:lnSpc>
                  <a:spcPct val="90000"/>
                </a:lnSpc>
                <a:spcBef>
                  <a:spcPct val="20000"/>
                </a:spcBef>
                <a:spcAft>
                  <a:spcPct val="0"/>
                </a:spcAft>
                <a:buSzPct val="90000"/>
              </a:pPr>
              <a:r>
                <a:rPr lang="en-US" sz="2040" kern="0" dirty="0">
                  <a:ln w="3175">
                    <a:noFill/>
                  </a:ln>
                  <a:solidFill>
                    <a:srgbClr val="000000"/>
                  </a:solidFill>
                  <a:latin typeface="Calibri Light" panose="020F0302020204030204"/>
                </a:rPr>
                <a:t>Integrated with familiar Microsoft products and utilizes commitment for scale &amp; availability in Azure </a:t>
              </a:r>
            </a:p>
          </p:txBody>
        </p:sp>
        <p:sp>
          <p:nvSpPr>
            <p:cNvPr id="74" name="Rectangle 73"/>
            <p:cNvSpPr/>
            <p:nvPr/>
          </p:nvSpPr>
          <p:spPr bwMode="auto">
            <a:xfrm>
              <a:off x="330772" y="5800102"/>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marL="634757" defTabSz="932114" fontAlgn="base">
                <a:lnSpc>
                  <a:spcPct val="90000"/>
                </a:lnSpc>
                <a:spcBef>
                  <a:spcPct val="0"/>
                </a:spcBef>
                <a:spcAft>
                  <a:spcPct val="0"/>
                </a:spcAft>
              </a:pPr>
              <a:endParaRPr lang="en-US" sz="2800"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nvGrpSpPr>
            <p:cNvPr id="75" name="Group 74"/>
            <p:cNvGrpSpPr/>
            <p:nvPr/>
          </p:nvGrpSpPr>
          <p:grpSpPr>
            <a:xfrm>
              <a:off x="456880" y="5924930"/>
              <a:ext cx="457200" cy="459760"/>
              <a:chOff x="4862621" y="5295900"/>
              <a:chExt cx="575101" cy="592606"/>
            </a:xfrm>
            <a:solidFill>
              <a:srgbClr val="F2C812"/>
            </a:solidFill>
          </p:grpSpPr>
          <p:sp>
            <p:nvSpPr>
              <p:cNvPr id="76" name="Rectangle 75"/>
              <p:cNvSpPr/>
              <p:nvPr/>
            </p:nvSpPr>
            <p:spPr bwMode="auto">
              <a:xfrm>
                <a:off x="4862621" y="5295900"/>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8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Rectangle 76"/>
              <p:cNvSpPr/>
              <p:nvPr/>
            </p:nvSpPr>
            <p:spPr bwMode="auto">
              <a:xfrm>
                <a:off x="5163402" y="5295900"/>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8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8" name="Rectangle 77"/>
              <p:cNvSpPr/>
              <p:nvPr/>
            </p:nvSpPr>
            <p:spPr bwMode="auto">
              <a:xfrm>
                <a:off x="5163402" y="5614186"/>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8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9" name="Rectangle 78"/>
              <p:cNvSpPr/>
              <p:nvPr/>
            </p:nvSpPr>
            <p:spPr bwMode="auto">
              <a:xfrm>
                <a:off x="4862621" y="5614186"/>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800" kern="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8" name="Group 7"/>
          <p:cNvGrpSpPr/>
          <p:nvPr/>
        </p:nvGrpSpPr>
        <p:grpSpPr>
          <a:xfrm>
            <a:off x="369188" y="4115278"/>
            <a:ext cx="6445838" cy="723437"/>
            <a:chOff x="330771" y="5005120"/>
            <a:chExt cx="6320920" cy="709416"/>
          </a:xfrm>
        </p:grpSpPr>
        <p:sp>
          <p:nvSpPr>
            <p:cNvPr id="55" name="Rectangle 54"/>
            <p:cNvSpPr/>
            <p:nvPr/>
          </p:nvSpPr>
          <p:spPr bwMode="auto">
            <a:xfrm>
              <a:off x="330771" y="5005120"/>
              <a:ext cx="6320920" cy="7094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45" tIns="146262" rIns="182828" bIns="146262" numCol="1" spcCol="0" rtlCol="0" fromWordArt="0" anchor="ctr" anchorCtr="0" forceAA="0" compatLnSpc="1">
              <a:prstTxWarp prst="textNoShape">
                <a:avLst/>
              </a:prstTxWarp>
              <a:noAutofit/>
            </a:bodyPr>
            <a:lstStyle/>
            <a:p>
              <a:pPr marL="699313" defTabSz="932384" fontAlgn="base">
                <a:lnSpc>
                  <a:spcPct val="90000"/>
                </a:lnSpc>
                <a:spcBef>
                  <a:spcPct val="20000"/>
                </a:spcBef>
                <a:spcAft>
                  <a:spcPct val="0"/>
                </a:spcAft>
                <a:buSzPct val="90000"/>
              </a:pPr>
              <a:r>
                <a:rPr lang="en-US" sz="2040" kern="0" dirty="0">
                  <a:ln w="3175">
                    <a:noFill/>
                  </a:ln>
                  <a:solidFill>
                    <a:srgbClr val="000000"/>
                  </a:solidFill>
                  <a:latin typeface="Calibri Light" panose="020F0302020204030204"/>
                </a:rPr>
                <a:t>Intuitive data exploration using natural language query</a:t>
              </a:r>
            </a:p>
          </p:txBody>
        </p:sp>
        <p:sp>
          <p:nvSpPr>
            <p:cNvPr id="80" name="Rectangle 79"/>
            <p:cNvSpPr/>
            <p:nvPr/>
          </p:nvSpPr>
          <p:spPr bwMode="auto">
            <a:xfrm>
              <a:off x="332292" y="5005120"/>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marL="634757" defTabSz="932114" fontAlgn="base">
                <a:lnSpc>
                  <a:spcPct val="90000"/>
                </a:lnSpc>
                <a:spcBef>
                  <a:spcPct val="0"/>
                </a:spcBef>
                <a:spcAft>
                  <a:spcPct val="0"/>
                </a:spcAft>
              </a:pPr>
              <a:endParaRPr lang="en-US" sz="2800"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pic>
          <p:nvPicPr>
            <p:cNvPr id="86" name="Picture 85"/>
            <p:cNvPicPr>
              <a:picLocks noChangeAspect="1"/>
            </p:cNvPicPr>
            <p:nvPr/>
          </p:nvPicPr>
          <p:blipFill>
            <a:blip r:embed="rId3"/>
            <a:stretch>
              <a:fillRect/>
            </a:stretch>
          </p:blipFill>
          <p:spPr>
            <a:xfrm>
              <a:off x="394947" y="5088350"/>
              <a:ext cx="562315" cy="537598"/>
            </a:xfrm>
            <a:prstGeom prst="rect">
              <a:avLst/>
            </a:prstGeom>
          </p:spPr>
        </p:pic>
      </p:grpSp>
      <p:grpSp>
        <p:nvGrpSpPr>
          <p:cNvPr id="5" name="Group 4"/>
          <p:cNvGrpSpPr/>
          <p:nvPr/>
        </p:nvGrpSpPr>
        <p:grpSpPr>
          <a:xfrm>
            <a:off x="369188" y="2345610"/>
            <a:ext cx="6445838" cy="723438"/>
            <a:chOff x="330771" y="3412641"/>
            <a:chExt cx="6320920" cy="709417"/>
          </a:xfrm>
        </p:grpSpPr>
        <p:sp>
          <p:nvSpPr>
            <p:cNvPr id="87" name="Rectangle 86"/>
            <p:cNvSpPr/>
            <p:nvPr/>
          </p:nvSpPr>
          <p:spPr bwMode="auto">
            <a:xfrm>
              <a:off x="330772" y="3412641"/>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marL="634757" defTabSz="932114" fontAlgn="base">
                <a:lnSpc>
                  <a:spcPct val="90000"/>
                </a:lnSpc>
                <a:spcBef>
                  <a:spcPct val="0"/>
                </a:spcBef>
                <a:spcAft>
                  <a:spcPct val="0"/>
                </a:spcAft>
              </a:pPr>
              <a:endParaRPr lang="en-US" sz="2800"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3" name="Rectangle 52"/>
            <p:cNvSpPr/>
            <p:nvPr/>
          </p:nvSpPr>
          <p:spPr bwMode="auto">
            <a:xfrm>
              <a:off x="330771" y="3412642"/>
              <a:ext cx="6320920" cy="7094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45" tIns="146262" rIns="182828" bIns="146262" numCol="1" spcCol="0" rtlCol="0" fromWordArt="0" anchor="ctr" anchorCtr="0" forceAA="0" compatLnSpc="1">
              <a:prstTxWarp prst="textNoShape">
                <a:avLst/>
              </a:prstTxWarp>
              <a:noAutofit/>
            </a:bodyPr>
            <a:lstStyle/>
            <a:p>
              <a:pPr marL="699313" defTabSz="932384" fontAlgn="base">
                <a:lnSpc>
                  <a:spcPct val="90000"/>
                </a:lnSpc>
                <a:spcBef>
                  <a:spcPct val="20000"/>
                </a:spcBef>
                <a:spcAft>
                  <a:spcPct val="0"/>
                </a:spcAft>
                <a:buSzPct val="90000"/>
              </a:pPr>
              <a:r>
                <a:rPr lang="en-US" sz="2040" kern="0" dirty="0">
                  <a:ln w="3175">
                    <a:noFill/>
                  </a:ln>
                  <a:solidFill>
                    <a:srgbClr val="000000"/>
                  </a:solidFill>
                  <a:latin typeface="Calibri Light" panose="020F0302020204030204"/>
                </a:rPr>
                <a:t>Real-time dashboard updates</a:t>
              </a:r>
            </a:p>
          </p:txBody>
        </p:sp>
        <p:sp>
          <p:nvSpPr>
            <p:cNvPr id="88" name="Rectangle 87"/>
            <p:cNvSpPr/>
            <p:nvPr/>
          </p:nvSpPr>
          <p:spPr bwMode="auto">
            <a:xfrm>
              <a:off x="330772" y="3412641"/>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marL="634757" defTabSz="932114" fontAlgn="base">
                <a:lnSpc>
                  <a:spcPct val="90000"/>
                </a:lnSpc>
                <a:spcBef>
                  <a:spcPct val="0"/>
                </a:spcBef>
                <a:spcAft>
                  <a:spcPct val="0"/>
                </a:spcAft>
              </a:pPr>
              <a:endParaRPr lang="en-US" sz="2800"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pic>
          <p:nvPicPr>
            <p:cNvPr id="89" name="Picture 88"/>
            <p:cNvPicPr>
              <a:picLocks noChangeAspect="1"/>
            </p:cNvPicPr>
            <p:nvPr/>
          </p:nvPicPr>
          <p:blipFill>
            <a:blip r:embed="rId4"/>
            <a:stretch>
              <a:fillRect/>
            </a:stretch>
          </p:blipFill>
          <p:spPr>
            <a:xfrm>
              <a:off x="429207" y="3488827"/>
              <a:ext cx="447093" cy="554887"/>
            </a:xfrm>
            <a:prstGeom prst="rect">
              <a:avLst/>
            </a:prstGeom>
          </p:spPr>
        </p:pic>
      </p:grpSp>
      <p:grpSp>
        <p:nvGrpSpPr>
          <p:cNvPr id="10" name="Group 9"/>
          <p:cNvGrpSpPr/>
          <p:nvPr/>
        </p:nvGrpSpPr>
        <p:grpSpPr>
          <a:xfrm>
            <a:off x="349047" y="5886350"/>
            <a:ext cx="6445838" cy="725386"/>
            <a:chOff x="2739892" y="6384690"/>
            <a:chExt cx="6320920" cy="711328"/>
          </a:xfrm>
        </p:grpSpPr>
        <p:sp>
          <p:nvSpPr>
            <p:cNvPr id="61" name="Rectangle 60"/>
            <p:cNvSpPr/>
            <p:nvPr/>
          </p:nvSpPr>
          <p:spPr bwMode="auto">
            <a:xfrm>
              <a:off x="2746237" y="6386602"/>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marL="634757" defTabSz="932114" fontAlgn="base">
                <a:lnSpc>
                  <a:spcPct val="90000"/>
                </a:lnSpc>
                <a:spcBef>
                  <a:spcPct val="0"/>
                </a:spcBef>
                <a:spcAft>
                  <a:spcPct val="0"/>
                </a:spcAft>
              </a:pPr>
              <a:endParaRPr lang="en-US" sz="2800"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8" name="Rectangle 57"/>
            <p:cNvSpPr/>
            <p:nvPr/>
          </p:nvSpPr>
          <p:spPr bwMode="auto">
            <a:xfrm>
              <a:off x="2739892" y="6384690"/>
              <a:ext cx="6320920" cy="7094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45" tIns="146262" rIns="182828" bIns="146262" numCol="1" spcCol="0" rtlCol="0" fromWordArt="0" anchor="ctr" anchorCtr="0" forceAA="0" compatLnSpc="1">
              <a:prstTxWarp prst="textNoShape">
                <a:avLst/>
              </a:prstTxWarp>
              <a:noAutofit/>
            </a:bodyPr>
            <a:lstStyle/>
            <a:p>
              <a:pPr marL="699313" defTabSz="932384" fontAlgn="base">
                <a:lnSpc>
                  <a:spcPct val="90000"/>
                </a:lnSpc>
                <a:spcBef>
                  <a:spcPct val="20000"/>
                </a:spcBef>
                <a:spcAft>
                  <a:spcPct val="0"/>
                </a:spcAft>
                <a:buSzPct val="90000"/>
              </a:pPr>
              <a:r>
                <a:rPr lang="en-US" sz="2040" kern="0" dirty="0">
                  <a:ln w="3175">
                    <a:noFill/>
                  </a:ln>
                  <a:solidFill>
                    <a:srgbClr val="000000"/>
                  </a:solidFill>
                  <a:latin typeface="Calibri Light" panose="020F0302020204030204"/>
                </a:rPr>
                <a:t>Fast deployment, hybrid configuration, secure, and integrated with existing IT systems.</a:t>
              </a:r>
            </a:p>
          </p:txBody>
        </p:sp>
        <p:grpSp>
          <p:nvGrpSpPr>
            <p:cNvPr id="64" name="Group 63"/>
            <p:cNvGrpSpPr/>
            <p:nvPr/>
          </p:nvGrpSpPr>
          <p:grpSpPr bwMode="black">
            <a:xfrm>
              <a:off x="2839643" y="6497482"/>
              <a:ext cx="515779" cy="489217"/>
              <a:chOff x="2462213" y="1598613"/>
              <a:chExt cx="4222750" cy="3667125"/>
            </a:xfrm>
            <a:solidFill>
              <a:srgbClr val="FFCC00"/>
            </a:solidFill>
          </p:grpSpPr>
          <p:sp>
            <p:nvSpPr>
              <p:cNvPr id="65" name="Rectangle 6"/>
              <p:cNvSpPr>
                <a:spLocks noChangeArrowheads="1"/>
              </p:cNvSpPr>
              <p:nvPr/>
            </p:nvSpPr>
            <p:spPr bwMode="black">
              <a:xfrm>
                <a:off x="5564188" y="3346451"/>
                <a:ext cx="115888"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632" kern="0">
                  <a:solidFill>
                    <a:srgbClr val="000000"/>
                  </a:solidFill>
                </a:endParaRPr>
              </a:p>
            </p:txBody>
          </p:sp>
          <p:sp>
            <p:nvSpPr>
              <p:cNvPr id="66" name="Rectangle 7"/>
              <p:cNvSpPr>
                <a:spLocks noChangeArrowheads="1"/>
              </p:cNvSpPr>
              <p:nvPr/>
            </p:nvSpPr>
            <p:spPr bwMode="black">
              <a:xfrm>
                <a:off x="5795963" y="3346451"/>
                <a:ext cx="11271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632" kern="0">
                  <a:solidFill>
                    <a:srgbClr val="000000"/>
                  </a:solidFill>
                </a:endParaRPr>
              </a:p>
            </p:txBody>
          </p:sp>
          <p:sp>
            <p:nvSpPr>
              <p:cNvPr id="67" name="Rectangle 8"/>
              <p:cNvSpPr>
                <a:spLocks noChangeArrowheads="1"/>
              </p:cNvSpPr>
              <p:nvPr/>
            </p:nvSpPr>
            <p:spPr bwMode="black">
              <a:xfrm>
                <a:off x="3092451" y="3346451"/>
                <a:ext cx="115888"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632" kern="0">
                  <a:solidFill>
                    <a:srgbClr val="000000"/>
                  </a:solidFill>
                </a:endParaRPr>
              </a:p>
            </p:txBody>
          </p:sp>
          <p:sp>
            <p:nvSpPr>
              <p:cNvPr id="68" name="Rectangle 9"/>
              <p:cNvSpPr>
                <a:spLocks noChangeArrowheads="1"/>
              </p:cNvSpPr>
              <p:nvPr/>
            </p:nvSpPr>
            <p:spPr bwMode="black">
              <a:xfrm>
                <a:off x="3324226" y="3346451"/>
                <a:ext cx="117475"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632" kern="0">
                  <a:solidFill>
                    <a:srgbClr val="000000"/>
                  </a:solidFill>
                </a:endParaRPr>
              </a:p>
            </p:txBody>
          </p:sp>
          <p:sp>
            <p:nvSpPr>
              <p:cNvPr id="69" name="Freeform 10"/>
              <p:cNvSpPr>
                <a:spLocks/>
              </p:cNvSpPr>
              <p:nvPr/>
            </p:nvSpPr>
            <p:spPr bwMode="black">
              <a:xfrm>
                <a:off x="3902076" y="2506663"/>
                <a:ext cx="101600" cy="123825"/>
              </a:xfrm>
              <a:custGeom>
                <a:avLst/>
                <a:gdLst>
                  <a:gd name="T0" fmla="*/ 36 w 64"/>
                  <a:gd name="T1" fmla="*/ 78 h 78"/>
                  <a:gd name="T2" fmla="*/ 64 w 64"/>
                  <a:gd name="T3" fmla="*/ 64 h 78"/>
                  <a:gd name="T4" fmla="*/ 26 w 64"/>
                  <a:gd name="T5" fmla="*/ 0 h 78"/>
                  <a:gd name="T6" fmla="*/ 0 w 64"/>
                  <a:gd name="T7" fmla="*/ 17 h 78"/>
                  <a:gd name="T8" fmla="*/ 36 w 64"/>
                  <a:gd name="T9" fmla="*/ 78 h 78"/>
                </a:gdLst>
                <a:ahLst/>
                <a:cxnLst>
                  <a:cxn ang="0">
                    <a:pos x="T0" y="T1"/>
                  </a:cxn>
                  <a:cxn ang="0">
                    <a:pos x="T2" y="T3"/>
                  </a:cxn>
                  <a:cxn ang="0">
                    <a:pos x="T4" y="T5"/>
                  </a:cxn>
                  <a:cxn ang="0">
                    <a:pos x="T6" y="T7"/>
                  </a:cxn>
                  <a:cxn ang="0">
                    <a:pos x="T8" y="T9"/>
                  </a:cxn>
                </a:cxnLst>
                <a:rect l="0" t="0" r="r" b="b"/>
                <a:pathLst>
                  <a:path w="64" h="78">
                    <a:moveTo>
                      <a:pt x="36" y="78"/>
                    </a:moveTo>
                    <a:lnTo>
                      <a:pt x="64" y="64"/>
                    </a:lnTo>
                    <a:lnTo>
                      <a:pt x="26" y="0"/>
                    </a:lnTo>
                    <a:lnTo>
                      <a:pt x="0" y="17"/>
                    </a:lnTo>
                    <a:lnTo>
                      <a:pt x="3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632" kern="0">
                  <a:solidFill>
                    <a:srgbClr val="000000"/>
                  </a:solidFill>
                </a:endParaRPr>
              </a:p>
            </p:txBody>
          </p:sp>
          <p:sp>
            <p:nvSpPr>
              <p:cNvPr id="70" name="Freeform 11"/>
              <p:cNvSpPr>
                <a:spLocks/>
              </p:cNvSpPr>
              <p:nvPr/>
            </p:nvSpPr>
            <p:spPr bwMode="black">
              <a:xfrm>
                <a:off x="4017963" y="2709863"/>
                <a:ext cx="98425" cy="123825"/>
              </a:xfrm>
              <a:custGeom>
                <a:avLst/>
                <a:gdLst>
                  <a:gd name="T0" fmla="*/ 36 w 62"/>
                  <a:gd name="T1" fmla="*/ 78 h 78"/>
                  <a:gd name="T2" fmla="*/ 62 w 62"/>
                  <a:gd name="T3" fmla="*/ 61 h 78"/>
                  <a:gd name="T4" fmla="*/ 26 w 62"/>
                  <a:gd name="T5" fmla="*/ 0 h 78"/>
                  <a:gd name="T6" fmla="*/ 0 w 62"/>
                  <a:gd name="T7" fmla="*/ 14 h 78"/>
                  <a:gd name="T8" fmla="*/ 36 w 62"/>
                  <a:gd name="T9" fmla="*/ 78 h 78"/>
                </a:gdLst>
                <a:ahLst/>
                <a:cxnLst>
                  <a:cxn ang="0">
                    <a:pos x="T0" y="T1"/>
                  </a:cxn>
                  <a:cxn ang="0">
                    <a:pos x="T2" y="T3"/>
                  </a:cxn>
                  <a:cxn ang="0">
                    <a:pos x="T4" y="T5"/>
                  </a:cxn>
                  <a:cxn ang="0">
                    <a:pos x="T6" y="T7"/>
                  </a:cxn>
                  <a:cxn ang="0">
                    <a:pos x="T8" y="T9"/>
                  </a:cxn>
                </a:cxnLst>
                <a:rect l="0" t="0" r="r" b="b"/>
                <a:pathLst>
                  <a:path w="62" h="78">
                    <a:moveTo>
                      <a:pt x="36" y="78"/>
                    </a:moveTo>
                    <a:lnTo>
                      <a:pt x="62" y="61"/>
                    </a:lnTo>
                    <a:lnTo>
                      <a:pt x="26" y="0"/>
                    </a:lnTo>
                    <a:lnTo>
                      <a:pt x="0" y="14"/>
                    </a:lnTo>
                    <a:lnTo>
                      <a:pt x="3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632" kern="0">
                  <a:solidFill>
                    <a:srgbClr val="000000"/>
                  </a:solidFill>
                </a:endParaRPr>
              </a:p>
            </p:txBody>
          </p:sp>
          <p:sp>
            <p:nvSpPr>
              <p:cNvPr id="71" name="Freeform 12"/>
              <p:cNvSpPr>
                <a:spLocks/>
              </p:cNvSpPr>
              <p:nvPr/>
            </p:nvSpPr>
            <p:spPr bwMode="black">
              <a:xfrm>
                <a:off x="4873626" y="2709863"/>
                <a:ext cx="98425" cy="123825"/>
              </a:xfrm>
              <a:custGeom>
                <a:avLst/>
                <a:gdLst>
                  <a:gd name="T0" fmla="*/ 26 w 62"/>
                  <a:gd name="T1" fmla="*/ 78 h 78"/>
                  <a:gd name="T2" fmla="*/ 62 w 62"/>
                  <a:gd name="T3" fmla="*/ 14 h 78"/>
                  <a:gd name="T4" fmla="*/ 36 w 62"/>
                  <a:gd name="T5" fmla="*/ 0 h 78"/>
                  <a:gd name="T6" fmla="*/ 0 w 62"/>
                  <a:gd name="T7" fmla="*/ 61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4"/>
                    </a:lnTo>
                    <a:lnTo>
                      <a:pt x="36" y="0"/>
                    </a:lnTo>
                    <a:lnTo>
                      <a:pt x="0" y="61"/>
                    </a:lnTo>
                    <a:lnTo>
                      <a:pt x="2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632" kern="0">
                  <a:solidFill>
                    <a:srgbClr val="000000"/>
                  </a:solidFill>
                </a:endParaRPr>
              </a:p>
            </p:txBody>
          </p:sp>
          <p:sp>
            <p:nvSpPr>
              <p:cNvPr id="85" name="Freeform 13"/>
              <p:cNvSpPr>
                <a:spLocks/>
              </p:cNvSpPr>
              <p:nvPr/>
            </p:nvSpPr>
            <p:spPr bwMode="black">
              <a:xfrm>
                <a:off x="4989513" y="2506663"/>
                <a:ext cx="98425" cy="123825"/>
              </a:xfrm>
              <a:custGeom>
                <a:avLst/>
                <a:gdLst>
                  <a:gd name="T0" fmla="*/ 26 w 62"/>
                  <a:gd name="T1" fmla="*/ 78 h 78"/>
                  <a:gd name="T2" fmla="*/ 62 w 62"/>
                  <a:gd name="T3" fmla="*/ 17 h 78"/>
                  <a:gd name="T4" fmla="*/ 36 w 62"/>
                  <a:gd name="T5" fmla="*/ 0 h 78"/>
                  <a:gd name="T6" fmla="*/ 0 w 62"/>
                  <a:gd name="T7" fmla="*/ 64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7"/>
                    </a:lnTo>
                    <a:lnTo>
                      <a:pt x="36" y="0"/>
                    </a:lnTo>
                    <a:lnTo>
                      <a:pt x="0" y="64"/>
                    </a:lnTo>
                    <a:lnTo>
                      <a:pt x="2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632" kern="0">
                  <a:solidFill>
                    <a:srgbClr val="000000"/>
                  </a:solidFill>
                </a:endParaRPr>
              </a:p>
            </p:txBody>
          </p:sp>
          <p:sp>
            <p:nvSpPr>
              <p:cNvPr id="90" name="Freeform 14"/>
              <p:cNvSpPr>
                <a:spLocks/>
              </p:cNvSpPr>
              <p:nvPr/>
            </p:nvSpPr>
            <p:spPr bwMode="black">
              <a:xfrm>
                <a:off x="4017963" y="3990976"/>
                <a:ext cx="98425" cy="123825"/>
              </a:xfrm>
              <a:custGeom>
                <a:avLst/>
                <a:gdLst>
                  <a:gd name="T0" fmla="*/ 0 w 62"/>
                  <a:gd name="T1" fmla="*/ 64 h 78"/>
                  <a:gd name="T2" fmla="*/ 26 w 62"/>
                  <a:gd name="T3" fmla="*/ 78 h 78"/>
                  <a:gd name="T4" fmla="*/ 62 w 62"/>
                  <a:gd name="T5" fmla="*/ 14 h 78"/>
                  <a:gd name="T6" fmla="*/ 36 w 62"/>
                  <a:gd name="T7" fmla="*/ 0 h 78"/>
                  <a:gd name="T8" fmla="*/ 0 w 62"/>
                  <a:gd name="T9" fmla="*/ 64 h 78"/>
                </a:gdLst>
                <a:ahLst/>
                <a:cxnLst>
                  <a:cxn ang="0">
                    <a:pos x="T0" y="T1"/>
                  </a:cxn>
                  <a:cxn ang="0">
                    <a:pos x="T2" y="T3"/>
                  </a:cxn>
                  <a:cxn ang="0">
                    <a:pos x="T4" y="T5"/>
                  </a:cxn>
                  <a:cxn ang="0">
                    <a:pos x="T6" y="T7"/>
                  </a:cxn>
                  <a:cxn ang="0">
                    <a:pos x="T8" y="T9"/>
                  </a:cxn>
                </a:cxnLst>
                <a:rect l="0" t="0" r="r" b="b"/>
                <a:pathLst>
                  <a:path w="62" h="78">
                    <a:moveTo>
                      <a:pt x="0" y="64"/>
                    </a:moveTo>
                    <a:lnTo>
                      <a:pt x="26" y="78"/>
                    </a:lnTo>
                    <a:lnTo>
                      <a:pt x="62" y="14"/>
                    </a:lnTo>
                    <a:lnTo>
                      <a:pt x="36" y="0"/>
                    </a:lnTo>
                    <a:lnTo>
                      <a:pt x="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632" kern="0">
                  <a:solidFill>
                    <a:srgbClr val="000000"/>
                  </a:solidFill>
                </a:endParaRPr>
              </a:p>
            </p:txBody>
          </p:sp>
          <p:sp>
            <p:nvSpPr>
              <p:cNvPr id="91" name="Freeform 15"/>
              <p:cNvSpPr>
                <a:spLocks/>
              </p:cNvSpPr>
              <p:nvPr/>
            </p:nvSpPr>
            <p:spPr bwMode="black">
              <a:xfrm>
                <a:off x="3902076" y="4189413"/>
                <a:ext cx="101600" cy="128588"/>
              </a:xfrm>
              <a:custGeom>
                <a:avLst/>
                <a:gdLst>
                  <a:gd name="T0" fmla="*/ 0 w 64"/>
                  <a:gd name="T1" fmla="*/ 64 h 81"/>
                  <a:gd name="T2" fmla="*/ 26 w 64"/>
                  <a:gd name="T3" fmla="*/ 81 h 81"/>
                  <a:gd name="T4" fmla="*/ 64 w 64"/>
                  <a:gd name="T5" fmla="*/ 17 h 81"/>
                  <a:gd name="T6" fmla="*/ 36 w 64"/>
                  <a:gd name="T7" fmla="*/ 0 h 81"/>
                  <a:gd name="T8" fmla="*/ 0 w 64"/>
                  <a:gd name="T9" fmla="*/ 64 h 81"/>
                </a:gdLst>
                <a:ahLst/>
                <a:cxnLst>
                  <a:cxn ang="0">
                    <a:pos x="T0" y="T1"/>
                  </a:cxn>
                  <a:cxn ang="0">
                    <a:pos x="T2" y="T3"/>
                  </a:cxn>
                  <a:cxn ang="0">
                    <a:pos x="T4" y="T5"/>
                  </a:cxn>
                  <a:cxn ang="0">
                    <a:pos x="T6" y="T7"/>
                  </a:cxn>
                  <a:cxn ang="0">
                    <a:pos x="T8" y="T9"/>
                  </a:cxn>
                </a:cxnLst>
                <a:rect l="0" t="0" r="r" b="b"/>
                <a:pathLst>
                  <a:path w="64" h="81">
                    <a:moveTo>
                      <a:pt x="0" y="64"/>
                    </a:moveTo>
                    <a:lnTo>
                      <a:pt x="26" y="81"/>
                    </a:lnTo>
                    <a:lnTo>
                      <a:pt x="64" y="17"/>
                    </a:lnTo>
                    <a:lnTo>
                      <a:pt x="36" y="0"/>
                    </a:lnTo>
                    <a:lnTo>
                      <a:pt x="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632" kern="0">
                  <a:solidFill>
                    <a:srgbClr val="000000"/>
                  </a:solidFill>
                </a:endParaRPr>
              </a:p>
            </p:txBody>
          </p:sp>
          <p:sp>
            <p:nvSpPr>
              <p:cNvPr id="92" name="Freeform 16"/>
              <p:cNvSpPr>
                <a:spLocks/>
              </p:cNvSpPr>
              <p:nvPr/>
            </p:nvSpPr>
            <p:spPr bwMode="black">
              <a:xfrm>
                <a:off x="4989513" y="4189413"/>
                <a:ext cx="98425" cy="128588"/>
              </a:xfrm>
              <a:custGeom>
                <a:avLst/>
                <a:gdLst>
                  <a:gd name="T0" fmla="*/ 26 w 62"/>
                  <a:gd name="T1" fmla="*/ 0 h 81"/>
                  <a:gd name="T2" fmla="*/ 0 w 62"/>
                  <a:gd name="T3" fmla="*/ 17 h 81"/>
                  <a:gd name="T4" fmla="*/ 36 w 62"/>
                  <a:gd name="T5" fmla="*/ 81 h 81"/>
                  <a:gd name="T6" fmla="*/ 62 w 62"/>
                  <a:gd name="T7" fmla="*/ 64 h 81"/>
                  <a:gd name="T8" fmla="*/ 26 w 62"/>
                  <a:gd name="T9" fmla="*/ 0 h 81"/>
                </a:gdLst>
                <a:ahLst/>
                <a:cxnLst>
                  <a:cxn ang="0">
                    <a:pos x="T0" y="T1"/>
                  </a:cxn>
                  <a:cxn ang="0">
                    <a:pos x="T2" y="T3"/>
                  </a:cxn>
                  <a:cxn ang="0">
                    <a:pos x="T4" y="T5"/>
                  </a:cxn>
                  <a:cxn ang="0">
                    <a:pos x="T6" y="T7"/>
                  </a:cxn>
                  <a:cxn ang="0">
                    <a:pos x="T8" y="T9"/>
                  </a:cxn>
                </a:cxnLst>
                <a:rect l="0" t="0" r="r" b="b"/>
                <a:pathLst>
                  <a:path w="62" h="81">
                    <a:moveTo>
                      <a:pt x="26" y="0"/>
                    </a:moveTo>
                    <a:lnTo>
                      <a:pt x="0" y="17"/>
                    </a:lnTo>
                    <a:lnTo>
                      <a:pt x="36" y="81"/>
                    </a:lnTo>
                    <a:lnTo>
                      <a:pt x="62" y="64"/>
                    </a:ln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632" kern="0">
                  <a:solidFill>
                    <a:srgbClr val="000000"/>
                  </a:solidFill>
                </a:endParaRPr>
              </a:p>
            </p:txBody>
          </p:sp>
          <p:sp>
            <p:nvSpPr>
              <p:cNvPr id="93" name="Freeform 17"/>
              <p:cNvSpPr>
                <a:spLocks/>
              </p:cNvSpPr>
              <p:nvPr/>
            </p:nvSpPr>
            <p:spPr bwMode="black">
              <a:xfrm>
                <a:off x="4873626" y="3990976"/>
                <a:ext cx="98425" cy="123825"/>
              </a:xfrm>
              <a:custGeom>
                <a:avLst/>
                <a:gdLst>
                  <a:gd name="T0" fmla="*/ 0 w 62"/>
                  <a:gd name="T1" fmla="*/ 14 h 78"/>
                  <a:gd name="T2" fmla="*/ 36 w 62"/>
                  <a:gd name="T3" fmla="*/ 78 h 78"/>
                  <a:gd name="T4" fmla="*/ 62 w 62"/>
                  <a:gd name="T5" fmla="*/ 64 h 78"/>
                  <a:gd name="T6" fmla="*/ 26 w 62"/>
                  <a:gd name="T7" fmla="*/ 0 h 78"/>
                  <a:gd name="T8" fmla="*/ 0 w 62"/>
                  <a:gd name="T9" fmla="*/ 14 h 78"/>
                </a:gdLst>
                <a:ahLst/>
                <a:cxnLst>
                  <a:cxn ang="0">
                    <a:pos x="T0" y="T1"/>
                  </a:cxn>
                  <a:cxn ang="0">
                    <a:pos x="T2" y="T3"/>
                  </a:cxn>
                  <a:cxn ang="0">
                    <a:pos x="T4" y="T5"/>
                  </a:cxn>
                  <a:cxn ang="0">
                    <a:pos x="T6" y="T7"/>
                  </a:cxn>
                  <a:cxn ang="0">
                    <a:pos x="T8" y="T9"/>
                  </a:cxn>
                </a:cxnLst>
                <a:rect l="0" t="0" r="r" b="b"/>
                <a:pathLst>
                  <a:path w="62" h="78">
                    <a:moveTo>
                      <a:pt x="0" y="14"/>
                    </a:moveTo>
                    <a:lnTo>
                      <a:pt x="36" y="78"/>
                    </a:lnTo>
                    <a:lnTo>
                      <a:pt x="62" y="64"/>
                    </a:lnTo>
                    <a:lnTo>
                      <a:pt x="26" y="0"/>
                    </a:lnTo>
                    <a:lnTo>
                      <a:pt x="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632" kern="0">
                  <a:solidFill>
                    <a:srgbClr val="000000"/>
                  </a:solidFill>
                </a:endParaRPr>
              </a:p>
            </p:txBody>
          </p:sp>
          <p:sp>
            <p:nvSpPr>
              <p:cNvPr id="94" name="Freeform 18"/>
              <p:cNvSpPr>
                <a:spLocks/>
              </p:cNvSpPr>
              <p:nvPr/>
            </p:nvSpPr>
            <p:spPr bwMode="black">
              <a:xfrm>
                <a:off x="3579813" y="2892426"/>
                <a:ext cx="1833563" cy="1068388"/>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632" kern="0">
                  <a:solidFill>
                    <a:srgbClr val="000000"/>
                  </a:solidFill>
                </a:endParaRPr>
              </a:p>
            </p:txBody>
          </p:sp>
          <p:sp>
            <p:nvSpPr>
              <p:cNvPr id="95" name="Freeform 19"/>
              <p:cNvSpPr>
                <a:spLocks noEditPoints="1"/>
              </p:cNvSpPr>
              <p:nvPr/>
            </p:nvSpPr>
            <p:spPr bwMode="black">
              <a:xfrm>
                <a:off x="3321051" y="1598613"/>
                <a:ext cx="750888" cy="522288"/>
              </a:xfrm>
              <a:custGeom>
                <a:avLst/>
                <a:gdLst>
                  <a:gd name="T0" fmla="*/ 174 w 200"/>
                  <a:gd name="T1" fmla="*/ 0 h 139"/>
                  <a:gd name="T2" fmla="*/ 26 w 200"/>
                  <a:gd name="T3" fmla="*/ 0 h 139"/>
                  <a:gd name="T4" fmla="*/ 0 w 200"/>
                  <a:gd name="T5" fmla="*/ 27 h 139"/>
                  <a:gd name="T6" fmla="*/ 0 w 200"/>
                  <a:gd name="T7" fmla="*/ 113 h 139"/>
                  <a:gd name="T8" fmla="*/ 26 w 200"/>
                  <a:gd name="T9" fmla="*/ 139 h 139"/>
                  <a:gd name="T10" fmla="*/ 174 w 200"/>
                  <a:gd name="T11" fmla="*/ 139 h 139"/>
                  <a:gd name="T12" fmla="*/ 200 w 200"/>
                  <a:gd name="T13" fmla="*/ 113 h 139"/>
                  <a:gd name="T14" fmla="*/ 200 w 200"/>
                  <a:gd name="T15" fmla="*/ 27 h 139"/>
                  <a:gd name="T16" fmla="*/ 174 w 200"/>
                  <a:gd name="T17" fmla="*/ 0 h 139"/>
                  <a:gd name="T18" fmla="*/ 185 w 200"/>
                  <a:gd name="T19" fmla="*/ 113 h 139"/>
                  <a:gd name="T20" fmla="*/ 174 w 200"/>
                  <a:gd name="T21" fmla="*/ 124 h 139"/>
                  <a:gd name="T22" fmla="*/ 26 w 200"/>
                  <a:gd name="T23" fmla="*/ 124 h 139"/>
                  <a:gd name="T24" fmla="*/ 15 w 200"/>
                  <a:gd name="T25" fmla="*/ 113 h 139"/>
                  <a:gd name="T26" fmla="*/ 15 w 200"/>
                  <a:gd name="T27" fmla="*/ 27 h 139"/>
                  <a:gd name="T28" fmla="*/ 26 w 200"/>
                  <a:gd name="T29" fmla="*/ 16 h 139"/>
                  <a:gd name="T30" fmla="*/ 174 w 200"/>
                  <a:gd name="T31" fmla="*/ 16 h 139"/>
                  <a:gd name="T32" fmla="*/ 185 w 200"/>
                  <a:gd name="T33" fmla="*/ 27 h 139"/>
                  <a:gd name="T34" fmla="*/ 185 w 200"/>
                  <a:gd name="T35" fmla="*/ 1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9">
                    <a:moveTo>
                      <a:pt x="174" y="0"/>
                    </a:moveTo>
                    <a:cubicBezTo>
                      <a:pt x="26" y="0"/>
                      <a:pt x="26" y="0"/>
                      <a:pt x="26" y="0"/>
                    </a:cubicBezTo>
                    <a:cubicBezTo>
                      <a:pt x="12" y="0"/>
                      <a:pt x="0" y="12"/>
                      <a:pt x="0" y="27"/>
                    </a:cubicBezTo>
                    <a:cubicBezTo>
                      <a:pt x="0" y="113"/>
                      <a:pt x="0" y="113"/>
                      <a:pt x="0" y="113"/>
                    </a:cubicBezTo>
                    <a:cubicBezTo>
                      <a:pt x="0" y="127"/>
                      <a:pt x="12" y="139"/>
                      <a:pt x="26" y="139"/>
                    </a:cubicBezTo>
                    <a:cubicBezTo>
                      <a:pt x="174" y="139"/>
                      <a:pt x="174" y="139"/>
                      <a:pt x="174" y="139"/>
                    </a:cubicBezTo>
                    <a:cubicBezTo>
                      <a:pt x="188" y="139"/>
                      <a:pt x="200" y="127"/>
                      <a:pt x="200" y="113"/>
                    </a:cubicBezTo>
                    <a:cubicBezTo>
                      <a:pt x="200" y="27"/>
                      <a:pt x="200" y="27"/>
                      <a:pt x="200" y="27"/>
                    </a:cubicBezTo>
                    <a:cubicBezTo>
                      <a:pt x="200" y="12"/>
                      <a:pt x="188" y="0"/>
                      <a:pt x="174" y="0"/>
                    </a:cubicBezTo>
                    <a:moveTo>
                      <a:pt x="185" y="113"/>
                    </a:moveTo>
                    <a:cubicBezTo>
                      <a:pt x="185" y="119"/>
                      <a:pt x="180" y="124"/>
                      <a:pt x="174" y="124"/>
                    </a:cubicBezTo>
                    <a:cubicBezTo>
                      <a:pt x="26" y="124"/>
                      <a:pt x="26" y="124"/>
                      <a:pt x="26" y="124"/>
                    </a:cubicBezTo>
                    <a:cubicBezTo>
                      <a:pt x="20" y="124"/>
                      <a:pt x="15" y="119"/>
                      <a:pt x="15" y="113"/>
                    </a:cubicBezTo>
                    <a:cubicBezTo>
                      <a:pt x="15" y="27"/>
                      <a:pt x="15" y="27"/>
                      <a:pt x="15" y="27"/>
                    </a:cubicBezTo>
                    <a:cubicBezTo>
                      <a:pt x="15" y="21"/>
                      <a:pt x="20" y="16"/>
                      <a:pt x="26" y="16"/>
                    </a:cubicBezTo>
                    <a:cubicBezTo>
                      <a:pt x="174" y="16"/>
                      <a:pt x="174" y="16"/>
                      <a:pt x="174" y="16"/>
                    </a:cubicBezTo>
                    <a:cubicBezTo>
                      <a:pt x="180" y="16"/>
                      <a:pt x="185" y="21"/>
                      <a:pt x="185" y="27"/>
                    </a:cubicBezTo>
                    <a:lnTo>
                      <a:pt x="185"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632" kern="0">
                  <a:solidFill>
                    <a:srgbClr val="000000"/>
                  </a:solidFill>
                </a:endParaRPr>
              </a:p>
            </p:txBody>
          </p:sp>
          <p:sp>
            <p:nvSpPr>
              <p:cNvPr id="96" name="Freeform 20"/>
              <p:cNvSpPr>
                <a:spLocks/>
              </p:cNvSpPr>
              <p:nvPr/>
            </p:nvSpPr>
            <p:spPr bwMode="black">
              <a:xfrm>
                <a:off x="3178176" y="2154238"/>
                <a:ext cx="1035050" cy="239713"/>
              </a:xfrm>
              <a:custGeom>
                <a:avLst/>
                <a:gdLst>
                  <a:gd name="T0" fmla="*/ 7 w 276"/>
                  <a:gd name="T1" fmla="*/ 64 h 64"/>
                  <a:gd name="T2" fmla="*/ 269 w 276"/>
                  <a:gd name="T3" fmla="*/ 64 h 64"/>
                  <a:gd name="T4" fmla="*/ 276 w 276"/>
                  <a:gd name="T5" fmla="*/ 57 h 64"/>
                  <a:gd name="T6" fmla="*/ 276 w 276"/>
                  <a:gd name="T7" fmla="*/ 54 h 64"/>
                  <a:gd name="T8" fmla="*/ 272 w 276"/>
                  <a:gd name="T9" fmla="*/ 42 h 64"/>
                  <a:gd name="T10" fmla="*/ 240 w 276"/>
                  <a:gd name="T11" fmla="*/ 5 h 64"/>
                  <a:gd name="T12" fmla="*/ 229 w 276"/>
                  <a:gd name="T13" fmla="*/ 0 h 64"/>
                  <a:gd name="T14" fmla="*/ 47 w 276"/>
                  <a:gd name="T15" fmla="*/ 0 h 64"/>
                  <a:gd name="T16" fmla="*/ 36 w 276"/>
                  <a:gd name="T17" fmla="*/ 5 h 64"/>
                  <a:gd name="T18" fmla="*/ 4 w 276"/>
                  <a:gd name="T19" fmla="*/ 42 h 64"/>
                  <a:gd name="T20" fmla="*/ 0 w 276"/>
                  <a:gd name="T21" fmla="*/ 54 h 64"/>
                  <a:gd name="T22" fmla="*/ 0 w 276"/>
                  <a:gd name="T23" fmla="*/ 57 h 64"/>
                  <a:gd name="T24" fmla="*/ 7 w 27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64">
                    <a:moveTo>
                      <a:pt x="7" y="64"/>
                    </a:moveTo>
                    <a:cubicBezTo>
                      <a:pt x="269" y="64"/>
                      <a:pt x="269" y="64"/>
                      <a:pt x="269" y="64"/>
                    </a:cubicBezTo>
                    <a:cubicBezTo>
                      <a:pt x="273" y="64"/>
                      <a:pt x="276" y="61"/>
                      <a:pt x="276" y="57"/>
                    </a:cubicBezTo>
                    <a:cubicBezTo>
                      <a:pt x="276" y="54"/>
                      <a:pt x="276" y="54"/>
                      <a:pt x="276" y="54"/>
                    </a:cubicBezTo>
                    <a:cubicBezTo>
                      <a:pt x="276" y="50"/>
                      <a:pt x="274" y="45"/>
                      <a:pt x="272" y="42"/>
                    </a:cubicBezTo>
                    <a:cubicBezTo>
                      <a:pt x="240" y="5"/>
                      <a:pt x="240" y="5"/>
                      <a:pt x="240" y="5"/>
                    </a:cubicBezTo>
                    <a:cubicBezTo>
                      <a:pt x="238" y="2"/>
                      <a:pt x="233" y="0"/>
                      <a:pt x="229" y="0"/>
                    </a:cubicBezTo>
                    <a:cubicBezTo>
                      <a:pt x="47" y="0"/>
                      <a:pt x="47" y="0"/>
                      <a:pt x="47" y="0"/>
                    </a:cubicBezTo>
                    <a:cubicBezTo>
                      <a:pt x="43" y="0"/>
                      <a:pt x="38" y="2"/>
                      <a:pt x="36" y="5"/>
                    </a:cubicBezTo>
                    <a:cubicBezTo>
                      <a:pt x="4" y="42"/>
                      <a:pt x="4" y="42"/>
                      <a:pt x="4" y="42"/>
                    </a:cubicBezTo>
                    <a:cubicBezTo>
                      <a:pt x="2" y="45"/>
                      <a:pt x="0" y="50"/>
                      <a:pt x="0" y="54"/>
                    </a:cubicBezTo>
                    <a:cubicBezTo>
                      <a:pt x="0" y="57"/>
                      <a:pt x="0" y="57"/>
                      <a:pt x="0" y="57"/>
                    </a:cubicBezTo>
                    <a:cubicBezTo>
                      <a:pt x="0" y="61"/>
                      <a:pt x="3" y="64"/>
                      <a:pt x="7" y="6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632" kern="0">
                  <a:solidFill>
                    <a:srgbClr val="000000"/>
                  </a:solidFill>
                </a:endParaRPr>
              </a:p>
            </p:txBody>
          </p:sp>
          <p:sp>
            <p:nvSpPr>
              <p:cNvPr id="97" name="Freeform 21"/>
              <p:cNvSpPr>
                <a:spLocks noEditPoints="1"/>
              </p:cNvSpPr>
              <p:nvPr/>
            </p:nvSpPr>
            <p:spPr bwMode="black">
              <a:xfrm>
                <a:off x="4730751" y="1639888"/>
                <a:ext cx="781050" cy="608013"/>
              </a:xfrm>
              <a:custGeom>
                <a:avLst/>
                <a:gdLst>
                  <a:gd name="T0" fmla="*/ 177 w 208"/>
                  <a:gd name="T1" fmla="*/ 0 h 162"/>
                  <a:gd name="T2" fmla="*/ 31 w 208"/>
                  <a:gd name="T3" fmla="*/ 0 h 162"/>
                  <a:gd name="T4" fmla="*/ 0 w 208"/>
                  <a:gd name="T5" fmla="*/ 31 h 162"/>
                  <a:gd name="T6" fmla="*/ 0 w 208"/>
                  <a:gd name="T7" fmla="*/ 131 h 162"/>
                  <a:gd name="T8" fmla="*/ 31 w 208"/>
                  <a:gd name="T9" fmla="*/ 162 h 162"/>
                  <a:gd name="T10" fmla="*/ 177 w 208"/>
                  <a:gd name="T11" fmla="*/ 162 h 162"/>
                  <a:gd name="T12" fmla="*/ 208 w 208"/>
                  <a:gd name="T13" fmla="*/ 131 h 162"/>
                  <a:gd name="T14" fmla="*/ 208 w 208"/>
                  <a:gd name="T15" fmla="*/ 31 h 162"/>
                  <a:gd name="T16" fmla="*/ 177 w 208"/>
                  <a:gd name="T17" fmla="*/ 0 h 162"/>
                  <a:gd name="T18" fmla="*/ 190 w 208"/>
                  <a:gd name="T19" fmla="*/ 131 h 162"/>
                  <a:gd name="T20" fmla="*/ 177 w 208"/>
                  <a:gd name="T21" fmla="*/ 144 h 162"/>
                  <a:gd name="T22" fmla="*/ 31 w 208"/>
                  <a:gd name="T23" fmla="*/ 144 h 162"/>
                  <a:gd name="T24" fmla="*/ 18 w 208"/>
                  <a:gd name="T25" fmla="*/ 131 h 162"/>
                  <a:gd name="T26" fmla="*/ 18 w 208"/>
                  <a:gd name="T27" fmla="*/ 31 h 162"/>
                  <a:gd name="T28" fmla="*/ 31 w 208"/>
                  <a:gd name="T29" fmla="*/ 18 h 162"/>
                  <a:gd name="T30" fmla="*/ 177 w 208"/>
                  <a:gd name="T31" fmla="*/ 18 h 162"/>
                  <a:gd name="T32" fmla="*/ 190 w 208"/>
                  <a:gd name="T33" fmla="*/ 31 h 162"/>
                  <a:gd name="T34" fmla="*/ 190 w 208"/>
                  <a:gd name="T35" fmla="*/ 13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62">
                    <a:moveTo>
                      <a:pt x="177" y="0"/>
                    </a:moveTo>
                    <a:cubicBezTo>
                      <a:pt x="31" y="0"/>
                      <a:pt x="31" y="0"/>
                      <a:pt x="31" y="0"/>
                    </a:cubicBezTo>
                    <a:cubicBezTo>
                      <a:pt x="14" y="0"/>
                      <a:pt x="0" y="14"/>
                      <a:pt x="0" y="31"/>
                    </a:cubicBezTo>
                    <a:cubicBezTo>
                      <a:pt x="0" y="131"/>
                      <a:pt x="0" y="131"/>
                      <a:pt x="0" y="131"/>
                    </a:cubicBezTo>
                    <a:cubicBezTo>
                      <a:pt x="0" y="148"/>
                      <a:pt x="14" y="162"/>
                      <a:pt x="31" y="162"/>
                    </a:cubicBezTo>
                    <a:cubicBezTo>
                      <a:pt x="177" y="162"/>
                      <a:pt x="177" y="162"/>
                      <a:pt x="177" y="162"/>
                    </a:cubicBezTo>
                    <a:cubicBezTo>
                      <a:pt x="194" y="162"/>
                      <a:pt x="208" y="148"/>
                      <a:pt x="208" y="131"/>
                    </a:cubicBezTo>
                    <a:cubicBezTo>
                      <a:pt x="208" y="31"/>
                      <a:pt x="208" y="31"/>
                      <a:pt x="208" y="31"/>
                    </a:cubicBezTo>
                    <a:cubicBezTo>
                      <a:pt x="208" y="14"/>
                      <a:pt x="194" y="0"/>
                      <a:pt x="177" y="0"/>
                    </a:cubicBezTo>
                    <a:moveTo>
                      <a:pt x="190" y="131"/>
                    </a:moveTo>
                    <a:cubicBezTo>
                      <a:pt x="190" y="138"/>
                      <a:pt x="184" y="144"/>
                      <a:pt x="177" y="144"/>
                    </a:cubicBezTo>
                    <a:cubicBezTo>
                      <a:pt x="31" y="144"/>
                      <a:pt x="31" y="144"/>
                      <a:pt x="31" y="144"/>
                    </a:cubicBezTo>
                    <a:cubicBezTo>
                      <a:pt x="24" y="144"/>
                      <a:pt x="18" y="138"/>
                      <a:pt x="18" y="131"/>
                    </a:cubicBezTo>
                    <a:cubicBezTo>
                      <a:pt x="18" y="31"/>
                      <a:pt x="18" y="31"/>
                      <a:pt x="18" y="31"/>
                    </a:cubicBezTo>
                    <a:cubicBezTo>
                      <a:pt x="18" y="24"/>
                      <a:pt x="24" y="18"/>
                      <a:pt x="31" y="18"/>
                    </a:cubicBezTo>
                    <a:cubicBezTo>
                      <a:pt x="177" y="18"/>
                      <a:pt x="177" y="18"/>
                      <a:pt x="177" y="18"/>
                    </a:cubicBezTo>
                    <a:cubicBezTo>
                      <a:pt x="184" y="18"/>
                      <a:pt x="190" y="24"/>
                      <a:pt x="190" y="31"/>
                    </a:cubicBezTo>
                    <a:lnTo>
                      <a:pt x="190" y="1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632" kern="0">
                  <a:solidFill>
                    <a:srgbClr val="000000"/>
                  </a:solidFill>
                </a:endParaRPr>
              </a:p>
            </p:txBody>
          </p:sp>
          <p:sp>
            <p:nvSpPr>
              <p:cNvPr id="98" name="Freeform 22"/>
              <p:cNvSpPr>
                <a:spLocks/>
              </p:cNvSpPr>
              <p:nvPr/>
            </p:nvSpPr>
            <p:spPr bwMode="black">
              <a:xfrm>
                <a:off x="4911726" y="2289176"/>
                <a:ext cx="419100" cy="104775"/>
              </a:xfrm>
              <a:custGeom>
                <a:avLst/>
                <a:gdLst>
                  <a:gd name="T0" fmla="*/ 112 w 112"/>
                  <a:gd name="T1" fmla="*/ 25 h 28"/>
                  <a:gd name="T2" fmla="*/ 112 w 112"/>
                  <a:gd name="T3" fmla="*/ 23 h 28"/>
                  <a:gd name="T4" fmla="*/ 110 w 112"/>
                  <a:gd name="T5" fmla="*/ 18 h 28"/>
                  <a:gd name="T6" fmla="*/ 96 w 112"/>
                  <a:gd name="T7" fmla="*/ 2 h 28"/>
                  <a:gd name="T8" fmla="*/ 91 w 112"/>
                  <a:gd name="T9" fmla="*/ 0 h 28"/>
                  <a:gd name="T10" fmla="*/ 21 w 112"/>
                  <a:gd name="T11" fmla="*/ 0 h 28"/>
                  <a:gd name="T12" fmla="*/ 16 w 112"/>
                  <a:gd name="T13" fmla="*/ 2 h 28"/>
                  <a:gd name="T14" fmla="*/ 2 w 112"/>
                  <a:gd name="T15" fmla="*/ 18 h 28"/>
                  <a:gd name="T16" fmla="*/ 0 w 112"/>
                  <a:gd name="T17" fmla="*/ 23 h 28"/>
                  <a:gd name="T18" fmla="*/ 0 w 112"/>
                  <a:gd name="T19" fmla="*/ 25 h 28"/>
                  <a:gd name="T20" fmla="*/ 3 w 112"/>
                  <a:gd name="T21" fmla="*/ 28 h 28"/>
                  <a:gd name="T22" fmla="*/ 109 w 112"/>
                  <a:gd name="T23" fmla="*/ 28 h 28"/>
                  <a:gd name="T24" fmla="*/ 112 w 112"/>
                  <a:gd name="T25"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28">
                    <a:moveTo>
                      <a:pt x="112" y="25"/>
                    </a:moveTo>
                    <a:cubicBezTo>
                      <a:pt x="112" y="23"/>
                      <a:pt x="112" y="23"/>
                      <a:pt x="112" y="23"/>
                    </a:cubicBezTo>
                    <a:cubicBezTo>
                      <a:pt x="112" y="22"/>
                      <a:pt x="111" y="20"/>
                      <a:pt x="110" y="18"/>
                    </a:cubicBezTo>
                    <a:cubicBezTo>
                      <a:pt x="96" y="2"/>
                      <a:pt x="96" y="2"/>
                      <a:pt x="96" y="2"/>
                    </a:cubicBezTo>
                    <a:cubicBezTo>
                      <a:pt x="95" y="1"/>
                      <a:pt x="93" y="0"/>
                      <a:pt x="91" y="0"/>
                    </a:cubicBezTo>
                    <a:cubicBezTo>
                      <a:pt x="21" y="0"/>
                      <a:pt x="21" y="0"/>
                      <a:pt x="21" y="0"/>
                    </a:cubicBezTo>
                    <a:cubicBezTo>
                      <a:pt x="19" y="0"/>
                      <a:pt x="17" y="1"/>
                      <a:pt x="16" y="2"/>
                    </a:cubicBezTo>
                    <a:cubicBezTo>
                      <a:pt x="2" y="18"/>
                      <a:pt x="2" y="18"/>
                      <a:pt x="2" y="18"/>
                    </a:cubicBezTo>
                    <a:cubicBezTo>
                      <a:pt x="1" y="20"/>
                      <a:pt x="0" y="22"/>
                      <a:pt x="0" y="23"/>
                    </a:cubicBezTo>
                    <a:cubicBezTo>
                      <a:pt x="0" y="25"/>
                      <a:pt x="0" y="25"/>
                      <a:pt x="0" y="25"/>
                    </a:cubicBezTo>
                    <a:cubicBezTo>
                      <a:pt x="0" y="26"/>
                      <a:pt x="1" y="28"/>
                      <a:pt x="3" y="28"/>
                    </a:cubicBezTo>
                    <a:cubicBezTo>
                      <a:pt x="109" y="28"/>
                      <a:pt x="109" y="28"/>
                      <a:pt x="109" y="28"/>
                    </a:cubicBezTo>
                    <a:cubicBezTo>
                      <a:pt x="111" y="28"/>
                      <a:pt x="112" y="26"/>
                      <a:pt x="112"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632" kern="0">
                  <a:solidFill>
                    <a:srgbClr val="000000"/>
                  </a:solidFill>
                </a:endParaRPr>
              </a:p>
            </p:txBody>
          </p:sp>
          <p:sp>
            <p:nvSpPr>
              <p:cNvPr id="99" name="Freeform 23"/>
              <p:cNvSpPr>
                <a:spLocks noEditPoints="1"/>
              </p:cNvSpPr>
              <p:nvPr/>
            </p:nvSpPr>
            <p:spPr bwMode="black">
              <a:xfrm>
                <a:off x="5586413" y="1639888"/>
                <a:ext cx="385763" cy="754063"/>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632" kern="0">
                  <a:solidFill>
                    <a:srgbClr val="000000"/>
                  </a:solidFill>
                </a:endParaRPr>
              </a:p>
            </p:txBody>
          </p:sp>
          <p:sp>
            <p:nvSpPr>
              <p:cNvPr id="100" name="Freeform 24"/>
              <p:cNvSpPr>
                <a:spLocks noEditPoints="1"/>
              </p:cNvSpPr>
              <p:nvPr/>
            </p:nvSpPr>
            <p:spPr bwMode="black">
              <a:xfrm>
                <a:off x="2462213" y="3032126"/>
                <a:ext cx="525463" cy="804863"/>
              </a:xfrm>
              <a:custGeom>
                <a:avLst/>
                <a:gdLst>
                  <a:gd name="T0" fmla="*/ 109 w 140"/>
                  <a:gd name="T1" fmla="*/ 0 h 215"/>
                  <a:gd name="T2" fmla="*/ 31 w 140"/>
                  <a:gd name="T3" fmla="*/ 0 h 215"/>
                  <a:gd name="T4" fmla="*/ 0 w 140"/>
                  <a:gd name="T5" fmla="*/ 30 h 215"/>
                  <a:gd name="T6" fmla="*/ 0 w 140"/>
                  <a:gd name="T7" fmla="*/ 184 h 215"/>
                  <a:gd name="T8" fmla="*/ 31 w 140"/>
                  <a:gd name="T9" fmla="*/ 215 h 215"/>
                  <a:gd name="T10" fmla="*/ 109 w 140"/>
                  <a:gd name="T11" fmla="*/ 215 h 215"/>
                  <a:gd name="T12" fmla="*/ 140 w 140"/>
                  <a:gd name="T13" fmla="*/ 184 h 215"/>
                  <a:gd name="T14" fmla="*/ 140 w 140"/>
                  <a:gd name="T15" fmla="*/ 30 h 215"/>
                  <a:gd name="T16" fmla="*/ 109 w 140"/>
                  <a:gd name="T17" fmla="*/ 0 h 215"/>
                  <a:gd name="T18" fmla="*/ 122 w 140"/>
                  <a:gd name="T19" fmla="*/ 177 h 215"/>
                  <a:gd name="T20" fmla="*/ 109 w 140"/>
                  <a:gd name="T21" fmla="*/ 195 h 215"/>
                  <a:gd name="T22" fmla="*/ 31 w 140"/>
                  <a:gd name="T23" fmla="*/ 195 h 215"/>
                  <a:gd name="T24" fmla="*/ 18 w 140"/>
                  <a:gd name="T25" fmla="*/ 177 h 215"/>
                  <a:gd name="T26" fmla="*/ 18 w 140"/>
                  <a:gd name="T27" fmla="*/ 35 h 215"/>
                  <a:gd name="T28" fmla="*/ 31 w 140"/>
                  <a:gd name="T29" fmla="*/ 18 h 215"/>
                  <a:gd name="T30" fmla="*/ 109 w 140"/>
                  <a:gd name="T31" fmla="*/ 18 h 215"/>
                  <a:gd name="T32" fmla="*/ 122 w 140"/>
                  <a:gd name="T33" fmla="*/ 35 h 215"/>
                  <a:gd name="T34" fmla="*/ 122 w 140"/>
                  <a:gd name="T35"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215">
                    <a:moveTo>
                      <a:pt x="109" y="0"/>
                    </a:moveTo>
                    <a:cubicBezTo>
                      <a:pt x="31" y="0"/>
                      <a:pt x="31" y="0"/>
                      <a:pt x="31" y="0"/>
                    </a:cubicBezTo>
                    <a:cubicBezTo>
                      <a:pt x="14" y="0"/>
                      <a:pt x="0" y="13"/>
                      <a:pt x="0" y="30"/>
                    </a:cubicBezTo>
                    <a:cubicBezTo>
                      <a:pt x="0" y="184"/>
                      <a:pt x="0" y="184"/>
                      <a:pt x="0" y="184"/>
                    </a:cubicBezTo>
                    <a:cubicBezTo>
                      <a:pt x="0" y="201"/>
                      <a:pt x="14" y="215"/>
                      <a:pt x="31" y="215"/>
                    </a:cubicBezTo>
                    <a:cubicBezTo>
                      <a:pt x="109" y="215"/>
                      <a:pt x="109" y="215"/>
                      <a:pt x="109" y="215"/>
                    </a:cubicBezTo>
                    <a:cubicBezTo>
                      <a:pt x="126" y="215"/>
                      <a:pt x="140" y="201"/>
                      <a:pt x="140" y="184"/>
                    </a:cubicBezTo>
                    <a:cubicBezTo>
                      <a:pt x="140" y="30"/>
                      <a:pt x="140" y="30"/>
                      <a:pt x="140" y="30"/>
                    </a:cubicBezTo>
                    <a:cubicBezTo>
                      <a:pt x="140" y="13"/>
                      <a:pt x="126" y="0"/>
                      <a:pt x="109" y="0"/>
                    </a:cubicBezTo>
                    <a:moveTo>
                      <a:pt x="122" y="177"/>
                    </a:moveTo>
                    <a:cubicBezTo>
                      <a:pt x="122" y="187"/>
                      <a:pt x="116" y="195"/>
                      <a:pt x="109" y="195"/>
                    </a:cubicBezTo>
                    <a:cubicBezTo>
                      <a:pt x="31" y="195"/>
                      <a:pt x="31" y="195"/>
                      <a:pt x="31" y="195"/>
                    </a:cubicBezTo>
                    <a:cubicBezTo>
                      <a:pt x="24" y="195"/>
                      <a:pt x="18" y="187"/>
                      <a:pt x="18" y="177"/>
                    </a:cubicBezTo>
                    <a:cubicBezTo>
                      <a:pt x="18" y="35"/>
                      <a:pt x="18" y="35"/>
                      <a:pt x="18" y="35"/>
                    </a:cubicBezTo>
                    <a:cubicBezTo>
                      <a:pt x="18" y="26"/>
                      <a:pt x="24" y="18"/>
                      <a:pt x="31" y="18"/>
                    </a:cubicBezTo>
                    <a:cubicBezTo>
                      <a:pt x="109" y="18"/>
                      <a:pt x="109" y="18"/>
                      <a:pt x="109" y="18"/>
                    </a:cubicBezTo>
                    <a:cubicBezTo>
                      <a:pt x="116" y="18"/>
                      <a:pt x="122" y="26"/>
                      <a:pt x="122" y="35"/>
                    </a:cubicBezTo>
                    <a:lnTo>
                      <a:pt x="122" y="1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632" kern="0">
                  <a:solidFill>
                    <a:srgbClr val="000000"/>
                  </a:solidFill>
                </a:endParaRPr>
              </a:p>
            </p:txBody>
          </p:sp>
          <p:sp>
            <p:nvSpPr>
              <p:cNvPr id="101" name="Freeform 25"/>
              <p:cNvSpPr>
                <a:spLocks noEditPoints="1"/>
              </p:cNvSpPr>
              <p:nvPr/>
            </p:nvSpPr>
            <p:spPr bwMode="black">
              <a:xfrm>
                <a:off x="5049838" y="4411663"/>
                <a:ext cx="739775" cy="854075"/>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632" kern="0">
                  <a:solidFill>
                    <a:srgbClr val="000000"/>
                  </a:solidFill>
                </a:endParaRPr>
              </a:p>
            </p:txBody>
          </p:sp>
          <p:sp>
            <p:nvSpPr>
              <p:cNvPr id="102" name="Freeform 26"/>
              <p:cNvSpPr>
                <a:spLocks noEditPoints="1"/>
              </p:cNvSpPr>
              <p:nvPr/>
            </p:nvSpPr>
            <p:spPr bwMode="black">
              <a:xfrm>
                <a:off x="6043613" y="2960688"/>
                <a:ext cx="641350" cy="876300"/>
              </a:xfrm>
              <a:custGeom>
                <a:avLst/>
                <a:gdLst>
                  <a:gd name="T0" fmla="*/ 146 w 171"/>
                  <a:gd name="T1" fmla="*/ 0 h 234"/>
                  <a:gd name="T2" fmla="*/ 25 w 171"/>
                  <a:gd name="T3" fmla="*/ 0 h 234"/>
                  <a:gd name="T4" fmla="*/ 0 w 171"/>
                  <a:gd name="T5" fmla="*/ 25 h 234"/>
                  <a:gd name="T6" fmla="*/ 0 w 171"/>
                  <a:gd name="T7" fmla="*/ 209 h 234"/>
                  <a:gd name="T8" fmla="*/ 25 w 171"/>
                  <a:gd name="T9" fmla="*/ 234 h 234"/>
                  <a:gd name="T10" fmla="*/ 146 w 171"/>
                  <a:gd name="T11" fmla="*/ 234 h 234"/>
                  <a:gd name="T12" fmla="*/ 171 w 171"/>
                  <a:gd name="T13" fmla="*/ 209 h 234"/>
                  <a:gd name="T14" fmla="*/ 171 w 171"/>
                  <a:gd name="T15" fmla="*/ 25 h 234"/>
                  <a:gd name="T16" fmla="*/ 146 w 171"/>
                  <a:gd name="T17" fmla="*/ 0 h 234"/>
                  <a:gd name="T18" fmla="*/ 157 w 171"/>
                  <a:gd name="T19" fmla="*/ 183 h 234"/>
                  <a:gd name="T20" fmla="*/ 146 w 171"/>
                  <a:gd name="T21" fmla="*/ 193 h 234"/>
                  <a:gd name="T22" fmla="*/ 25 w 171"/>
                  <a:gd name="T23" fmla="*/ 193 h 234"/>
                  <a:gd name="T24" fmla="*/ 15 w 171"/>
                  <a:gd name="T25" fmla="*/ 183 h 234"/>
                  <a:gd name="T26" fmla="*/ 15 w 171"/>
                  <a:gd name="T27" fmla="*/ 25 h 234"/>
                  <a:gd name="T28" fmla="*/ 25 w 171"/>
                  <a:gd name="T29" fmla="*/ 14 h 234"/>
                  <a:gd name="T30" fmla="*/ 146 w 171"/>
                  <a:gd name="T31" fmla="*/ 14 h 234"/>
                  <a:gd name="T32" fmla="*/ 157 w 171"/>
                  <a:gd name="T33" fmla="*/ 25 h 234"/>
                  <a:gd name="T34" fmla="*/ 157 w 171"/>
                  <a:gd name="T35" fmla="*/ 18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34">
                    <a:moveTo>
                      <a:pt x="146" y="0"/>
                    </a:moveTo>
                    <a:cubicBezTo>
                      <a:pt x="25" y="0"/>
                      <a:pt x="25" y="0"/>
                      <a:pt x="25" y="0"/>
                    </a:cubicBezTo>
                    <a:cubicBezTo>
                      <a:pt x="11" y="0"/>
                      <a:pt x="0" y="11"/>
                      <a:pt x="0" y="25"/>
                    </a:cubicBezTo>
                    <a:cubicBezTo>
                      <a:pt x="0" y="209"/>
                      <a:pt x="0" y="209"/>
                      <a:pt x="0" y="209"/>
                    </a:cubicBezTo>
                    <a:cubicBezTo>
                      <a:pt x="0" y="223"/>
                      <a:pt x="11" y="234"/>
                      <a:pt x="25" y="234"/>
                    </a:cubicBezTo>
                    <a:cubicBezTo>
                      <a:pt x="146" y="234"/>
                      <a:pt x="146" y="234"/>
                      <a:pt x="146" y="234"/>
                    </a:cubicBezTo>
                    <a:cubicBezTo>
                      <a:pt x="160" y="234"/>
                      <a:pt x="171" y="223"/>
                      <a:pt x="171" y="209"/>
                    </a:cubicBezTo>
                    <a:cubicBezTo>
                      <a:pt x="171" y="25"/>
                      <a:pt x="171" y="25"/>
                      <a:pt x="171" y="25"/>
                    </a:cubicBezTo>
                    <a:cubicBezTo>
                      <a:pt x="171" y="11"/>
                      <a:pt x="160" y="0"/>
                      <a:pt x="146" y="0"/>
                    </a:cubicBezTo>
                    <a:moveTo>
                      <a:pt x="157" y="183"/>
                    </a:moveTo>
                    <a:cubicBezTo>
                      <a:pt x="157" y="188"/>
                      <a:pt x="152" y="193"/>
                      <a:pt x="146" y="193"/>
                    </a:cubicBezTo>
                    <a:cubicBezTo>
                      <a:pt x="25" y="193"/>
                      <a:pt x="25" y="193"/>
                      <a:pt x="25" y="193"/>
                    </a:cubicBezTo>
                    <a:cubicBezTo>
                      <a:pt x="19" y="193"/>
                      <a:pt x="15" y="188"/>
                      <a:pt x="15" y="183"/>
                    </a:cubicBezTo>
                    <a:cubicBezTo>
                      <a:pt x="15" y="25"/>
                      <a:pt x="15" y="25"/>
                      <a:pt x="15" y="25"/>
                    </a:cubicBezTo>
                    <a:cubicBezTo>
                      <a:pt x="15" y="19"/>
                      <a:pt x="19" y="14"/>
                      <a:pt x="25" y="14"/>
                    </a:cubicBezTo>
                    <a:cubicBezTo>
                      <a:pt x="146" y="14"/>
                      <a:pt x="146" y="14"/>
                      <a:pt x="146" y="14"/>
                    </a:cubicBezTo>
                    <a:cubicBezTo>
                      <a:pt x="152" y="14"/>
                      <a:pt x="157" y="19"/>
                      <a:pt x="157" y="25"/>
                    </a:cubicBezTo>
                    <a:lnTo>
                      <a:pt x="157" y="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632" kern="0">
                  <a:solidFill>
                    <a:srgbClr val="000000"/>
                  </a:solidFill>
                </a:endParaRPr>
              </a:p>
            </p:txBody>
          </p:sp>
          <p:sp>
            <p:nvSpPr>
              <p:cNvPr id="103" name="Oval 27"/>
              <p:cNvSpPr>
                <a:spLocks noChangeArrowheads="1"/>
              </p:cNvSpPr>
              <p:nvPr/>
            </p:nvSpPr>
            <p:spPr bwMode="black">
              <a:xfrm>
                <a:off x="6224588" y="3725863"/>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632" kern="0">
                  <a:solidFill>
                    <a:srgbClr val="000000"/>
                  </a:solidFill>
                </a:endParaRPr>
              </a:p>
            </p:txBody>
          </p:sp>
          <p:sp>
            <p:nvSpPr>
              <p:cNvPr id="104" name="Oval 28"/>
              <p:cNvSpPr>
                <a:spLocks noChangeArrowheads="1"/>
              </p:cNvSpPr>
              <p:nvPr/>
            </p:nvSpPr>
            <p:spPr bwMode="black">
              <a:xfrm>
                <a:off x="6453188" y="3725863"/>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632" kern="0">
                  <a:solidFill>
                    <a:srgbClr val="000000"/>
                  </a:solidFill>
                </a:endParaRPr>
              </a:p>
            </p:txBody>
          </p:sp>
          <p:sp>
            <p:nvSpPr>
              <p:cNvPr id="105" name="Oval 29"/>
              <p:cNvSpPr>
                <a:spLocks noChangeArrowheads="1"/>
              </p:cNvSpPr>
              <p:nvPr/>
            </p:nvSpPr>
            <p:spPr bwMode="black">
              <a:xfrm>
                <a:off x="6340476" y="3725863"/>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632" kern="0">
                  <a:solidFill>
                    <a:srgbClr val="000000"/>
                  </a:solidFill>
                </a:endParaRPr>
              </a:p>
            </p:txBody>
          </p:sp>
          <p:sp>
            <p:nvSpPr>
              <p:cNvPr id="106" name="Freeform 30"/>
              <p:cNvSpPr>
                <a:spLocks/>
              </p:cNvSpPr>
              <p:nvPr/>
            </p:nvSpPr>
            <p:spPr bwMode="black">
              <a:xfrm>
                <a:off x="3425826" y="4279901"/>
                <a:ext cx="442913" cy="16192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632" kern="0">
                  <a:solidFill>
                    <a:srgbClr val="000000"/>
                  </a:solidFill>
                </a:endParaRPr>
              </a:p>
            </p:txBody>
          </p:sp>
          <p:sp>
            <p:nvSpPr>
              <p:cNvPr id="107" name="Freeform 31"/>
              <p:cNvSpPr>
                <a:spLocks noEditPoints="1"/>
              </p:cNvSpPr>
              <p:nvPr/>
            </p:nvSpPr>
            <p:spPr bwMode="black">
              <a:xfrm>
                <a:off x="3414713" y="4456113"/>
                <a:ext cx="476250" cy="80962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632" kern="0">
                  <a:solidFill>
                    <a:srgbClr val="000000"/>
                  </a:solidFill>
                </a:endParaRPr>
              </a:p>
            </p:txBody>
          </p:sp>
        </p:grpSp>
      </p:grpSp>
      <p:grpSp>
        <p:nvGrpSpPr>
          <p:cNvPr id="2" name="Group 1"/>
          <p:cNvGrpSpPr/>
          <p:nvPr/>
        </p:nvGrpSpPr>
        <p:grpSpPr>
          <a:xfrm>
            <a:off x="369188" y="3230024"/>
            <a:ext cx="6445838" cy="723437"/>
            <a:chOff x="473011" y="3222620"/>
            <a:chExt cx="6320920" cy="709416"/>
          </a:xfrm>
        </p:grpSpPr>
        <p:grpSp>
          <p:nvGrpSpPr>
            <p:cNvPr id="7" name="Group 6"/>
            <p:cNvGrpSpPr/>
            <p:nvPr/>
          </p:nvGrpSpPr>
          <p:grpSpPr>
            <a:xfrm>
              <a:off x="473011" y="3222620"/>
              <a:ext cx="6320920" cy="709416"/>
              <a:chOff x="330771" y="4208462"/>
              <a:chExt cx="6320920" cy="709416"/>
            </a:xfrm>
          </p:grpSpPr>
          <p:sp>
            <p:nvSpPr>
              <p:cNvPr id="57" name="Rectangle 56"/>
              <p:cNvSpPr/>
              <p:nvPr/>
            </p:nvSpPr>
            <p:spPr bwMode="auto">
              <a:xfrm>
                <a:off x="330771" y="4208462"/>
                <a:ext cx="6320920" cy="7094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45" tIns="146262" rIns="182828" bIns="146262" numCol="1" spcCol="0" rtlCol="0" fromWordArt="0" anchor="ctr" anchorCtr="0" forceAA="0" compatLnSpc="1">
                <a:prstTxWarp prst="textNoShape">
                  <a:avLst/>
                </a:prstTxWarp>
                <a:noAutofit/>
              </a:bodyPr>
              <a:lstStyle/>
              <a:p>
                <a:pPr marL="699313" defTabSz="932384" fontAlgn="base">
                  <a:lnSpc>
                    <a:spcPct val="90000"/>
                  </a:lnSpc>
                  <a:spcBef>
                    <a:spcPct val="20000"/>
                  </a:spcBef>
                  <a:spcAft>
                    <a:spcPct val="0"/>
                  </a:spcAft>
                  <a:buSzPct val="90000"/>
                </a:pPr>
                <a:r>
                  <a:rPr lang="en-US" sz="2040" kern="0" dirty="0">
                    <a:ln w="3175">
                      <a:noFill/>
                    </a:ln>
                    <a:solidFill>
                      <a:srgbClr val="000000"/>
                    </a:solidFill>
                    <a:latin typeface="Calibri Light" panose="020F0302020204030204"/>
                  </a:rPr>
                  <a:t>Secure, live connection to your data sources, </a:t>
                </a:r>
                <a:br>
                  <a:rPr lang="en-US" sz="2040" kern="0" dirty="0">
                    <a:ln w="3175">
                      <a:noFill/>
                    </a:ln>
                    <a:solidFill>
                      <a:srgbClr val="000000"/>
                    </a:solidFill>
                    <a:latin typeface="Calibri Light" panose="020F0302020204030204"/>
                  </a:rPr>
                </a:br>
                <a:r>
                  <a:rPr lang="en-US" sz="2040" kern="0" dirty="0">
                    <a:ln w="3175">
                      <a:noFill/>
                    </a:ln>
                    <a:solidFill>
                      <a:srgbClr val="000000"/>
                    </a:solidFill>
                    <a:latin typeface="Calibri Light" panose="020F0302020204030204"/>
                  </a:rPr>
                  <a:t>on-premises and in the cloud</a:t>
                </a:r>
              </a:p>
            </p:txBody>
          </p:sp>
          <p:sp>
            <p:nvSpPr>
              <p:cNvPr id="81" name="Rectangle 80"/>
              <p:cNvSpPr/>
              <p:nvPr/>
            </p:nvSpPr>
            <p:spPr bwMode="auto">
              <a:xfrm>
                <a:off x="330772" y="4208462"/>
                <a:ext cx="709416" cy="709416"/>
              </a:xfrm>
              <a:prstGeom prst="rect">
                <a:avLst/>
              </a:prstGeom>
              <a:solidFill>
                <a:schemeClr val="bg2">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marL="634757" defTabSz="932114" fontAlgn="base">
                  <a:lnSpc>
                    <a:spcPct val="90000"/>
                  </a:lnSpc>
                  <a:spcBef>
                    <a:spcPct val="0"/>
                  </a:spcBef>
                  <a:spcAft>
                    <a:spcPct val="0"/>
                  </a:spcAft>
                </a:pPr>
                <a:endParaRPr lang="en-US" sz="2800"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sp>
          <p:nvSpPr>
            <p:cNvPr id="108" name="Freeform 107"/>
            <p:cNvSpPr>
              <a:spLocks noChangeAspect="1" noEditPoints="1"/>
            </p:cNvSpPr>
            <p:nvPr/>
          </p:nvSpPr>
          <p:spPr bwMode="auto">
            <a:xfrm>
              <a:off x="838238" y="3382840"/>
              <a:ext cx="184378" cy="365760"/>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F2C812"/>
            </a:solidFill>
            <a:ln>
              <a:noFill/>
            </a:ln>
            <a:extLst/>
          </p:spPr>
          <p:txBody>
            <a:bodyPr vert="horz" wrap="square" lIns="89592" tIns="44794" rIns="89592" bIns="44794"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225"/>
              <a:endParaRPr lang="en-US" sz="2353" dirty="0">
                <a:solidFill>
                  <a:srgbClr val="000000"/>
                </a:solidFill>
              </a:endParaRPr>
            </a:p>
          </p:txBody>
        </p:sp>
        <p:sp>
          <p:nvSpPr>
            <p:cNvPr id="109" name="Freeform 108"/>
            <p:cNvSpPr>
              <a:spLocks noChangeAspect="1" noEditPoints="1"/>
            </p:cNvSpPr>
            <p:nvPr/>
          </p:nvSpPr>
          <p:spPr bwMode="black">
            <a:xfrm>
              <a:off x="559446" y="3562769"/>
              <a:ext cx="293634" cy="182880"/>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rgbClr val="F2C812"/>
            </a:solidFill>
            <a:ln w="19050">
              <a:solidFill>
                <a:srgbClr val="F2C812"/>
              </a:solid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121"/>
              <a:endParaRPr lang="en-US" sz="1377" dirty="0">
                <a:ln w="19050">
                  <a:solidFill>
                    <a:schemeClr val="tx1"/>
                  </a:solidFill>
                </a:ln>
              </a:endParaRPr>
            </a:p>
          </p:txBody>
        </p:sp>
      </p:grpSp>
      <p:grpSp>
        <p:nvGrpSpPr>
          <p:cNvPr id="15" name="Group 14"/>
          <p:cNvGrpSpPr>
            <a:grpSpLocks noChangeAspect="1"/>
          </p:cNvGrpSpPr>
          <p:nvPr/>
        </p:nvGrpSpPr>
        <p:grpSpPr>
          <a:xfrm>
            <a:off x="6943627" y="2699414"/>
            <a:ext cx="5128590" cy="2493194"/>
            <a:chOff x="7018864" y="2257415"/>
            <a:chExt cx="5059237" cy="2459479"/>
          </a:xfrm>
        </p:grpSpPr>
        <p:grpSp>
          <p:nvGrpSpPr>
            <p:cNvPr id="6" name="Group 5"/>
            <p:cNvGrpSpPr/>
            <p:nvPr/>
          </p:nvGrpSpPr>
          <p:grpSpPr>
            <a:xfrm>
              <a:off x="7018864" y="2257415"/>
              <a:ext cx="5059237" cy="2459479"/>
              <a:chOff x="7018864" y="2257415"/>
              <a:chExt cx="5059237" cy="2459479"/>
            </a:xfrm>
          </p:grpSpPr>
          <p:grpSp>
            <p:nvGrpSpPr>
              <p:cNvPr id="33" name="Group 32"/>
              <p:cNvGrpSpPr>
                <a:grpSpLocks noChangeAspect="1"/>
              </p:cNvGrpSpPr>
              <p:nvPr/>
            </p:nvGrpSpPr>
            <p:grpSpPr>
              <a:xfrm>
                <a:off x="10432181" y="2257415"/>
                <a:ext cx="548640" cy="1042085"/>
                <a:chOff x="10286449" y="1529656"/>
                <a:chExt cx="917410" cy="1742525"/>
              </a:xfrm>
            </p:grpSpPr>
            <p:sp>
              <p:nvSpPr>
                <p:cNvPr id="34" name="Rounded Rectangle 33"/>
                <p:cNvSpPr/>
                <p:nvPr/>
              </p:nvSpPr>
              <p:spPr bwMode="auto">
                <a:xfrm>
                  <a:off x="10493458" y="1529656"/>
                  <a:ext cx="489183" cy="1739862"/>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spcBef>
                      <a:spcPct val="0"/>
                    </a:spcBef>
                    <a:spcAft>
                      <a:spcPct val="0"/>
                    </a:spcAft>
                  </a:pPr>
                  <a:endParaRPr lang="en-US" sz="204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5" name="Picture 34"/>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10372236" y="1690687"/>
                  <a:ext cx="745838" cy="1344992"/>
                </a:xfrm>
                <a:prstGeom prst="rect">
                  <a:avLst/>
                </a:prstGeom>
                <a:noFill/>
                <a:ln>
                  <a:noFill/>
                </a:ln>
              </p:spPr>
            </p:pic>
            <p:pic>
              <p:nvPicPr>
                <p:cNvPr id="36" name="Picture 35"/>
                <p:cNvPicPr>
                  <a:picLocks noChangeAspect="1"/>
                </p:cNvPicPr>
                <p:nvPr/>
              </p:nvPicPr>
              <p:blipFill rotWithShape="1">
                <a:blip r:embed="rId6" cstate="screen">
                  <a:extLst>
                    <a:ext uri="{28A0092B-C50C-407E-A947-70E740481C1C}">
                      <a14:useLocalDpi xmlns:a14="http://schemas.microsoft.com/office/drawing/2010/main" val="0"/>
                    </a:ext>
                  </a:extLst>
                </a:blip>
                <a:srcRect/>
                <a:stretch/>
              </p:blipFill>
              <p:spPr>
                <a:xfrm>
                  <a:off x="10372230" y="1818052"/>
                  <a:ext cx="745838" cy="1112933"/>
                </a:xfrm>
                <a:prstGeom prst="rect">
                  <a:avLst/>
                </a:prstGeom>
              </p:spPr>
            </p:pic>
            <p:sp>
              <p:nvSpPr>
                <p:cNvPr id="37" name="Rounded Rectangle 223"/>
                <p:cNvSpPr/>
                <p:nvPr/>
              </p:nvSpPr>
              <p:spPr bwMode="auto">
                <a:xfrm>
                  <a:off x="10286449" y="1529656"/>
                  <a:ext cx="917410" cy="1742525"/>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chemeClr val="bg2">
                    <a:lumMod val="1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z="816" kern="0" spc="-50" dirty="0" err="1">
                    <a:solidFill>
                      <a:srgbClr val="68217A"/>
                    </a:solidFill>
                    <a:ea typeface="Segoe UI" pitchFamily="34" charset="0"/>
                    <a:cs typeface="Segoe UI" pitchFamily="34" charset="0"/>
                  </a:endParaRPr>
                </a:p>
              </p:txBody>
            </p:sp>
          </p:grpSp>
          <p:sp>
            <p:nvSpPr>
              <p:cNvPr id="42" name="Freeform 1383"/>
              <p:cNvSpPr>
                <a:spLocks noChangeAspect="1" noEditPoints="1"/>
              </p:cNvSpPr>
              <p:nvPr/>
            </p:nvSpPr>
            <p:spPr bwMode="auto">
              <a:xfrm>
                <a:off x="7018864" y="2534980"/>
                <a:ext cx="3840480" cy="2181914"/>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chemeClr val="bg2">
                  <a:lumMod val="10000"/>
                </a:schemeClr>
              </a:solidFill>
              <a:ln w="9525">
                <a:solidFill>
                  <a:schemeClr val="bg1"/>
                </a:solidFill>
              </a:ln>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121"/>
                <a:endParaRPr lang="en-US" sz="1632" dirty="0">
                  <a:solidFill>
                    <a:srgbClr val="000000"/>
                  </a:solidFill>
                </a:endParaRPr>
              </a:p>
            </p:txBody>
          </p:sp>
          <p:grpSp>
            <p:nvGrpSpPr>
              <p:cNvPr id="43" name="Group 42"/>
              <p:cNvGrpSpPr>
                <a:grpSpLocks noChangeAspect="1"/>
              </p:cNvGrpSpPr>
              <p:nvPr/>
            </p:nvGrpSpPr>
            <p:grpSpPr>
              <a:xfrm>
                <a:off x="10432181" y="3352369"/>
                <a:ext cx="1645920" cy="1132186"/>
                <a:chOff x="1117586" y="1978512"/>
                <a:chExt cx="2372574" cy="1629558"/>
              </a:xfrm>
            </p:grpSpPr>
            <p:pic>
              <p:nvPicPr>
                <p:cNvPr id="44" name="Picture 43"/>
                <p:cNvPicPr>
                  <a:picLocks noChangeAspect="1"/>
                </p:cNvPicPr>
                <p:nvPr/>
              </p:nvPicPr>
              <p:blipFill rotWithShape="1">
                <a:blip r:embed="rId7" cstate="screen">
                  <a:extLst>
                    <a:ext uri="{28A0092B-C50C-407E-A947-70E740481C1C}">
                      <a14:useLocalDpi xmlns:a14="http://schemas.microsoft.com/office/drawing/2010/main" val="0"/>
                    </a:ext>
                  </a:extLst>
                </a:blip>
                <a:srcRect/>
                <a:stretch/>
              </p:blipFill>
              <p:spPr>
                <a:xfrm>
                  <a:off x="1309718" y="2130700"/>
                  <a:ext cx="1845671" cy="1326874"/>
                </a:xfrm>
                <a:prstGeom prst="rect">
                  <a:avLst/>
                </a:prstGeom>
                <a:noFill/>
                <a:ln>
                  <a:noFill/>
                </a:ln>
              </p:spPr>
            </p:pic>
            <p:grpSp>
              <p:nvGrpSpPr>
                <p:cNvPr id="45" name="Group 44"/>
                <p:cNvGrpSpPr/>
                <p:nvPr/>
              </p:nvGrpSpPr>
              <p:grpSpPr>
                <a:xfrm>
                  <a:off x="1307936" y="2212479"/>
                  <a:ext cx="1844519" cy="1136088"/>
                  <a:chOff x="1276066" y="3677905"/>
                  <a:chExt cx="2524835" cy="1555113"/>
                </a:xfrm>
              </p:grpSpPr>
              <p:pic>
                <p:nvPicPr>
                  <p:cNvPr id="51" name="Picture 50"/>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1276066" y="3677905"/>
                    <a:ext cx="2524835" cy="1555113"/>
                  </a:xfrm>
                  <a:prstGeom prst="rect">
                    <a:avLst/>
                  </a:prstGeom>
                </p:spPr>
              </p:pic>
              <p:pic>
                <p:nvPicPr>
                  <p:cNvPr id="52" name="Picture 51"/>
                  <p:cNvPicPr>
                    <a:picLocks noChangeAspect="1"/>
                  </p:cNvPicPr>
                  <p:nvPr/>
                </p:nvPicPr>
                <p:blipFill rotWithShape="1">
                  <a:blip r:embed="rId9" cstate="screen">
                    <a:extLst>
                      <a:ext uri="{28A0092B-C50C-407E-A947-70E740481C1C}">
                        <a14:useLocalDpi xmlns:a14="http://schemas.microsoft.com/office/drawing/2010/main" val="0"/>
                      </a:ext>
                    </a:extLst>
                  </a:blip>
                  <a:srcRect/>
                  <a:stretch/>
                </p:blipFill>
                <p:spPr>
                  <a:xfrm>
                    <a:off x="2524585" y="4449793"/>
                    <a:ext cx="1269242" cy="783225"/>
                  </a:xfrm>
                  <a:prstGeom prst="rect">
                    <a:avLst/>
                  </a:prstGeom>
                </p:spPr>
              </p:pic>
            </p:grpSp>
            <p:grpSp>
              <p:nvGrpSpPr>
                <p:cNvPr id="46" name="Group 45"/>
                <p:cNvGrpSpPr/>
                <p:nvPr/>
              </p:nvGrpSpPr>
              <p:grpSpPr>
                <a:xfrm>
                  <a:off x="1117586" y="1978512"/>
                  <a:ext cx="2372574" cy="1629558"/>
                  <a:chOff x="1117586" y="1978512"/>
                  <a:chExt cx="2372574" cy="1629558"/>
                </a:xfrm>
              </p:grpSpPr>
              <p:sp>
                <p:nvSpPr>
                  <p:cNvPr id="47" name="Rounded Rectangle 89"/>
                  <p:cNvSpPr>
                    <a:spLocks noChangeAspect="1"/>
                  </p:cNvSpPr>
                  <p:nvPr/>
                </p:nvSpPr>
                <p:spPr bwMode="auto">
                  <a:xfrm rot="16200000">
                    <a:off x="1489094" y="1607004"/>
                    <a:ext cx="1629558" cy="2372574"/>
                  </a:xfrm>
                  <a:custGeom>
                    <a:avLst/>
                    <a:gdLst/>
                    <a:ahLst/>
                    <a:cxnLst/>
                    <a:rect l="l" t="t" r="r" b="b"/>
                    <a:pathLst>
                      <a:path w="3265981" h="3654426">
                        <a:moveTo>
                          <a:pt x="2686301" y="3311991"/>
                        </a:moveTo>
                        <a:cubicBezTo>
                          <a:pt x="2647724" y="3311991"/>
                          <a:pt x="2616451" y="3343264"/>
                          <a:pt x="2616451" y="3381841"/>
                        </a:cubicBezTo>
                        <a:cubicBezTo>
                          <a:pt x="2616451" y="3420417"/>
                          <a:pt x="2647724" y="3451690"/>
                          <a:pt x="2686301" y="3451690"/>
                        </a:cubicBezTo>
                        <a:lnTo>
                          <a:pt x="2698749" y="3451691"/>
                        </a:lnTo>
                        <a:cubicBezTo>
                          <a:pt x="2737326" y="3451691"/>
                          <a:pt x="2768599" y="3420418"/>
                          <a:pt x="2768599" y="3381841"/>
                        </a:cubicBezTo>
                        <a:lnTo>
                          <a:pt x="2768600" y="3381841"/>
                        </a:lnTo>
                        <a:cubicBezTo>
                          <a:pt x="2768600" y="3343264"/>
                          <a:pt x="2737327" y="3311991"/>
                          <a:pt x="2698750" y="3311991"/>
                        </a:cubicBezTo>
                        <a:close/>
                        <a:moveTo>
                          <a:pt x="2477370" y="3311991"/>
                        </a:moveTo>
                        <a:cubicBezTo>
                          <a:pt x="2438793" y="3311991"/>
                          <a:pt x="2407520" y="3343264"/>
                          <a:pt x="2407520" y="3381841"/>
                        </a:cubicBezTo>
                        <a:cubicBezTo>
                          <a:pt x="2407520" y="3420417"/>
                          <a:pt x="2438793" y="3451690"/>
                          <a:pt x="2477370" y="3451690"/>
                        </a:cubicBezTo>
                        <a:lnTo>
                          <a:pt x="2490960" y="3451691"/>
                        </a:lnTo>
                        <a:cubicBezTo>
                          <a:pt x="2529537" y="3451691"/>
                          <a:pt x="2560810" y="3420418"/>
                          <a:pt x="2560810" y="3381841"/>
                        </a:cubicBezTo>
                        <a:lnTo>
                          <a:pt x="2560811" y="3381841"/>
                        </a:lnTo>
                        <a:cubicBezTo>
                          <a:pt x="2560811" y="3343264"/>
                          <a:pt x="2529538" y="3311991"/>
                          <a:pt x="2490961" y="3311991"/>
                        </a:cubicBezTo>
                        <a:close/>
                        <a:moveTo>
                          <a:pt x="1951037" y="3311991"/>
                        </a:moveTo>
                        <a:cubicBezTo>
                          <a:pt x="1912460" y="3311991"/>
                          <a:pt x="1881187" y="3343264"/>
                          <a:pt x="1881187" y="3381841"/>
                        </a:cubicBezTo>
                        <a:cubicBezTo>
                          <a:pt x="1881187" y="3420417"/>
                          <a:pt x="1912460" y="3451690"/>
                          <a:pt x="1951037" y="3451690"/>
                        </a:cubicBezTo>
                        <a:lnTo>
                          <a:pt x="2282030" y="3451691"/>
                        </a:lnTo>
                        <a:cubicBezTo>
                          <a:pt x="2320607" y="3451691"/>
                          <a:pt x="2351880" y="3420418"/>
                          <a:pt x="2351880" y="3381841"/>
                        </a:cubicBezTo>
                        <a:lnTo>
                          <a:pt x="2351881" y="3381841"/>
                        </a:lnTo>
                        <a:cubicBezTo>
                          <a:pt x="2351881" y="3343264"/>
                          <a:pt x="2320608" y="3311991"/>
                          <a:pt x="2282031" y="3311991"/>
                        </a:cubicBezTo>
                        <a:close/>
                        <a:moveTo>
                          <a:pt x="299489" y="299430"/>
                        </a:moveTo>
                        <a:lnTo>
                          <a:pt x="299489" y="3141056"/>
                        </a:lnTo>
                        <a:lnTo>
                          <a:pt x="2966489" y="3141056"/>
                        </a:lnTo>
                        <a:lnTo>
                          <a:pt x="2966489" y="299430"/>
                        </a:lnTo>
                        <a:close/>
                        <a:moveTo>
                          <a:pt x="134787" y="0"/>
                        </a:moveTo>
                        <a:lnTo>
                          <a:pt x="3131194" y="0"/>
                        </a:lnTo>
                        <a:cubicBezTo>
                          <a:pt x="3205635" y="0"/>
                          <a:pt x="3265981" y="60346"/>
                          <a:pt x="3265981" y="134787"/>
                        </a:cubicBezTo>
                        <a:lnTo>
                          <a:pt x="3265981" y="3519639"/>
                        </a:lnTo>
                        <a:cubicBezTo>
                          <a:pt x="3265981" y="3594080"/>
                          <a:pt x="3205635" y="3654426"/>
                          <a:pt x="3131194" y="3654426"/>
                        </a:cubicBezTo>
                        <a:lnTo>
                          <a:pt x="134787" y="3654426"/>
                        </a:lnTo>
                        <a:cubicBezTo>
                          <a:pt x="60346" y="3654426"/>
                          <a:pt x="0" y="3594080"/>
                          <a:pt x="0" y="3519639"/>
                        </a:cubicBezTo>
                        <a:lnTo>
                          <a:pt x="0" y="134787"/>
                        </a:lnTo>
                        <a:cubicBezTo>
                          <a:pt x="0" y="60346"/>
                          <a:pt x="60346" y="0"/>
                          <a:pt x="134787" y="0"/>
                        </a:cubicBezTo>
                        <a:close/>
                      </a:path>
                    </a:pathLst>
                  </a:custGeom>
                  <a:solidFill>
                    <a:schemeClr val="bg2">
                      <a:lumMod val="1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z="816" kern="0" spc="-50" dirty="0" err="1">
                      <a:solidFill>
                        <a:srgbClr val="68217A"/>
                      </a:solidFill>
                      <a:ea typeface="Segoe UI" pitchFamily="34" charset="0"/>
                      <a:cs typeface="Segoe UI" pitchFamily="34" charset="0"/>
                    </a:endParaRPr>
                  </a:p>
                </p:txBody>
              </p:sp>
              <p:sp>
                <p:nvSpPr>
                  <p:cNvPr id="48" name="Rectangle 47"/>
                  <p:cNvSpPr/>
                  <p:nvPr/>
                </p:nvSpPr>
                <p:spPr bwMode="auto">
                  <a:xfrm>
                    <a:off x="3172854" y="2198842"/>
                    <a:ext cx="307998" cy="808750"/>
                  </a:xfrm>
                  <a:prstGeom prst="rect">
                    <a:avLst/>
                  </a:prstGeom>
                  <a:solidFill>
                    <a:schemeClr val="bg2">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spcBef>
                        <a:spcPct val="0"/>
                      </a:spcBef>
                      <a:spcAft>
                        <a:spcPct val="0"/>
                      </a:spcAft>
                    </a:pPr>
                    <a:endParaRPr lang="en-US" sz="204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p:cNvPicPr>
                    <a:picLocks noChangeAspect="1"/>
                  </p:cNvPicPr>
                  <p:nvPr/>
                </p:nvPicPr>
                <p:blipFill>
                  <a:blip r:embed="rId10" cstate="screen">
                    <a:biLevel thresh="25000"/>
                    <a:extLst>
                      <a:ext uri="{28A0092B-C50C-407E-A947-70E740481C1C}">
                        <a14:useLocalDpi xmlns:a14="http://schemas.microsoft.com/office/drawing/2010/main" val="0"/>
                      </a:ext>
                    </a:extLst>
                  </a:blip>
                  <a:stretch>
                    <a:fillRect/>
                  </a:stretch>
                </p:blipFill>
                <p:spPr>
                  <a:xfrm>
                    <a:off x="3229523" y="2739186"/>
                    <a:ext cx="195334" cy="108208"/>
                  </a:xfrm>
                  <a:prstGeom prst="rect">
                    <a:avLst/>
                  </a:prstGeom>
                </p:spPr>
              </p:pic>
            </p:grpSp>
          </p:grpSp>
        </p:grpSp>
        <p:pic>
          <p:nvPicPr>
            <p:cNvPr id="14" name="Picture 13"/>
            <p:cNvPicPr>
              <a:picLocks noChangeAspect="1"/>
            </p:cNvPicPr>
            <p:nvPr/>
          </p:nvPicPr>
          <p:blipFill>
            <a:blip r:embed="rId11"/>
            <a:stretch>
              <a:fillRect/>
            </a:stretch>
          </p:blipFill>
          <p:spPr>
            <a:xfrm>
              <a:off x="7626151" y="2638675"/>
              <a:ext cx="2647950" cy="1733550"/>
            </a:xfrm>
            <a:prstGeom prst="rect">
              <a:avLst/>
            </a:prstGeom>
          </p:spPr>
        </p:pic>
      </p:grpSp>
      <p:sp>
        <p:nvSpPr>
          <p:cNvPr id="82" name="Title 3"/>
          <p:cNvSpPr txBox="1">
            <a:spLocks/>
          </p:cNvSpPr>
          <p:nvPr/>
        </p:nvSpPr>
        <p:spPr>
          <a:xfrm>
            <a:off x="275163" y="292537"/>
            <a:ext cx="12160430" cy="946279"/>
          </a:xfrm>
          <a:prstGeom prst="rect">
            <a:avLst/>
          </a:prstGeom>
        </p:spPr>
        <p:txBody>
          <a:bodyPr vert="horz" wrap="square" lIns="146283" tIns="91427" rIns="146283" bIns="91427" rtlCol="0" anchor="t">
            <a:noAutofit/>
          </a:bodyPr>
          <a:lstStyle>
            <a:lvl1pPr algn="l" defTabSz="932563" rtl="0" eaLnBrk="1" latinLnBrk="0" hangingPunct="1">
              <a:lnSpc>
                <a:spcPct val="90000"/>
              </a:lnSpc>
              <a:spcBef>
                <a:spcPct val="0"/>
              </a:spcBef>
              <a:buNone/>
              <a:defRPr lang="en-US" sz="5198" b="0" kern="1200" cap="none" spc="-102" baseline="0">
                <a:ln w="3175">
                  <a:noFill/>
                </a:ln>
                <a:solidFill>
                  <a:schemeClr val="tx2"/>
                </a:solidFill>
                <a:effectLst/>
                <a:latin typeface="+mj-lt"/>
                <a:ea typeface="+mn-ea"/>
                <a:cs typeface="Segoe UI" pitchFamily="34" charset="0"/>
              </a:defRPr>
            </a:lvl1pPr>
          </a:lstStyle>
          <a:p>
            <a:pPr defTabSz="932384">
              <a:defRPr/>
            </a:pPr>
            <a:r>
              <a:rPr lang="en-US" sz="5399" dirty="0">
                <a:solidFill>
                  <a:schemeClr val="tx2">
                    <a:lumMod val="10000"/>
                  </a:schemeClr>
                </a:solidFill>
                <a:latin typeface="Segoe UI Light"/>
              </a:rPr>
              <a:t>Key benefits and differentiators of Power BI</a:t>
            </a:r>
            <a:endParaRPr lang="en-US" sz="3599" dirty="0">
              <a:solidFill>
                <a:schemeClr val="tx2">
                  <a:lumMod val="10000"/>
                </a:schemeClr>
              </a:solidFill>
              <a:latin typeface="Segoe UI Light"/>
            </a:endParaRPr>
          </a:p>
        </p:txBody>
      </p:sp>
    </p:spTree>
    <p:extLst>
      <p:ext uri="{BB962C8B-B14F-4D97-AF65-F5344CB8AC3E}">
        <p14:creationId xmlns:p14="http://schemas.microsoft.com/office/powerpoint/2010/main" val="1182223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2"/>
                                        </p:tgtEl>
                                        <p:attrNameLst>
                                          <p:attrName>style.visibility</p:attrName>
                                        </p:attrNameLst>
                                      </p:cBhvr>
                                      <p:to>
                                        <p:strVal val="visible"/>
                                      </p:to>
                                    </p:set>
                                    <p:animEffect transition="in" filter="fade">
                                      <p:cBhvr>
                                        <p:cTn id="16" dur="500"/>
                                        <p:tgtEl>
                                          <p:spTgt spid="2"/>
                                        </p:tgtEl>
                                      </p:cBhvr>
                                    </p:animEffect>
                                  </p:childTnLst>
                                </p:cTn>
                              </p:par>
                            </p:childTnLst>
                          </p:cTn>
                        </p:par>
                        <p:par>
                          <p:cTn id="17" fill="hold">
                            <p:stCondLst>
                              <p:cond delay="1000"/>
                            </p:stCondLst>
                            <p:childTnLst>
                              <p:par>
                                <p:cTn id="18" presetID="10" presetClass="entr" presetSubtype="0" fill="hold" nodeType="after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childTnLst>
                          </p:cTn>
                        </p:par>
                        <p:par>
                          <p:cTn id="21" fill="hold">
                            <p:stCondLst>
                              <p:cond delay="1500"/>
                            </p:stCondLst>
                            <p:childTnLst>
                              <p:par>
                                <p:cTn id="22" presetID="10" presetClass="entr" presetSubtype="0" fill="hold" nodeType="after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500"/>
                                        <p:tgtEl>
                                          <p:spTgt spid="9"/>
                                        </p:tgtEl>
                                      </p:cBhvr>
                                    </p:animEffect>
                                  </p:childTnLst>
                                </p:cTn>
                              </p:par>
                            </p:childTnLst>
                          </p:cTn>
                        </p:par>
                        <p:par>
                          <p:cTn id="25" fill="hold">
                            <p:stCondLst>
                              <p:cond delay="2000"/>
                            </p:stCondLst>
                            <p:childTnLst>
                              <p:par>
                                <p:cTn id="26" presetID="10" presetClass="entr" presetSubtype="0" fill="hold" nodeType="after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fade">
                                      <p:cBhvr>
                                        <p:cTn id="2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Flowchart: Process 64"/>
          <p:cNvSpPr/>
          <p:nvPr/>
        </p:nvSpPr>
        <p:spPr bwMode="auto">
          <a:xfrm>
            <a:off x="400917" y="1620492"/>
            <a:ext cx="3526143" cy="4674500"/>
          </a:xfrm>
          <a:prstGeom prst="flowChartProcess">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err="1">
              <a:solidFill>
                <a:srgbClr val="000000"/>
              </a:solidFill>
              <a:ea typeface="Segoe UI" pitchFamily="34" charset="0"/>
              <a:cs typeface="Segoe UI" pitchFamily="34" charset="0"/>
            </a:endParaRPr>
          </a:p>
        </p:txBody>
      </p:sp>
      <p:sp>
        <p:nvSpPr>
          <p:cNvPr id="66" name="Rectangle 65"/>
          <p:cNvSpPr/>
          <p:nvPr/>
        </p:nvSpPr>
        <p:spPr bwMode="auto">
          <a:xfrm>
            <a:off x="387167" y="1605829"/>
            <a:ext cx="11637226" cy="4674500"/>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spcBef>
                <a:spcPct val="0"/>
              </a:spcBef>
              <a:spcAft>
                <a:spcPct val="0"/>
              </a:spcAft>
            </a:pPr>
            <a:endParaRPr lang="en-IN"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8" name="Rectangle 67"/>
          <p:cNvSpPr/>
          <p:nvPr/>
        </p:nvSpPr>
        <p:spPr>
          <a:xfrm>
            <a:off x="768426" y="1775993"/>
            <a:ext cx="1725647" cy="414295"/>
          </a:xfrm>
          <a:prstGeom prst="rect">
            <a:avLst/>
          </a:prstGeom>
        </p:spPr>
        <p:txBody>
          <a:bodyPr wrap="square">
            <a:spAutoFit/>
          </a:bodyPr>
          <a:lstStyle/>
          <a:p>
            <a:pPr defTabSz="932384">
              <a:spcAft>
                <a:spcPts val="600"/>
              </a:spcAft>
            </a:pPr>
            <a:r>
              <a:rPr lang="en-US" sz="2040" kern="0" dirty="0">
                <a:solidFill>
                  <a:srgbClr val="000000"/>
                </a:solidFill>
              </a:rPr>
              <a:t>Data sources</a:t>
            </a:r>
          </a:p>
        </p:txBody>
      </p:sp>
      <p:sp>
        <p:nvSpPr>
          <p:cNvPr id="69" name="Rectangle 68"/>
          <p:cNvSpPr/>
          <p:nvPr/>
        </p:nvSpPr>
        <p:spPr>
          <a:xfrm>
            <a:off x="4368683" y="1776100"/>
            <a:ext cx="3946365" cy="414295"/>
          </a:xfrm>
          <a:prstGeom prst="rect">
            <a:avLst/>
          </a:prstGeom>
        </p:spPr>
        <p:txBody>
          <a:bodyPr wrap="square">
            <a:spAutoFit/>
          </a:bodyPr>
          <a:lstStyle/>
          <a:p>
            <a:pPr defTabSz="932384">
              <a:spcAft>
                <a:spcPts val="600"/>
              </a:spcAft>
            </a:pPr>
            <a:r>
              <a:rPr lang="en-US" sz="2040" kern="0" dirty="0">
                <a:solidFill>
                  <a:srgbClr val="505050"/>
                </a:solidFill>
              </a:rPr>
              <a:t>Power BI service</a:t>
            </a:r>
          </a:p>
        </p:txBody>
      </p:sp>
      <p:cxnSp>
        <p:nvCxnSpPr>
          <p:cNvPr id="97" name="Straight Connector 96"/>
          <p:cNvCxnSpPr/>
          <p:nvPr/>
        </p:nvCxnSpPr>
        <p:spPr>
          <a:xfrm>
            <a:off x="1021322" y="2930158"/>
            <a:ext cx="192885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98" name="Rectangle 145"/>
          <p:cNvSpPr/>
          <p:nvPr/>
        </p:nvSpPr>
        <p:spPr bwMode="auto">
          <a:xfrm>
            <a:off x="1036694" y="2428410"/>
            <a:ext cx="2021700" cy="372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kern="0" dirty="0">
                <a:solidFill>
                  <a:srgbClr val="000000"/>
                </a:solidFill>
                <a:cs typeface="Segoe UI Light" panose="020B0502040204020203" pitchFamily="34" charset="0"/>
              </a:rPr>
              <a:t>SaaS solutions</a:t>
            </a:r>
          </a:p>
          <a:p>
            <a:pPr defTabSz="932384">
              <a:spcAft>
                <a:spcPts val="612"/>
              </a:spcAft>
            </a:pPr>
            <a:r>
              <a:rPr lang="en-US" sz="918" i="1" kern="0" dirty="0">
                <a:solidFill>
                  <a:srgbClr val="000000"/>
                </a:solidFill>
                <a:cs typeface="Segoe UI Light" panose="020B0502040204020203" pitchFamily="34" charset="0"/>
              </a:rPr>
              <a:t>e.g. Marketo, Salesforce, GitHub, Google analytics</a:t>
            </a:r>
          </a:p>
        </p:txBody>
      </p:sp>
      <p:sp>
        <p:nvSpPr>
          <p:cNvPr id="100" name="Oval 147"/>
          <p:cNvSpPr/>
          <p:nvPr/>
        </p:nvSpPr>
        <p:spPr bwMode="auto">
          <a:xfrm>
            <a:off x="658822" y="2494468"/>
            <a:ext cx="372988" cy="372988"/>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GB" sz="2448"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1" name="Group 332"/>
          <p:cNvGrpSpPr/>
          <p:nvPr/>
        </p:nvGrpSpPr>
        <p:grpSpPr>
          <a:xfrm>
            <a:off x="711893" y="2571897"/>
            <a:ext cx="266847" cy="218129"/>
            <a:chOff x="2123129" y="1797431"/>
            <a:chExt cx="2472585" cy="2021180"/>
          </a:xfrm>
        </p:grpSpPr>
        <p:sp>
          <p:nvSpPr>
            <p:cNvPr id="102" name="Freeform 13"/>
            <p:cNvSpPr>
              <a:spLocks/>
            </p:cNvSpPr>
            <p:nvPr/>
          </p:nvSpPr>
          <p:spPr bwMode="auto">
            <a:xfrm rot="20700000">
              <a:off x="3155851" y="2377161"/>
              <a:ext cx="1439863" cy="1441450"/>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3247" tIns="46623" rIns="93247" bIns="46623" numCol="1" anchor="t" anchorCtr="0" compatLnSpc="1">
              <a:prstTxWarp prst="textNoShape">
                <a:avLst/>
              </a:prstTxWarp>
            </a:bodyPr>
            <a:lstStyle/>
            <a:p>
              <a:pPr defTabSz="932418"/>
              <a:endParaRPr lang="en-US" sz="1836" kern="0">
                <a:solidFill>
                  <a:srgbClr val="000000"/>
                </a:solidFill>
              </a:endParaRPr>
            </a:p>
          </p:txBody>
        </p:sp>
        <p:sp>
          <p:nvSpPr>
            <p:cNvPr id="103"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3247" tIns="46623" rIns="93247" bIns="46623" numCol="1" anchor="t" anchorCtr="0" compatLnSpc="1">
              <a:prstTxWarp prst="textNoShape">
                <a:avLst/>
              </a:prstTxWarp>
            </a:bodyPr>
            <a:lstStyle/>
            <a:p>
              <a:pPr defTabSz="932418"/>
              <a:endParaRPr lang="en-US" sz="1836" kern="0">
                <a:solidFill>
                  <a:srgbClr val="000000"/>
                </a:solidFill>
              </a:endParaRPr>
            </a:p>
          </p:txBody>
        </p:sp>
      </p:grpSp>
      <p:cxnSp>
        <p:nvCxnSpPr>
          <p:cNvPr id="104" name="Straight Connector 103"/>
          <p:cNvCxnSpPr/>
          <p:nvPr/>
        </p:nvCxnSpPr>
        <p:spPr>
          <a:xfrm>
            <a:off x="1021322" y="3482982"/>
            <a:ext cx="192885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05" name="Rectangle 152"/>
          <p:cNvSpPr/>
          <p:nvPr/>
        </p:nvSpPr>
        <p:spPr bwMode="auto">
          <a:xfrm>
            <a:off x="1030935" y="3033601"/>
            <a:ext cx="2021700" cy="372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kern="0" dirty="0">
                <a:solidFill>
                  <a:srgbClr val="000000"/>
                </a:solidFill>
                <a:cs typeface="Segoe UI Light" panose="020B0502040204020203" pitchFamily="34" charset="0"/>
              </a:rPr>
              <a:t>On-premises data</a:t>
            </a:r>
          </a:p>
          <a:p>
            <a:pPr defTabSz="932384"/>
            <a:r>
              <a:rPr lang="en-US" sz="918" kern="0" dirty="0">
                <a:solidFill>
                  <a:srgbClr val="000000"/>
                </a:solidFill>
                <a:cs typeface="Segoe UI Light" panose="020B0502040204020203" pitchFamily="34" charset="0"/>
              </a:rPr>
              <a:t>e.g. Analysis Services</a:t>
            </a:r>
          </a:p>
        </p:txBody>
      </p:sp>
      <p:sp>
        <p:nvSpPr>
          <p:cNvPr id="107" name="Oval 154"/>
          <p:cNvSpPr/>
          <p:nvPr/>
        </p:nvSpPr>
        <p:spPr bwMode="auto">
          <a:xfrm>
            <a:off x="658822" y="3033601"/>
            <a:ext cx="372988" cy="372988"/>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GB"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8" name="Freeform 30"/>
          <p:cNvSpPr>
            <a:spLocks noEditPoints="1"/>
          </p:cNvSpPr>
          <p:nvPr/>
        </p:nvSpPr>
        <p:spPr bwMode="auto">
          <a:xfrm>
            <a:off x="742835" y="3129698"/>
            <a:ext cx="204961" cy="180794"/>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3247" tIns="46623" rIns="93247" bIns="46623" numCol="1" anchor="t" anchorCtr="0" compatLnSpc="1">
            <a:prstTxWarp prst="textNoShape">
              <a:avLst/>
            </a:prstTxWarp>
          </a:bodyPr>
          <a:lstStyle/>
          <a:p>
            <a:pPr defTabSz="932418"/>
            <a:endParaRPr lang="en-US" sz="1836" kern="0">
              <a:solidFill>
                <a:srgbClr val="000000"/>
              </a:solidFill>
            </a:endParaRPr>
          </a:p>
        </p:txBody>
      </p:sp>
      <p:cxnSp>
        <p:nvCxnSpPr>
          <p:cNvPr id="109" name="Straight Connector 108"/>
          <p:cNvCxnSpPr/>
          <p:nvPr/>
        </p:nvCxnSpPr>
        <p:spPr>
          <a:xfrm>
            <a:off x="1021322" y="4070149"/>
            <a:ext cx="192885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11" name="Rectangle 1074"/>
          <p:cNvSpPr/>
          <p:nvPr/>
        </p:nvSpPr>
        <p:spPr bwMode="auto">
          <a:xfrm>
            <a:off x="1030934" y="3586626"/>
            <a:ext cx="2185620" cy="372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kern="0" dirty="0">
                <a:solidFill>
                  <a:srgbClr val="000000"/>
                </a:solidFill>
                <a:cs typeface="Segoe UI Light" panose="020B0502040204020203" pitchFamily="34" charset="0"/>
              </a:rPr>
              <a:t>Organizational content packs</a:t>
            </a:r>
            <a:br>
              <a:rPr lang="en-US" sz="1224" kern="0" dirty="0">
                <a:solidFill>
                  <a:srgbClr val="000000"/>
                </a:solidFill>
                <a:cs typeface="Segoe UI Light" panose="020B0502040204020203" pitchFamily="34" charset="0"/>
              </a:rPr>
            </a:br>
            <a:r>
              <a:rPr lang="en-US" sz="918" i="1" kern="0" dirty="0">
                <a:solidFill>
                  <a:srgbClr val="000000"/>
                </a:solidFill>
                <a:cs typeface="Segoe UI Light" panose="020B0502040204020203" pitchFamily="34" charset="0"/>
              </a:rPr>
              <a:t>Corporate data sources or external data services</a:t>
            </a:r>
          </a:p>
        </p:txBody>
      </p:sp>
      <p:sp>
        <p:nvSpPr>
          <p:cNvPr id="113" name="Oval 1076"/>
          <p:cNvSpPr/>
          <p:nvPr/>
        </p:nvSpPr>
        <p:spPr bwMode="auto">
          <a:xfrm>
            <a:off x="658822" y="3586626"/>
            <a:ext cx="372988" cy="372988"/>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GB" sz="2448"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4" name="Group 113"/>
          <p:cNvGrpSpPr/>
          <p:nvPr/>
        </p:nvGrpSpPr>
        <p:grpSpPr>
          <a:xfrm>
            <a:off x="735555" y="3676643"/>
            <a:ext cx="219524" cy="192957"/>
            <a:chOff x="681704" y="2920140"/>
            <a:chExt cx="321649" cy="282723"/>
          </a:xfrm>
          <a:solidFill>
            <a:schemeClr val="tx1"/>
          </a:solidFill>
        </p:grpSpPr>
        <p:sp>
          <p:nvSpPr>
            <p:cNvPr id="115" name="Freeform 34"/>
            <p:cNvSpPr>
              <a:spLocks/>
            </p:cNvSpPr>
            <p:nvPr/>
          </p:nvSpPr>
          <p:spPr bwMode="auto">
            <a:xfrm>
              <a:off x="681704" y="2920140"/>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kern="0">
                <a:solidFill>
                  <a:srgbClr val="000000"/>
                </a:solidFill>
              </a:endParaRPr>
            </a:p>
          </p:txBody>
        </p:sp>
        <p:sp>
          <p:nvSpPr>
            <p:cNvPr id="116" name="Freeform 35"/>
            <p:cNvSpPr>
              <a:spLocks noEditPoints="1"/>
            </p:cNvSpPr>
            <p:nvPr/>
          </p:nvSpPr>
          <p:spPr bwMode="auto">
            <a:xfrm>
              <a:off x="760426" y="2959065"/>
              <a:ext cx="242927" cy="243798"/>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kern="0">
                <a:solidFill>
                  <a:srgbClr val="000000"/>
                </a:solidFill>
              </a:endParaRPr>
            </a:p>
          </p:txBody>
        </p:sp>
      </p:grpSp>
      <p:cxnSp>
        <p:nvCxnSpPr>
          <p:cNvPr id="118" name="Straight Connector 117"/>
          <p:cNvCxnSpPr/>
          <p:nvPr/>
        </p:nvCxnSpPr>
        <p:spPr>
          <a:xfrm>
            <a:off x="1021322" y="4574602"/>
            <a:ext cx="192885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20" name="Rectangle 1081"/>
          <p:cNvSpPr/>
          <p:nvPr/>
        </p:nvSpPr>
        <p:spPr bwMode="auto">
          <a:xfrm>
            <a:off x="1021322" y="4130551"/>
            <a:ext cx="2021700" cy="372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kern="0" dirty="0">
                <a:solidFill>
                  <a:srgbClr val="000000"/>
                </a:solidFill>
                <a:cs typeface="Segoe UI Light" panose="020B0502040204020203" pitchFamily="34" charset="0"/>
              </a:rPr>
              <a:t>Azure services</a:t>
            </a:r>
          </a:p>
          <a:p>
            <a:pPr defTabSz="932384">
              <a:spcAft>
                <a:spcPts val="612"/>
              </a:spcAft>
            </a:pPr>
            <a:r>
              <a:rPr lang="en-US" sz="918" i="1" kern="0" dirty="0">
                <a:solidFill>
                  <a:srgbClr val="000000"/>
                </a:solidFill>
                <a:cs typeface="Segoe UI Light" panose="020B0502040204020203" pitchFamily="34" charset="0"/>
              </a:rPr>
              <a:t>Azure SQL, Stream Analytics…</a:t>
            </a:r>
          </a:p>
        </p:txBody>
      </p:sp>
      <p:sp>
        <p:nvSpPr>
          <p:cNvPr id="122" name="Oval 1083"/>
          <p:cNvSpPr/>
          <p:nvPr/>
        </p:nvSpPr>
        <p:spPr bwMode="auto">
          <a:xfrm>
            <a:off x="658822" y="4111125"/>
            <a:ext cx="372988" cy="372988"/>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GB" sz="2448"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23" name="Group 379"/>
          <p:cNvGrpSpPr/>
          <p:nvPr/>
        </p:nvGrpSpPr>
        <p:grpSpPr>
          <a:xfrm>
            <a:off x="726330" y="4234213"/>
            <a:ext cx="237971" cy="165665"/>
            <a:chOff x="3543365" y="7242811"/>
            <a:chExt cx="1238250" cy="862013"/>
          </a:xfrm>
          <a:solidFill>
            <a:schemeClr val="tx1"/>
          </a:solidFill>
        </p:grpSpPr>
        <p:sp>
          <p:nvSpPr>
            <p:cNvPr id="124" name="Freeform 127"/>
            <p:cNvSpPr>
              <a:spLocks/>
            </p:cNvSpPr>
            <p:nvPr/>
          </p:nvSpPr>
          <p:spPr bwMode="auto">
            <a:xfrm>
              <a:off x="3617978" y="7911149"/>
              <a:ext cx="231775" cy="193675"/>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kern="0">
                <a:solidFill>
                  <a:srgbClr val="000000"/>
                </a:solidFill>
              </a:endParaRPr>
            </a:p>
          </p:txBody>
        </p:sp>
        <p:sp>
          <p:nvSpPr>
            <p:cNvPr id="125" name="Freeform 128"/>
            <p:cNvSpPr>
              <a:spLocks/>
            </p:cNvSpPr>
            <p:nvPr/>
          </p:nvSpPr>
          <p:spPr bwMode="auto">
            <a:xfrm>
              <a:off x="3617978" y="7688899"/>
              <a:ext cx="231775" cy="192088"/>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kern="0">
                <a:solidFill>
                  <a:srgbClr val="000000"/>
                </a:solidFill>
              </a:endParaRPr>
            </a:p>
          </p:txBody>
        </p:sp>
        <p:sp>
          <p:nvSpPr>
            <p:cNvPr id="126" name="Rectangle 129"/>
            <p:cNvSpPr>
              <a:spLocks noChangeArrowheads="1"/>
            </p:cNvSpPr>
            <p:nvPr/>
          </p:nvSpPr>
          <p:spPr bwMode="auto">
            <a:xfrm>
              <a:off x="3617978" y="74666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kern="0">
                <a:solidFill>
                  <a:srgbClr val="000000"/>
                </a:solidFill>
              </a:endParaRPr>
            </a:p>
          </p:txBody>
        </p:sp>
        <p:sp>
          <p:nvSpPr>
            <p:cNvPr id="127" name="Rectangle 130"/>
            <p:cNvSpPr>
              <a:spLocks noChangeArrowheads="1"/>
            </p:cNvSpPr>
            <p:nvPr/>
          </p:nvSpPr>
          <p:spPr bwMode="auto">
            <a:xfrm>
              <a:off x="3617978" y="7242811"/>
              <a:ext cx="231775" cy="1952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kern="0">
                <a:solidFill>
                  <a:srgbClr val="000000"/>
                </a:solidFill>
              </a:endParaRPr>
            </a:p>
          </p:txBody>
        </p:sp>
        <p:sp>
          <p:nvSpPr>
            <p:cNvPr id="128" name="Freeform 131"/>
            <p:cNvSpPr>
              <a:spLocks/>
            </p:cNvSpPr>
            <p:nvPr/>
          </p:nvSpPr>
          <p:spPr bwMode="auto">
            <a:xfrm>
              <a:off x="3895790" y="7911149"/>
              <a:ext cx="230188" cy="193675"/>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kern="0">
                <a:solidFill>
                  <a:srgbClr val="000000"/>
                </a:solidFill>
              </a:endParaRPr>
            </a:p>
          </p:txBody>
        </p:sp>
        <p:sp>
          <p:nvSpPr>
            <p:cNvPr id="129" name="Freeform 132"/>
            <p:cNvSpPr>
              <a:spLocks/>
            </p:cNvSpPr>
            <p:nvPr/>
          </p:nvSpPr>
          <p:spPr bwMode="auto">
            <a:xfrm>
              <a:off x="4125978" y="7688899"/>
              <a:ext cx="0" cy="6350"/>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kern="0">
                <a:solidFill>
                  <a:srgbClr val="000000"/>
                </a:solidFill>
              </a:endParaRPr>
            </a:p>
          </p:txBody>
        </p:sp>
        <p:sp>
          <p:nvSpPr>
            <p:cNvPr id="130" name="Freeform 133"/>
            <p:cNvSpPr>
              <a:spLocks/>
            </p:cNvSpPr>
            <p:nvPr/>
          </p:nvSpPr>
          <p:spPr bwMode="auto">
            <a:xfrm>
              <a:off x="3895790" y="7812724"/>
              <a:ext cx="219075" cy="69850"/>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kern="0">
                <a:solidFill>
                  <a:srgbClr val="000000"/>
                </a:solidFill>
              </a:endParaRPr>
            </a:p>
          </p:txBody>
        </p:sp>
        <p:sp>
          <p:nvSpPr>
            <p:cNvPr id="131" name="Freeform 134"/>
            <p:cNvSpPr>
              <a:spLocks/>
            </p:cNvSpPr>
            <p:nvPr/>
          </p:nvSpPr>
          <p:spPr bwMode="auto">
            <a:xfrm>
              <a:off x="3895790" y="7466649"/>
              <a:ext cx="230188" cy="193675"/>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kern="0">
                <a:solidFill>
                  <a:srgbClr val="000000"/>
                </a:solidFill>
              </a:endParaRPr>
            </a:p>
          </p:txBody>
        </p:sp>
        <p:sp>
          <p:nvSpPr>
            <p:cNvPr id="132" name="Freeform 135"/>
            <p:cNvSpPr>
              <a:spLocks/>
            </p:cNvSpPr>
            <p:nvPr/>
          </p:nvSpPr>
          <p:spPr bwMode="auto">
            <a:xfrm>
              <a:off x="4173603" y="7911149"/>
              <a:ext cx="230188" cy="193675"/>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kern="0">
                <a:solidFill>
                  <a:srgbClr val="000000"/>
                </a:solidFill>
              </a:endParaRPr>
            </a:p>
          </p:txBody>
        </p:sp>
        <p:sp>
          <p:nvSpPr>
            <p:cNvPr id="133" name="Freeform 136"/>
            <p:cNvSpPr>
              <a:spLocks/>
            </p:cNvSpPr>
            <p:nvPr/>
          </p:nvSpPr>
          <p:spPr bwMode="auto">
            <a:xfrm>
              <a:off x="4173603" y="7688899"/>
              <a:ext cx="168275" cy="63500"/>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kern="0">
                <a:solidFill>
                  <a:srgbClr val="000000"/>
                </a:solidFill>
              </a:endParaRPr>
            </a:p>
          </p:txBody>
        </p:sp>
        <p:sp>
          <p:nvSpPr>
            <p:cNvPr id="134" name="Freeform 137"/>
            <p:cNvSpPr>
              <a:spLocks/>
            </p:cNvSpPr>
            <p:nvPr/>
          </p:nvSpPr>
          <p:spPr bwMode="auto">
            <a:xfrm>
              <a:off x="4338703" y="7809549"/>
              <a:ext cx="65088" cy="73025"/>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kern="0">
                <a:solidFill>
                  <a:srgbClr val="000000"/>
                </a:solidFill>
              </a:endParaRPr>
            </a:p>
          </p:txBody>
        </p:sp>
        <p:sp>
          <p:nvSpPr>
            <p:cNvPr id="135" name="Rectangle 138"/>
            <p:cNvSpPr>
              <a:spLocks noChangeArrowheads="1"/>
            </p:cNvSpPr>
            <p:nvPr/>
          </p:nvSpPr>
          <p:spPr bwMode="auto">
            <a:xfrm>
              <a:off x="4449828" y="79111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kern="0">
                <a:solidFill>
                  <a:srgbClr val="000000"/>
                </a:solidFill>
              </a:endParaRPr>
            </a:p>
          </p:txBody>
        </p:sp>
        <p:sp>
          <p:nvSpPr>
            <p:cNvPr id="136" name="Freeform 139"/>
            <p:cNvSpPr>
              <a:spLocks/>
            </p:cNvSpPr>
            <p:nvPr/>
          </p:nvSpPr>
          <p:spPr bwMode="auto">
            <a:xfrm>
              <a:off x="4449828" y="7688899"/>
              <a:ext cx="231775" cy="193675"/>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kern="0">
                <a:solidFill>
                  <a:srgbClr val="000000"/>
                </a:solidFill>
              </a:endParaRPr>
            </a:p>
          </p:txBody>
        </p:sp>
        <p:sp>
          <p:nvSpPr>
            <p:cNvPr id="137" name="Freeform 140"/>
            <p:cNvSpPr>
              <a:spLocks/>
            </p:cNvSpPr>
            <p:nvPr/>
          </p:nvSpPr>
          <p:spPr bwMode="auto">
            <a:xfrm>
              <a:off x="4600640" y="7622224"/>
              <a:ext cx="80963" cy="38100"/>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kern="0">
                <a:solidFill>
                  <a:srgbClr val="000000"/>
                </a:solidFill>
              </a:endParaRPr>
            </a:p>
          </p:txBody>
        </p:sp>
        <p:sp>
          <p:nvSpPr>
            <p:cNvPr id="138" name="Freeform 141"/>
            <p:cNvSpPr>
              <a:spLocks/>
            </p:cNvSpPr>
            <p:nvPr/>
          </p:nvSpPr>
          <p:spPr bwMode="auto">
            <a:xfrm>
              <a:off x="4449828" y="7466649"/>
              <a:ext cx="119063" cy="139700"/>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kern="0">
                <a:solidFill>
                  <a:srgbClr val="000000"/>
                </a:solidFill>
              </a:endParaRPr>
            </a:p>
          </p:txBody>
        </p:sp>
        <p:sp>
          <p:nvSpPr>
            <p:cNvPr id="139" name="Freeform 142"/>
            <p:cNvSpPr>
              <a:spLocks noEditPoints="1"/>
            </p:cNvSpPr>
            <p:nvPr/>
          </p:nvSpPr>
          <p:spPr bwMode="auto">
            <a:xfrm>
              <a:off x="3543365" y="7438074"/>
              <a:ext cx="1238250" cy="590550"/>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kern="0">
                <a:solidFill>
                  <a:srgbClr val="000000"/>
                </a:solidFill>
              </a:endParaRPr>
            </a:p>
          </p:txBody>
        </p:sp>
      </p:grpSp>
      <p:sp>
        <p:nvSpPr>
          <p:cNvPr id="141" name="Rectangle 160"/>
          <p:cNvSpPr/>
          <p:nvPr/>
        </p:nvSpPr>
        <p:spPr bwMode="auto">
          <a:xfrm>
            <a:off x="1021322" y="4620379"/>
            <a:ext cx="2021700" cy="372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IN" sz="1224" kern="0" dirty="0">
                <a:solidFill>
                  <a:srgbClr val="000000"/>
                </a:solidFill>
                <a:cs typeface="Segoe UI Light" panose="020B0502040204020203" pitchFamily="34" charset="0"/>
              </a:rPr>
              <a:t>Excel files</a:t>
            </a:r>
          </a:p>
          <a:p>
            <a:pPr defTabSz="932384"/>
            <a:r>
              <a:rPr lang="en-IN" sz="918" i="1" kern="0" dirty="0">
                <a:solidFill>
                  <a:srgbClr val="000000"/>
                </a:solidFill>
                <a:cs typeface="Segoe UI Light" panose="020B0502040204020203" pitchFamily="34" charset="0"/>
              </a:rPr>
              <a:t>Workbook data / data models</a:t>
            </a:r>
          </a:p>
        </p:txBody>
      </p:sp>
      <p:sp>
        <p:nvSpPr>
          <p:cNvPr id="143" name="Oval 162"/>
          <p:cNvSpPr/>
          <p:nvPr/>
        </p:nvSpPr>
        <p:spPr bwMode="auto">
          <a:xfrm>
            <a:off x="658822" y="4620379"/>
            <a:ext cx="372988" cy="372988"/>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GB" sz="2448" kern="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45" name="Straight Connector 144"/>
          <p:cNvCxnSpPr/>
          <p:nvPr/>
        </p:nvCxnSpPr>
        <p:spPr>
          <a:xfrm>
            <a:off x="996226" y="5060435"/>
            <a:ext cx="192885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49" name="Oval 162"/>
          <p:cNvSpPr/>
          <p:nvPr/>
        </p:nvSpPr>
        <p:spPr bwMode="auto">
          <a:xfrm>
            <a:off x="658822" y="5138981"/>
            <a:ext cx="372988" cy="372988"/>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GB"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8" name="Rectangle 160"/>
          <p:cNvSpPr/>
          <p:nvPr/>
        </p:nvSpPr>
        <p:spPr bwMode="auto">
          <a:xfrm>
            <a:off x="1021322" y="5138981"/>
            <a:ext cx="2021700" cy="372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IN" sz="1224" kern="0" dirty="0">
                <a:solidFill>
                  <a:srgbClr val="000000"/>
                </a:solidFill>
                <a:cs typeface="Segoe UI Light" panose="020B0502040204020203" pitchFamily="34" charset="0"/>
              </a:rPr>
              <a:t>Power BI Desktop files</a:t>
            </a:r>
          </a:p>
          <a:p>
            <a:pPr defTabSz="932384"/>
            <a:r>
              <a:rPr lang="en-IN" sz="918" i="1" kern="0" dirty="0">
                <a:solidFill>
                  <a:srgbClr val="000000"/>
                </a:solidFill>
                <a:cs typeface="Segoe UI Light" panose="020B0502040204020203" pitchFamily="34" charset="0"/>
              </a:rPr>
              <a:t>Data from files, databases, Azure, and other sources</a:t>
            </a:r>
          </a:p>
        </p:txBody>
      </p:sp>
      <p:pic>
        <p:nvPicPr>
          <p:cNvPr id="206" name="Picture 205"/>
          <p:cNvPicPr>
            <a:picLocks noChangeAspect="1"/>
          </p:cNvPicPr>
          <p:nvPr/>
        </p:nvPicPr>
        <p:blipFill>
          <a:blip r:embed="rId3" cstate="screen">
            <a:biLevel thresh="75000"/>
            <a:extLst>
              <a:ext uri="{28A0092B-C50C-407E-A947-70E740481C1C}">
                <a14:useLocalDpi xmlns:a14="http://schemas.microsoft.com/office/drawing/2010/main" val="0"/>
              </a:ext>
            </a:extLst>
          </a:blip>
          <a:stretch>
            <a:fillRect/>
          </a:stretch>
        </p:blipFill>
        <p:spPr>
          <a:xfrm>
            <a:off x="726331" y="4690998"/>
            <a:ext cx="244891" cy="244891"/>
          </a:xfrm>
          <a:prstGeom prst="rect">
            <a:avLst/>
          </a:prstGeom>
          <a:solidFill>
            <a:srgbClr val="EDC30D"/>
          </a:solidFill>
        </p:spPr>
      </p:pic>
      <p:pic>
        <p:nvPicPr>
          <p:cNvPr id="208" name="Picture 207"/>
          <p:cNvPicPr>
            <a:picLocks noChangeAspect="1"/>
          </p:cNvPicPr>
          <p:nvPr/>
        </p:nvPicPr>
        <p:blipFill rotWithShape="1">
          <a:blip r:embed="rId4"/>
          <a:srcRect l="6503" t="21287" r="74698" b="20220"/>
          <a:stretch/>
        </p:blipFill>
        <p:spPr>
          <a:xfrm>
            <a:off x="740306" y="5205929"/>
            <a:ext cx="233118" cy="236546"/>
          </a:xfrm>
          <a:prstGeom prst="rect">
            <a:avLst/>
          </a:prstGeom>
        </p:spPr>
      </p:pic>
      <p:grpSp>
        <p:nvGrpSpPr>
          <p:cNvPr id="21" name="Group 20"/>
          <p:cNvGrpSpPr/>
          <p:nvPr/>
        </p:nvGrpSpPr>
        <p:grpSpPr>
          <a:xfrm>
            <a:off x="4444662" y="5740769"/>
            <a:ext cx="1382416" cy="279741"/>
            <a:chOff x="4306193" y="5441922"/>
            <a:chExt cx="1355626" cy="274320"/>
          </a:xfrm>
        </p:grpSpPr>
        <p:sp>
          <p:nvSpPr>
            <p:cNvPr id="173" name="TextBox 293"/>
            <p:cNvSpPr txBox="1"/>
            <p:nvPr/>
          </p:nvSpPr>
          <p:spPr>
            <a:xfrm>
              <a:off x="4675832" y="5470400"/>
              <a:ext cx="985987" cy="219771"/>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kern="0" dirty="0">
                  <a:solidFill>
                    <a:srgbClr val="000000"/>
                  </a:solidFill>
                  <a:ea typeface="Segoe UI" pitchFamily="34" charset="0"/>
                  <a:cs typeface="Segoe UI" pitchFamily="34" charset="0"/>
                </a:rPr>
                <a:t>Data refresh</a:t>
              </a:r>
            </a:p>
          </p:txBody>
        </p:sp>
        <p:sp>
          <p:nvSpPr>
            <p:cNvPr id="174" name="Freeform 122"/>
            <p:cNvSpPr>
              <a:spLocks/>
            </p:cNvSpPr>
            <p:nvPr/>
          </p:nvSpPr>
          <p:spPr bwMode="black">
            <a:xfrm>
              <a:off x="4306193" y="5441922"/>
              <a:ext cx="274320" cy="27432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rgbClr val="EDC30D"/>
            </a:solidFill>
            <a:ln>
              <a:noFill/>
            </a:ln>
            <a:extLst/>
          </p:spPr>
          <p:txBody>
            <a:bodyPr vert="horz" wrap="square" lIns="93247" tIns="46623" rIns="93247" bIns="46623" numCol="1" anchor="t" anchorCtr="0" compatLnSpc="1">
              <a:prstTxWarp prst="textNoShape">
                <a:avLst/>
              </a:prstTxWarp>
            </a:bodyPr>
            <a:lstStyle/>
            <a:p>
              <a:pPr defTabSz="932418"/>
              <a:endParaRPr lang="en-US" sz="1632" kern="0">
                <a:solidFill>
                  <a:srgbClr val="000000"/>
                </a:solidFill>
              </a:endParaRPr>
            </a:p>
          </p:txBody>
        </p:sp>
      </p:grpSp>
      <p:grpSp>
        <p:nvGrpSpPr>
          <p:cNvPr id="18" name="Group 17"/>
          <p:cNvGrpSpPr/>
          <p:nvPr/>
        </p:nvGrpSpPr>
        <p:grpSpPr>
          <a:xfrm>
            <a:off x="4393062" y="3863373"/>
            <a:ext cx="1493592" cy="273914"/>
            <a:chOff x="4306193" y="3788016"/>
            <a:chExt cx="1464646" cy="268606"/>
          </a:xfrm>
        </p:grpSpPr>
        <p:sp>
          <p:nvSpPr>
            <p:cNvPr id="176" name="TextBox 293"/>
            <p:cNvSpPr txBox="1"/>
            <p:nvPr/>
          </p:nvSpPr>
          <p:spPr>
            <a:xfrm>
              <a:off x="4675832" y="3816494"/>
              <a:ext cx="1095007" cy="219771"/>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kern="0" dirty="0">
                  <a:solidFill>
                    <a:srgbClr val="000000"/>
                  </a:solidFill>
                  <a:ea typeface="Segoe UI" pitchFamily="34" charset="0"/>
                  <a:cs typeface="Segoe UI" pitchFamily="34" charset="0"/>
                </a:rPr>
                <a:t>Visualizations</a:t>
              </a:r>
              <a:endParaRPr lang="en-US" sz="1224" kern="0" dirty="0">
                <a:solidFill>
                  <a:srgbClr val="000000"/>
                </a:solidFill>
                <a:ea typeface="Segoe UI" pitchFamily="34" charset="0"/>
                <a:cs typeface="Segoe UI" pitchFamily="34" charset="0"/>
              </a:endParaRPr>
            </a:p>
          </p:txBody>
        </p:sp>
        <p:sp>
          <p:nvSpPr>
            <p:cNvPr id="177" name="Freeform 176"/>
            <p:cNvSpPr>
              <a:spLocks noChangeAspect="1"/>
            </p:cNvSpPr>
            <p:nvPr/>
          </p:nvSpPr>
          <p:spPr bwMode="black">
            <a:xfrm>
              <a:off x="4306193" y="3788016"/>
              <a:ext cx="274320" cy="268606"/>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58" tIns="111887" rIns="139858" bIns="111887" numCol="1" spcCol="0" rtlCol="0" fromWordArt="0" anchor="t" anchorCtr="0" forceAA="0" compatLnSpc="1">
              <a:prstTxWarp prst="textNoShape">
                <a:avLst/>
              </a:prstTxWarp>
              <a:noAutofit/>
            </a:bodyPr>
            <a:lstStyle/>
            <a:p>
              <a:pPr algn="ctr" defTabSz="713039" fontAlgn="base">
                <a:lnSpc>
                  <a:spcPct val="90000"/>
                </a:lnSpc>
                <a:spcBef>
                  <a:spcPct val="0"/>
                </a:spcBef>
                <a:spcAft>
                  <a:spcPct val="0"/>
                </a:spcAft>
              </a:pPr>
              <a:endParaRPr lang="en-US" sz="1836" kern="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7" name="Group 16"/>
          <p:cNvGrpSpPr/>
          <p:nvPr/>
        </p:nvGrpSpPr>
        <p:grpSpPr>
          <a:xfrm>
            <a:off x="4392450" y="3301177"/>
            <a:ext cx="1706739" cy="279741"/>
            <a:chOff x="4305597" y="3236714"/>
            <a:chExt cx="1673662" cy="274320"/>
          </a:xfrm>
        </p:grpSpPr>
        <p:sp>
          <p:nvSpPr>
            <p:cNvPr id="219" name="TextBox 293"/>
            <p:cNvSpPr txBox="1"/>
            <p:nvPr/>
          </p:nvSpPr>
          <p:spPr>
            <a:xfrm>
              <a:off x="4675832" y="3266607"/>
              <a:ext cx="1303427" cy="219771"/>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kern="0" dirty="0">
                  <a:solidFill>
                    <a:srgbClr val="000000"/>
                  </a:solidFill>
                  <a:ea typeface="Segoe UI" pitchFamily="34" charset="0"/>
                  <a:cs typeface="Segoe UI" pitchFamily="34" charset="0"/>
                </a:rPr>
                <a:t>Live dashboards</a:t>
              </a:r>
            </a:p>
          </p:txBody>
        </p:sp>
        <p:sp>
          <p:nvSpPr>
            <p:cNvPr id="220" name="Freeform 5"/>
            <p:cNvSpPr>
              <a:spLocks noChangeAspect="1" noEditPoints="1"/>
            </p:cNvSpPr>
            <p:nvPr/>
          </p:nvSpPr>
          <p:spPr bwMode="black">
            <a:xfrm>
              <a:off x="4305597" y="3236714"/>
              <a:ext cx="275513" cy="274320"/>
            </a:xfrm>
            <a:custGeom>
              <a:avLst/>
              <a:gdLst>
                <a:gd name="T0" fmla="*/ 402 w 1088"/>
                <a:gd name="T1" fmla="*/ 588 h 1090"/>
                <a:gd name="T2" fmla="*/ 502 w 1088"/>
                <a:gd name="T3" fmla="*/ 688 h 1090"/>
                <a:gd name="T4" fmla="*/ 502 w 1088"/>
                <a:gd name="T5" fmla="*/ 989 h 1090"/>
                <a:gd name="T6" fmla="*/ 402 w 1088"/>
                <a:gd name="T7" fmla="*/ 1090 h 1090"/>
                <a:gd name="T8" fmla="*/ 100 w 1088"/>
                <a:gd name="T9" fmla="*/ 1090 h 1090"/>
                <a:gd name="T10" fmla="*/ 0 w 1088"/>
                <a:gd name="T11" fmla="*/ 989 h 1090"/>
                <a:gd name="T12" fmla="*/ 0 w 1088"/>
                <a:gd name="T13" fmla="*/ 688 h 1090"/>
                <a:gd name="T14" fmla="*/ 100 w 1088"/>
                <a:gd name="T15" fmla="*/ 588 h 1090"/>
                <a:gd name="T16" fmla="*/ 402 w 1088"/>
                <a:gd name="T17" fmla="*/ 588 h 1090"/>
                <a:gd name="T18" fmla="*/ 402 w 1088"/>
                <a:gd name="T19" fmla="*/ 588 h 1090"/>
                <a:gd name="T20" fmla="*/ 402 w 1088"/>
                <a:gd name="T21" fmla="*/ 2 h 1090"/>
                <a:gd name="T22" fmla="*/ 402 w 1088"/>
                <a:gd name="T23" fmla="*/ 2 h 1090"/>
                <a:gd name="T24" fmla="*/ 100 w 1088"/>
                <a:gd name="T25" fmla="*/ 2 h 1090"/>
                <a:gd name="T26" fmla="*/ 0 w 1088"/>
                <a:gd name="T27" fmla="*/ 103 h 1090"/>
                <a:gd name="T28" fmla="*/ 0 w 1088"/>
                <a:gd name="T29" fmla="*/ 403 h 1090"/>
                <a:gd name="T30" fmla="*/ 100 w 1088"/>
                <a:gd name="T31" fmla="*/ 504 h 1090"/>
                <a:gd name="T32" fmla="*/ 402 w 1088"/>
                <a:gd name="T33" fmla="*/ 504 h 1090"/>
                <a:gd name="T34" fmla="*/ 502 w 1088"/>
                <a:gd name="T35" fmla="*/ 403 h 1090"/>
                <a:gd name="T36" fmla="*/ 502 w 1088"/>
                <a:gd name="T37" fmla="*/ 103 h 1090"/>
                <a:gd name="T38" fmla="*/ 402 w 1088"/>
                <a:gd name="T39" fmla="*/ 2 h 1090"/>
                <a:gd name="T40" fmla="*/ 966 w 1088"/>
                <a:gd name="T41" fmla="*/ 0 h 1090"/>
                <a:gd name="T42" fmla="*/ 1088 w 1088"/>
                <a:gd name="T43" fmla="*/ 121 h 1090"/>
                <a:gd name="T44" fmla="*/ 1088 w 1088"/>
                <a:gd name="T45" fmla="*/ 383 h 1090"/>
                <a:gd name="T46" fmla="*/ 966 w 1088"/>
                <a:gd name="T47" fmla="*/ 504 h 1090"/>
                <a:gd name="T48" fmla="*/ 704 w 1088"/>
                <a:gd name="T49" fmla="*/ 504 h 1090"/>
                <a:gd name="T50" fmla="*/ 583 w 1088"/>
                <a:gd name="T51" fmla="*/ 383 h 1090"/>
                <a:gd name="T52" fmla="*/ 583 w 1088"/>
                <a:gd name="T53" fmla="*/ 121 h 1090"/>
                <a:gd name="T54" fmla="*/ 704 w 1088"/>
                <a:gd name="T55" fmla="*/ 0 h 1090"/>
                <a:gd name="T56" fmla="*/ 966 w 1088"/>
                <a:gd name="T57" fmla="*/ 0 h 1090"/>
                <a:gd name="T58" fmla="*/ 1020 w 1088"/>
                <a:gd name="T59" fmla="*/ 383 h 1090"/>
                <a:gd name="T60" fmla="*/ 1020 w 1088"/>
                <a:gd name="T61" fmla="*/ 383 h 1090"/>
                <a:gd name="T62" fmla="*/ 1020 w 1088"/>
                <a:gd name="T63" fmla="*/ 121 h 1090"/>
                <a:gd name="T64" fmla="*/ 966 w 1088"/>
                <a:gd name="T65" fmla="*/ 67 h 1090"/>
                <a:gd name="T66" fmla="*/ 704 w 1088"/>
                <a:gd name="T67" fmla="*/ 67 h 1090"/>
                <a:gd name="T68" fmla="*/ 650 w 1088"/>
                <a:gd name="T69" fmla="*/ 121 h 1090"/>
                <a:gd name="T70" fmla="*/ 650 w 1088"/>
                <a:gd name="T71" fmla="*/ 383 h 1090"/>
                <a:gd name="T72" fmla="*/ 704 w 1088"/>
                <a:gd name="T73" fmla="*/ 437 h 1090"/>
                <a:gd name="T74" fmla="*/ 966 w 1088"/>
                <a:gd name="T75" fmla="*/ 437 h 1090"/>
                <a:gd name="T76" fmla="*/ 1020 w 1088"/>
                <a:gd name="T77" fmla="*/ 383 h 1090"/>
                <a:gd name="T78" fmla="*/ 584 w 1088"/>
                <a:gd name="T79" fmla="*/ 688 h 1090"/>
                <a:gd name="T80" fmla="*/ 584 w 1088"/>
                <a:gd name="T81" fmla="*/ 688 h 1090"/>
                <a:gd name="T82" fmla="*/ 584 w 1088"/>
                <a:gd name="T83" fmla="*/ 989 h 1090"/>
                <a:gd name="T84" fmla="*/ 686 w 1088"/>
                <a:gd name="T85" fmla="*/ 1090 h 1090"/>
                <a:gd name="T86" fmla="*/ 987 w 1088"/>
                <a:gd name="T87" fmla="*/ 1090 h 1090"/>
                <a:gd name="T88" fmla="*/ 1088 w 1088"/>
                <a:gd name="T89" fmla="*/ 989 h 1090"/>
                <a:gd name="T90" fmla="*/ 1088 w 1088"/>
                <a:gd name="T91" fmla="*/ 688 h 1090"/>
                <a:gd name="T92" fmla="*/ 987 w 1088"/>
                <a:gd name="T93" fmla="*/ 588 h 1090"/>
                <a:gd name="T94" fmla="*/ 686 w 1088"/>
                <a:gd name="T95" fmla="*/ 588 h 1090"/>
                <a:gd name="T96" fmla="*/ 584 w 1088"/>
                <a:gd name="T97" fmla="*/ 688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8" h="1090">
                  <a:moveTo>
                    <a:pt x="402" y="588"/>
                  </a:moveTo>
                  <a:cubicBezTo>
                    <a:pt x="469" y="588"/>
                    <a:pt x="502" y="621"/>
                    <a:pt x="502" y="688"/>
                  </a:cubicBezTo>
                  <a:cubicBezTo>
                    <a:pt x="502" y="989"/>
                    <a:pt x="502" y="989"/>
                    <a:pt x="502" y="989"/>
                  </a:cubicBezTo>
                  <a:cubicBezTo>
                    <a:pt x="502" y="1056"/>
                    <a:pt x="469" y="1090"/>
                    <a:pt x="402" y="1090"/>
                  </a:cubicBezTo>
                  <a:cubicBezTo>
                    <a:pt x="100" y="1090"/>
                    <a:pt x="100" y="1090"/>
                    <a:pt x="100" y="1090"/>
                  </a:cubicBezTo>
                  <a:cubicBezTo>
                    <a:pt x="33" y="1090"/>
                    <a:pt x="0" y="1056"/>
                    <a:pt x="0" y="989"/>
                  </a:cubicBezTo>
                  <a:cubicBezTo>
                    <a:pt x="0" y="688"/>
                    <a:pt x="0" y="688"/>
                    <a:pt x="0" y="688"/>
                  </a:cubicBezTo>
                  <a:cubicBezTo>
                    <a:pt x="0" y="621"/>
                    <a:pt x="33" y="588"/>
                    <a:pt x="100" y="588"/>
                  </a:cubicBezTo>
                  <a:cubicBezTo>
                    <a:pt x="402" y="588"/>
                    <a:pt x="402" y="588"/>
                    <a:pt x="402" y="588"/>
                  </a:cubicBezTo>
                  <a:cubicBezTo>
                    <a:pt x="402" y="588"/>
                    <a:pt x="402" y="588"/>
                    <a:pt x="402" y="588"/>
                  </a:cubicBezTo>
                  <a:close/>
                  <a:moveTo>
                    <a:pt x="402" y="2"/>
                  </a:moveTo>
                  <a:cubicBezTo>
                    <a:pt x="402" y="2"/>
                    <a:pt x="402" y="2"/>
                    <a:pt x="402" y="2"/>
                  </a:cubicBezTo>
                  <a:cubicBezTo>
                    <a:pt x="100" y="2"/>
                    <a:pt x="100" y="2"/>
                    <a:pt x="100" y="2"/>
                  </a:cubicBezTo>
                  <a:cubicBezTo>
                    <a:pt x="33" y="2"/>
                    <a:pt x="0" y="36"/>
                    <a:pt x="0" y="103"/>
                  </a:cubicBezTo>
                  <a:cubicBezTo>
                    <a:pt x="0" y="103"/>
                    <a:pt x="0" y="103"/>
                    <a:pt x="0" y="403"/>
                  </a:cubicBezTo>
                  <a:cubicBezTo>
                    <a:pt x="0" y="471"/>
                    <a:pt x="33" y="504"/>
                    <a:pt x="100" y="504"/>
                  </a:cubicBezTo>
                  <a:cubicBezTo>
                    <a:pt x="100" y="504"/>
                    <a:pt x="100" y="504"/>
                    <a:pt x="402" y="504"/>
                  </a:cubicBezTo>
                  <a:cubicBezTo>
                    <a:pt x="469" y="504"/>
                    <a:pt x="502" y="471"/>
                    <a:pt x="502" y="403"/>
                  </a:cubicBezTo>
                  <a:cubicBezTo>
                    <a:pt x="502" y="403"/>
                    <a:pt x="502" y="403"/>
                    <a:pt x="502" y="103"/>
                  </a:cubicBezTo>
                  <a:cubicBezTo>
                    <a:pt x="502" y="36"/>
                    <a:pt x="469" y="2"/>
                    <a:pt x="402" y="2"/>
                  </a:cubicBezTo>
                  <a:close/>
                  <a:moveTo>
                    <a:pt x="966" y="0"/>
                  </a:moveTo>
                  <a:cubicBezTo>
                    <a:pt x="1048" y="0"/>
                    <a:pt x="1088" y="40"/>
                    <a:pt x="1088" y="121"/>
                  </a:cubicBezTo>
                  <a:cubicBezTo>
                    <a:pt x="1088" y="121"/>
                    <a:pt x="1088" y="121"/>
                    <a:pt x="1088" y="383"/>
                  </a:cubicBezTo>
                  <a:cubicBezTo>
                    <a:pt x="1088" y="464"/>
                    <a:pt x="1048" y="504"/>
                    <a:pt x="966" y="504"/>
                  </a:cubicBezTo>
                  <a:cubicBezTo>
                    <a:pt x="966" y="504"/>
                    <a:pt x="966" y="504"/>
                    <a:pt x="704" y="504"/>
                  </a:cubicBezTo>
                  <a:cubicBezTo>
                    <a:pt x="623" y="504"/>
                    <a:pt x="583" y="464"/>
                    <a:pt x="583" y="383"/>
                  </a:cubicBezTo>
                  <a:cubicBezTo>
                    <a:pt x="583" y="383"/>
                    <a:pt x="583" y="383"/>
                    <a:pt x="583" y="121"/>
                  </a:cubicBezTo>
                  <a:cubicBezTo>
                    <a:pt x="583" y="40"/>
                    <a:pt x="623" y="0"/>
                    <a:pt x="704" y="0"/>
                  </a:cubicBezTo>
                  <a:cubicBezTo>
                    <a:pt x="704" y="0"/>
                    <a:pt x="704" y="0"/>
                    <a:pt x="966" y="0"/>
                  </a:cubicBezTo>
                  <a:close/>
                  <a:moveTo>
                    <a:pt x="1020" y="383"/>
                  </a:moveTo>
                  <a:cubicBezTo>
                    <a:pt x="1020" y="383"/>
                    <a:pt x="1020" y="383"/>
                    <a:pt x="1020" y="383"/>
                  </a:cubicBezTo>
                  <a:cubicBezTo>
                    <a:pt x="1020" y="121"/>
                    <a:pt x="1020" y="121"/>
                    <a:pt x="1020" y="121"/>
                  </a:cubicBezTo>
                  <a:cubicBezTo>
                    <a:pt x="1020" y="85"/>
                    <a:pt x="1002" y="67"/>
                    <a:pt x="966" y="67"/>
                  </a:cubicBezTo>
                  <a:cubicBezTo>
                    <a:pt x="966" y="67"/>
                    <a:pt x="966" y="67"/>
                    <a:pt x="704" y="67"/>
                  </a:cubicBezTo>
                  <a:cubicBezTo>
                    <a:pt x="668" y="67"/>
                    <a:pt x="650" y="85"/>
                    <a:pt x="650" y="121"/>
                  </a:cubicBezTo>
                  <a:cubicBezTo>
                    <a:pt x="650" y="121"/>
                    <a:pt x="650" y="121"/>
                    <a:pt x="650" y="383"/>
                  </a:cubicBezTo>
                  <a:cubicBezTo>
                    <a:pt x="650" y="419"/>
                    <a:pt x="668" y="437"/>
                    <a:pt x="704" y="437"/>
                  </a:cubicBezTo>
                  <a:cubicBezTo>
                    <a:pt x="704" y="437"/>
                    <a:pt x="704" y="437"/>
                    <a:pt x="966" y="437"/>
                  </a:cubicBezTo>
                  <a:cubicBezTo>
                    <a:pt x="1002" y="437"/>
                    <a:pt x="1020" y="419"/>
                    <a:pt x="1020" y="383"/>
                  </a:cubicBezTo>
                  <a:close/>
                  <a:moveTo>
                    <a:pt x="584" y="688"/>
                  </a:moveTo>
                  <a:cubicBezTo>
                    <a:pt x="584" y="688"/>
                    <a:pt x="584" y="688"/>
                    <a:pt x="584" y="688"/>
                  </a:cubicBezTo>
                  <a:cubicBezTo>
                    <a:pt x="584" y="989"/>
                    <a:pt x="584" y="989"/>
                    <a:pt x="584" y="989"/>
                  </a:cubicBezTo>
                  <a:cubicBezTo>
                    <a:pt x="584" y="1056"/>
                    <a:pt x="619" y="1090"/>
                    <a:pt x="686" y="1090"/>
                  </a:cubicBezTo>
                  <a:cubicBezTo>
                    <a:pt x="686" y="1090"/>
                    <a:pt x="686" y="1090"/>
                    <a:pt x="987" y="1090"/>
                  </a:cubicBezTo>
                  <a:cubicBezTo>
                    <a:pt x="1054" y="1090"/>
                    <a:pt x="1088" y="1056"/>
                    <a:pt x="1088" y="989"/>
                  </a:cubicBezTo>
                  <a:cubicBezTo>
                    <a:pt x="1088" y="989"/>
                    <a:pt x="1088" y="989"/>
                    <a:pt x="1088" y="688"/>
                  </a:cubicBezTo>
                  <a:cubicBezTo>
                    <a:pt x="1088" y="621"/>
                    <a:pt x="1054" y="588"/>
                    <a:pt x="987" y="588"/>
                  </a:cubicBezTo>
                  <a:cubicBezTo>
                    <a:pt x="987" y="588"/>
                    <a:pt x="987" y="588"/>
                    <a:pt x="686" y="588"/>
                  </a:cubicBezTo>
                  <a:cubicBezTo>
                    <a:pt x="619" y="588"/>
                    <a:pt x="584" y="621"/>
                    <a:pt x="584" y="688"/>
                  </a:cubicBezTo>
                  <a:close/>
                </a:path>
              </a:pathLst>
            </a:custGeom>
            <a:solidFill>
              <a:srgbClr val="EDC30D"/>
            </a:solidFill>
            <a:ln>
              <a:noFill/>
            </a:ln>
          </p:spPr>
          <p:txBody>
            <a:bodyPr vert="horz" wrap="square" lIns="69929" tIns="34965" rIns="69929" bIns="34965" numCol="1" anchor="t" anchorCtr="0" compatLnSpc="1">
              <a:prstTxWarp prst="textNoShape">
                <a:avLst/>
              </a:prstTxWarp>
            </a:bodyPr>
            <a:lstStyle/>
            <a:p>
              <a:pPr defTabSz="932418"/>
              <a:endParaRPr lang="en-US" sz="1377" kern="0" dirty="0">
                <a:solidFill>
                  <a:srgbClr val="000000"/>
                </a:solidFill>
              </a:endParaRPr>
            </a:p>
          </p:txBody>
        </p:sp>
      </p:grpSp>
      <p:grpSp>
        <p:nvGrpSpPr>
          <p:cNvPr id="16" name="Group 15"/>
          <p:cNvGrpSpPr/>
          <p:nvPr/>
        </p:nvGrpSpPr>
        <p:grpSpPr>
          <a:xfrm>
            <a:off x="4393060" y="2686941"/>
            <a:ext cx="1554083" cy="296148"/>
            <a:chOff x="4306193" y="2634382"/>
            <a:chExt cx="1523965" cy="290409"/>
          </a:xfrm>
        </p:grpSpPr>
        <p:sp>
          <p:nvSpPr>
            <p:cNvPr id="227" name="Freeform 226"/>
            <p:cNvSpPr>
              <a:spLocks noChangeAspect="1"/>
            </p:cNvSpPr>
            <p:nvPr/>
          </p:nvSpPr>
          <p:spPr bwMode="black">
            <a:xfrm>
              <a:off x="4306193" y="2634382"/>
              <a:ext cx="274320" cy="290409"/>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72584" tIns="58067" rIns="72584" bIns="5806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370046" fontAlgn="base">
                <a:lnSpc>
                  <a:spcPct val="90000"/>
                </a:lnSpc>
                <a:spcBef>
                  <a:spcPct val="0"/>
                </a:spcBef>
                <a:spcAft>
                  <a:spcPct val="0"/>
                </a:spcAft>
              </a:pPr>
              <a:endParaRPr lang="en-US" sz="953" dirty="0">
                <a:gradFill>
                  <a:gsLst>
                    <a:gs pos="0">
                      <a:srgbClr val="FFFFFF"/>
                    </a:gs>
                    <a:gs pos="100000">
                      <a:srgbClr val="FFFFFF"/>
                    </a:gs>
                  </a:gsLst>
                  <a:lin ang="5400000" scaled="0"/>
                </a:gradFill>
                <a:ea typeface="Segoe UI" pitchFamily="34" charset="0"/>
                <a:cs typeface="Segoe UI" pitchFamily="34" charset="0"/>
              </a:endParaRPr>
            </a:p>
          </p:txBody>
        </p:sp>
        <p:sp>
          <p:nvSpPr>
            <p:cNvPr id="228" name="TextBox 293"/>
            <p:cNvSpPr txBox="1"/>
            <p:nvPr/>
          </p:nvSpPr>
          <p:spPr>
            <a:xfrm>
              <a:off x="4675832" y="2662446"/>
              <a:ext cx="1154326" cy="219771"/>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kern="0" dirty="0">
                  <a:solidFill>
                    <a:srgbClr val="000000"/>
                  </a:solidFill>
                  <a:ea typeface="Segoe UI" pitchFamily="34" charset="0"/>
                  <a:cs typeface="Segoe UI" pitchFamily="34" charset="0"/>
                </a:rPr>
                <a:t>Content packs</a:t>
              </a:r>
            </a:p>
          </p:txBody>
        </p:sp>
      </p:grpSp>
      <p:sp>
        <p:nvSpPr>
          <p:cNvPr id="26" name="Left Bracket 25"/>
          <p:cNvSpPr/>
          <p:nvPr/>
        </p:nvSpPr>
        <p:spPr>
          <a:xfrm>
            <a:off x="4217217" y="2867455"/>
            <a:ext cx="173398" cy="3053209"/>
          </a:xfrm>
          <a:prstGeom prst="leftBracket">
            <a:avLst/>
          </a:prstGeom>
          <a:noFill/>
          <a:ln w="28575">
            <a:solidFill>
              <a:srgbClr val="EDC30D"/>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418"/>
            <a:endParaRPr lang="en-US" sz="1836" kern="0">
              <a:solidFill>
                <a:srgbClr val="000000"/>
              </a:solidFill>
            </a:endParaRPr>
          </a:p>
        </p:txBody>
      </p:sp>
      <p:grpSp>
        <p:nvGrpSpPr>
          <p:cNvPr id="14" name="Group 13"/>
          <p:cNvGrpSpPr/>
          <p:nvPr/>
        </p:nvGrpSpPr>
        <p:grpSpPr>
          <a:xfrm>
            <a:off x="9191665" y="2711760"/>
            <a:ext cx="2342370" cy="279741"/>
            <a:chOff x="9011801" y="2831439"/>
            <a:chExt cx="2296976" cy="274320"/>
          </a:xfrm>
        </p:grpSpPr>
        <p:sp>
          <p:nvSpPr>
            <p:cNvPr id="110" name="TextBox 293"/>
            <p:cNvSpPr txBox="1"/>
            <p:nvPr/>
          </p:nvSpPr>
          <p:spPr>
            <a:xfrm>
              <a:off x="9381693" y="2845269"/>
              <a:ext cx="1927084" cy="219771"/>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kern="0" dirty="0">
                  <a:solidFill>
                    <a:srgbClr val="000000"/>
                  </a:solidFill>
                  <a:ea typeface="Segoe UI" pitchFamily="34" charset="0"/>
                  <a:cs typeface="Segoe UI" pitchFamily="34" charset="0"/>
                </a:rPr>
                <a:t>Sharing &amp; collaboration</a:t>
              </a:r>
            </a:p>
          </p:txBody>
        </p:sp>
        <p:sp>
          <p:nvSpPr>
            <p:cNvPr id="112" name="Freeform 111"/>
            <p:cNvSpPr>
              <a:spLocks noChangeAspect="1"/>
            </p:cNvSpPr>
            <p:nvPr/>
          </p:nvSpPr>
          <p:spPr bwMode="black">
            <a:xfrm>
              <a:off x="9011801" y="2831439"/>
              <a:ext cx="312642" cy="274320"/>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rgbClr val="EDC30D"/>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1836"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94" name="Group 93"/>
          <p:cNvGrpSpPr/>
          <p:nvPr/>
        </p:nvGrpSpPr>
        <p:grpSpPr>
          <a:xfrm>
            <a:off x="10421092" y="129607"/>
            <a:ext cx="1912422" cy="583778"/>
            <a:chOff x="10316641" y="149435"/>
            <a:chExt cx="1875360" cy="572464"/>
          </a:xfrm>
        </p:grpSpPr>
        <p:pic>
          <p:nvPicPr>
            <p:cNvPr id="95" name="Picture 94"/>
            <p:cNvPicPr>
              <a:picLocks noChangeAspect="1"/>
            </p:cNvPicPr>
            <p:nvPr/>
          </p:nvPicPr>
          <p:blipFill>
            <a:blip r:embed="rId5">
              <a:duotone>
                <a:schemeClr val="bg2">
                  <a:shade val="45000"/>
                  <a:satMod val="135000"/>
                </a:schemeClr>
                <a:prstClr val="white"/>
              </a:duotone>
              <a:lum bright="-32000"/>
            </a:blip>
            <a:stretch>
              <a:fillRect/>
            </a:stretch>
          </p:blipFill>
          <p:spPr>
            <a:xfrm>
              <a:off x="10316641" y="213005"/>
              <a:ext cx="484908" cy="445325"/>
            </a:xfrm>
            <a:prstGeom prst="rect">
              <a:avLst/>
            </a:prstGeom>
          </p:spPr>
        </p:pic>
        <p:sp>
          <p:nvSpPr>
            <p:cNvPr id="96" name="TextBox 95"/>
            <p:cNvSpPr txBox="1"/>
            <p:nvPr/>
          </p:nvSpPr>
          <p:spPr>
            <a:xfrm>
              <a:off x="10716157" y="149435"/>
              <a:ext cx="1475844" cy="572464"/>
            </a:xfrm>
            <a:prstGeom prst="rect">
              <a:avLst/>
            </a:prstGeom>
            <a:noFill/>
          </p:spPr>
          <p:txBody>
            <a:bodyPr wrap="square" lIns="186494" tIns="149196" rIns="186494" bIns="149196" rtlCol="0">
              <a:spAutoFit/>
            </a:bodyPr>
            <a:lstStyle/>
            <a:p>
              <a:pPr defTabSz="932418">
                <a:lnSpc>
                  <a:spcPct val="90000"/>
                </a:lnSpc>
                <a:spcAft>
                  <a:spcPts val="612"/>
                </a:spcAft>
              </a:pPr>
              <a:r>
                <a:rPr lang="en-US" sz="2040" kern="0" dirty="0">
                  <a:gradFill>
                    <a:gsLst>
                      <a:gs pos="2917">
                        <a:srgbClr val="000000"/>
                      </a:gs>
                      <a:gs pos="30000">
                        <a:srgbClr val="000000"/>
                      </a:gs>
                    </a:gsLst>
                    <a:lin ang="5400000" scaled="0"/>
                  </a:gradFill>
                  <a:latin typeface="Segoe UI Light"/>
                </a:rPr>
                <a:t>Power BI</a:t>
              </a:r>
            </a:p>
          </p:txBody>
        </p:sp>
      </p:grpSp>
      <p:grpSp>
        <p:nvGrpSpPr>
          <p:cNvPr id="15" name="Group 14"/>
          <p:cNvGrpSpPr/>
          <p:nvPr/>
        </p:nvGrpSpPr>
        <p:grpSpPr>
          <a:xfrm>
            <a:off x="6524136" y="2715412"/>
            <a:ext cx="2300685" cy="239585"/>
            <a:chOff x="6395967" y="2662299"/>
            <a:chExt cx="2256097" cy="234942"/>
          </a:xfrm>
        </p:grpSpPr>
        <p:sp>
          <p:nvSpPr>
            <p:cNvPr id="210" name="TextBox 293"/>
            <p:cNvSpPr txBox="1"/>
            <p:nvPr/>
          </p:nvSpPr>
          <p:spPr>
            <a:xfrm>
              <a:off x="6744221" y="2677470"/>
              <a:ext cx="1907843" cy="219771"/>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kern="0" dirty="0">
                  <a:solidFill>
                    <a:srgbClr val="000000"/>
                  </a:solidFill>
                  <a:ea typeface="Segoe UI" pitchFamily="34" charset="0"/>
                  <a:cs typeface="Segoe UI" pitchFamily="34" charset="0"/>
                </a:rPr>
                <a:t>Natural language query</a:t>
              </a:r>
            </a:p>
          </p:txBody>
        </p:sp>
        <p:sp>
          <p:nvSpPr>
            <p:cNvPr id="3" name="Oval Callout 2"/>
            <p:cNvSpPr/>
            <p:nvPr/>
          </p:nvSpPr>
          <p:spPr bwMode="auto">
            <a:xfrm>
              <a:off x="6395967" y="2662299"/>
              <a:ext cx="274320" cy="228600"/>
            </a:xfrm>
            <a:prstGeom prst="wedgeEllipseCallout">
              <a:avLst>
                <a:gd name="adj1" fmla="val -59325"/>
                <a:gd name="adj2" fmla="val 71225"/>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816" b="1" kern="0" dirty="0">
                <a:solidFill>
                  <a:srgbClr val="000000"/>
                </a:solidFill>
                <a:ea typeface="Segoe UI" pitchFamily="34" charset="0"/>
                <a:cs typeface="Segoe UI" pitchFamily="34" charset="0"/>
              </a:endParaRPr>
            </a:p>
          </p:txBody>
        </p:sp>
      </p:grpSp>
      <p:grpSp>
        <p:nvGrpSpPr>
          <p:cNvPr id="19" name="Group 18"/>
          <p:cNvGrpSpPr/>
          <p:nvPr/>
        </p:nvGrpSpPr>
        <p:grpSpPr>
          <a:xfrm>
            <a:off x="4393061" y="4451429"/>
            <a:ext cx="1012927" cy="318008"/>
            <a:chOff x="4306193" y="4364674"/>
            <a:chExt cx="993297" cy="311845"/>
          </a:xfrm>
        </p:grpSpPr>
        <p:sp>
          <p:nvSpPr>
            <p:cNvPr id="179" name="TextBox 293"/>
            <p:cNvSpPr txBox="1"/>
            <p:nvPr/>
          </p:nvSpPr>
          <p:spPr>
            <a:xfrm>
              <a:off x="4675832" y="4389405"/>
              <a:ext cx="623658" cy="219771"/>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kern="0" dirty="0">
                  <a:solidFill>
                    <a:srgbClr val="000000"/>
                  </a:solidFill>
                  <a:ea typeface="Segoe UI" pitchFamily="34" charset="0"/>
                  <a:cs typeface="Segoe UI" pitchFamily="34" charset="0"/>
                </a:rPr>
                <a:t>Reports</a:t>
              </a:r>
              <a:endParaRPr lang="en-US" sz="1224" kern="0" dirty="0">
                <a:solidFill>
                  <a:srgbClr val="000000"/>
                </a:solidFill>
                <a:ea typeface="Segoe UI" pitchFamily="34" charset="0"/>
                <a:cs typeface="Segoe UI" pitchFamily="34" charset="0"/>
              </a:endParaRPr>
            </a:p>
          </p:txBody>
        </p:sp>
        <p:sp>
          <p:nvSpPr>
            <p:cNvPr id="5" name="Flowchart: Document 4"/>
            <p:cNvSpPr/>
            <p:nvPr/>
          </p:nvSpPr>
          <p:spPr bwMode="auto">
            <a:xfrm>
              <a:off x="4306193" y="4364674"/>
              <a:ext cx="274320" cy="311845"/>
            </a:xfrm>
            <a:prstGeom prst="flowChartDocument">
              <a:avLst/>
            </a:prstGeom>
            <a:noFill/>
            <a:ln w="28575">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0" name="Group 19"/>
          <p:cNvGrpSpPr/>
          <p:nvPr/>
        </p:nvGrpSpPr>
        <p:grpSpPr>
          <a:xfrm>
            <a:off x="4052194" y="4973485"/>
            <a:ext cx="1413179" cy="583778"/>
            <a:chOff x="3979430" y="4771518"/>
            <a:chExt cx="1385791" cy="572464"/>
          </a:xfrm>
        </p:grpSpPr>
        <p:sp>
          <p:nvSpPr>
            <p:cNvPr id="182" name="TextBox 293"/>
            <p:cNvSpPr txBox="1"/>
            <p:nvPr/>
          </p:nvSpPr>
          <p:spPr>
            <a:xfrm>
              <a:off x="4675832" y="4919099"/>
              <a:ext cx="689389" cy="219771"/>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kern="0" dirty="0">
                  <a:solidFill>
                    <a:srgbClr val="000000"/>
                  </a:solidFill>
                  <a:ea typeface="Segoe UI" pitchFamily="34" charset="0"/>
                  <a:cs typeface="Segoe UI" pitchFamily="34" charset="0"/>
                </a:rPr>
                <a:t>Datasets</a:t>
              </a:r>
            </a:p>
          </p:txBody>
        </p:sp>
        <p:sp>
          <p:nvSpPr>
            <p:cNvPr id="13" name="TextBox 12"/>
            <p:cNvSpPr txBox="1"/>
            <p:nvPr/>
          </p:nvSpPr>
          <p:spPr>
            <a:xfrm>
              <a:off x="3979430" y="4771518"/>
              <a:ext cx="927847" cy="572464"/>
            </a:xfrm>
            <a:prstGeom prst="rect">
              <a:avLst/>
            </a:prstGeom>
            <a:noFill/>
          </p:spPr>
          <p:txBody>
            <a:bodyPr wrap="square" lIns="186494" tIns="149196" rIns="186494" bIns="149196" rtlCol="0">
              <a:spAutoFit/>
            </a:bodyPr>
            <a:lstStyle/>
            <a:p>
              <a:pPr algn="ctr" defTabSz="932418"/>
              <a:r>
                <a:rPr lang="en-US" sz="918" b="1" kern="0" dirty="0">
                  <a:solidFill>
                    <a:srgbClr val="F2C812"/>
                  </a:solidFill>
                </a:rPr>
                <a:t>01001</a:t>
              </a:r>
            </a:p>
            <a:p>
              <a:pPr algn="ctr" defTabSz="932418"/>
              <a:r>
                <a:rPr lang="en-US" sz="918" b="1" kern="0" dirty="0">
                  <a:solidFill>
                    <a:srgbClr val="F2C812"/>
                  </a:solidFill>
                </a:rPr>
                <a:t>10101</a:t>
              </a:r>
            </a:p>
          </p:txBody>
        </p:sp>
      </p:grpSp>
      <p:grpSp>
        <p:nvGrpSpPr>
          <p:cNvPr id="99" name="Group 98"/>
          <p:cNvGrpSpPr/>
          <p:nvPr/>
        </p:nvGrpSpPr>
        <p:grpSpPr>
          <a:xfrm>
            <a:off x="6213023" y="3301178"/>
            <a:ext cx="5159221" cy="2508085"/>
            <a:chOff x="7018864" y="2257415"/>
            <a:chExt cx="5059237" cy="2459479"/>
          </a:xfrm>
        </p:grpSpPr>
        <p:grpSp>
          <p:nvGrpSpPr>
            <p:cNvPr id="106" name="Group 105"/>
            <p:cNvGrpSpPr/>
            <p:nvPr/>
          </p:nvGrpSpPr>
          <p:grpSpPr>
            <a:xfrm>
              <a:off x="7018864" y="2257415"/>
              <a:ext cx="5059237" cy="2459479"/>
              <a:chOff x="7018864" y="2257415"/>
              <a:chExt cx="5059237" cy="2459479"/>
            </a:xfrm>
          </p:grpSpPr>
          <p:grpSp>
            <p:nvGrpSpPr>
              <p:cNvPr id="119" name="Group 118"/>
              <p:cNvGrpSpPr>
                <a:grpSpLocks noChangeAspect="1"/>
              </p:cNvGrpSpPr>
              <p:nvPr/>
            </p:nvGrpSpPr>
            <p:grpSpPr>
              <a:xfrm>
                <a:off x="10432181" y="2257415"/>
                <a:ext cx="548640" cy="1042085"/>
                <a:chOff x="10286449" y="1529656"/>
                <a:chExt cx="917410" cy="1742525"/>
              </a:xfrm>
            </p:grpSpPr>
            <p:sp>
              <p:nvSpPr>
                <p:cNvPr id="154" name="Rounded Rectangle 153"/>
                <p:cNvSpPr/>
                <p:nvPr/>
              </p:nvSpPr>
              <p:spPr bwMode="auto">
                <a:xfrm>
                  <a:off x="10493458" y="1529656"/>
                  <a:ext cx="489183" cy="1739862"/>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spcBef>
                      <a:spcPct val="0"/>
                    </a:spcBef>
                    <a:spcAft>
                      <a:spcPct val="0"/>
                    </a:spcAft>
                  </a:pPr>
                  <a:endParaRPr lang="en-US" sz="204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55" name="Picture 154"/>
                <p:cNvPicPr>
                  <a:picLocks noChangeAspect="1"/>
                </p:cNvPicPr>
                <p:nvPr/>
              </p:nvPicPr>
              <p:blipFill rotWithShape="1">
                <a:blip r:embed="rId6" cstate="screen">
                  <a:extLst>
                    <a:ext uri="{28A0092B-C50C-407E-A947-70E740481C1C}">
                      <a14:useLocalDpi xmlns:a14="http://schemas.microsoft.com/office/drawing/2010/main" val="0"/>
                    </a:ext>
                  </a:extLst>
                </a:blip>
                <a:srcRect/>
                <a:stretch/>
              </p:blipFill>
              <p:spPr>
                <a:xfrm>
                  <a:off x="10372236" y="1690687"/>
                  <a:ext cx="745838" cy="1344992"/>
                </a:xfrm>
                <a:prstGeom prst="rect">
                  <a:avLst/>
                </a:prstGeom>
                <a:noFill/>
                <a:ln>
                  <a:noFill/>
                </a:ln>
              </p:spPr>
            </p:pic>
            <p:pic>
              <p:nvPicPr>
                <p:cNvPr id="156" name="Picture 155"/>
                <p:cNvPicPr>
                  <a:picLocks noChangeAspect="1"/>
                </p:cNvPicPr>
                <p:nvPr/>
              </p:nvPicPr>
              <p:blipFill rotWithShape="1">
                <a:blip r:embed="rId7" cstate="screen">
                  <a:extLst>
                    <a:ext uri="{28A0092B-C50C-407E-A947-70E740481C1C}">
                      <a14:useLocalDpi xmlns:a14="http://schemas.microsoft.com/office/drawing/2010/main" val="0"/>
                    </a:ext>
                  </a:extLst>
                </a:blip>
                <a:srcRect/>
                <a:stretch/>
              </p:blipFill>
              <p:spPr>
                <a:xfrm>
                  <a:off x="10372230" y="1818052"/>
                  <a:ext cx="745838" cy="1112933"/>
                </a:xfrm>
                <a:prstGeom prst="rect">
                  <a:avLst/>
                </a:prstGeom>
              </p:spPr>
            </p:pic>
            <p:sp>
              <p:nvSpPr>
                <p:cNvPr id="157" name="Rounded Rectangle 223"/>
                <p:cNvSpPr/>
                <p:nvPr/>
              </p:nvSpPr>
              <p:spPr bwMode="auto">
                <a:xfrm>
                  <a:off x="10286449" y="1529656"/>
                  <a:ext cx="917410" cy="1742525"/>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chemeClr val="bg2">
                    <a:lumMod val="1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z="816" kern="0" spc="-50" dirty="0" err="1">
                    <a:solidFill>
                      <a:srgbClr val="68217A"/>
                    </a:solidFill>
                    <a:ea typeface="Segoe UI" pitchFamily="34" charset="0"/>
                    <a:cs typeface="Segoe UI" pitchFamily="34" charset="0"/>
                  </a:endParaRPr>
                </a:p>
              </p:txBody>
            </p:sp>
          </p:grpSp>
          <p:sp>
            <p:nvSpPr>
              <p:cNvPr id="121" name="Freeform 1383"/>
              <p:cNvSpPr>
                <a:spLocks noChangeAspect="1" noEditPoints="1"/>
              </p:cNvSpPr>
              <p:nvPr/>
            </p:nvSpPr>
            <p:spPr bwMode="auto">
              <a:xfrm>
                <a:off x="7018864" y="2534980"/>
                <a:ext cx="3840480" cy="2181914"/>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chemeClr val="bg2">
                  <a:lumMod val="10000"/>
                </a:schemeClr>
              </a:solidFill>
              <a:ln w="9525">
                <a:solidFill>
                  <a:schemeClr val="bg1"/>
                </a:solidFill>
              </a:ln>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121"/>
                <a:endParaRPr lang="en-US" sz="1632" dirty="0">
                  <a:solidFill>
                    <a:srgbClr val="000000"/>
                  </a:solidFill>
                </a:endParaRPr>
              </a:p>
            </p:txBody>
          </p:sp>
          <p:grpSp>
            <p:nvGrpSpPr>
              <p:cNvPr id="140" name="Group 139"/>
              <p:cNvGrpSpPr>
                <a:grpSpLocks noChangeAspect="1"/>
              </p:cNvGrpSpPr>
              <p:nvPr/>
            </p:nvGrpSpPr>
            <p:grpSpPr>
              <a:xfrm>
                <a:off x="10432181" y="3352369"/>
                <a:ext cx="1645920" cy="1132186"/>
                <a:chOff x="1117586" y="1978512"/>
                <a:chExt cx="2372574" cy="1629558"/>
              </a:xfrm>
            </p:grpSpPr>
            <p:pic>
              <p:nvPicPr>
                <p:cNvPr id="142" name="Picture 141"/>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1309718" y="2130700"/>
                  <a:ext cx="1845671" cy="1326874"/>
                </a:xfrm>
                <a:prstGeom prst="rect">
                  <a:avLst/>
                </a:prstGeom>
                <a:noFill/>
                <a:ln>
                  <a:noFill/>
                </a:ln>
              </p:spPr>
            </p:pic>
            <p:grpSp>
              <p:nvGrpSpPr>
                <p:cNvPr id="144" name="Group 143"/>
                <p:cNvGrpSpPr/>
                <p:nvPr/>
              </p:nvGrpSpPr>
              <p:grpSpPr>
                <a:xfrm>
                  <a:off x="1307936" y="2212479"/>
                  <a:ext cx="1844519" cy="1136088"/>
                  <a:chOff x="1276066" y="3677905"/>
                  <a:chExt cx="2524835" cy="1555113"/>
                </a:xfrm>
              </p:grpSpPr>
              <p:pic>
                <p:nvPicPr>
                  <p:cNvPr id="152" name="Picture 151"/>
                  <p:cNvPicPr>
                    <a:picLocks noChangeAspect="1"/>
                  </p:cNvPicPr>
                  <p:nvPr/>
                </p:nvPicPr>
                <p:blipFill rotWithShape="1">
                  <a:blip r:embed="rId9" cstate="screen">
                    <a:extLst>
                      <a:ext uri="{28A0092B-C50C-407E-A947-70E740481C1C}">
                        <a14:useLocalDpi xmlns:a14="http://schemas.microsoft.com/office/drawing/2010/main" val="0"/>
                      </a:ext>
                    </a:extLst>
                  </a:blip>
                  <a:srcRect/>
                  <a:stretch/>
                </p:blipFill>
                <p:spPr>
                  <a:xfrm>
                    <a:off x="1276066" y="3677905"/>
                    <a:ext cx="2524835" cy="1555113"/>
                  </a:xfrm>
                  <a:prstGeom prst="rect">
                    <a:avLst/>
                  </a:prstGeom>
                </p:spPr>
              </p:pic>
              <p:pic>
                <p:nvPicPr>
                  <p:cNvPr id="153" name="Picture 152"/>
                  <p:cNvPicPr>
                    <a:picLocks noChangeAspect="1"/>
                  </p:cNvPicPr>
                  <p:nvPr/>
                </p:nvPicPr>
                <p:blipFill rotWithShape="1">
                  <a:blip r:embed="rId10" cstate="screen">
                    <a:extLst>
                      <a:ext uri="{28A0092B-C50C-407E-A947-70E740481C1C}">
                        <a14:useLocalDpi xmlns:a14="http://schemas.microsoft.com/office/drawing/2010/main" val="0"/>
                      </a:ext>
                    </a:extLst>
                  </a:blip>
                  <a:srcRect/>
                  <a:stretch/>
                </p:blipFill>
                <p:spPr>
                  <a:xfrm>
                    <a:off x="2524585" y="4449793"/>
                    <a:ext cx="1269242" cy="783225"/>
                  </a:xfrm>
                  <a:prstGeom prst="rect">
                    <a:avLst/>
                  </a:prstGeom>
                </p:spPr>
              </p:pic>
            </p:grpSp>
            <p:grpSp>
              <p:nvGrpSpPr>
                <p:cNvPr id="146" name="Group 145"/>
                <p:cNvGrpSpPr/>
                <p:nvPr/>
              </p:nvGrpSpPr>
              <p:grpSpPr>
                <a:xfrm>
                  <a:off x="1117586" y="1978512"/>
                  <a:ext cx="2372574" cy="1629558"/>
                  <a:chOff x="1117586" y="1978512"/>
                  <a:chExt cx="2372574" cy="1629558"/>
                </a:xfrm>
              </p:grpSpPr>
              <p:sp>
                <p:nvSpPr>
                  <p:cNvPr id="147" name="Rounded Rectangle 89"/>
                  <p:cNvSpPr>
                    <a:spLocks noChangeAspect="1"/>
                  </p:cNvSpPr>
                  <p:nvPr/>
                </p:nvSpPr>
                <p:spPr bwMode="auto">
                  <a:xfrm rot="16200000">
                    <a:off x="1489094" y="1607004"/>
                    <a:ext cx="1629558" cy="2372574"/>
                  </a:xfrm>
                  <a:custGeom>
                    <a:avLst/>
                    <a:gdLst/>
                    <a:ahLst/>
                    <a:cxnLst/>
                    <a:rect l="l" t="t" r="r" b="b"/>
                    <a:pathLst>
                      <a:path w="3265981" h="3654426">
                        <a:moveTo>
                          <a:pt x="2686301" y="3311991"/>
                        </a:moveTo>
                        <a:cubicBezTo>
                          <a:pt x="2647724" y="3311991"/>
                          <a:pt x="2616451" y="3343264"/>
                          <a:pt x="2616451" y="3381841"/>
                        </a:cubicBezTo>
                        <a:cubicBezTo>
                          <a:pt x="2616451" y="3420417"/>
                          <a:pt x="2647724" y="3451690"/>
                          <a:pt x="2686301" y="3451690"/>
                        </a:cubicBezTo>
                        <a:lnTo>
                          <a:pt x="2698749" y="3451691"/>
                        </a:lnTo>
                        <a:cubicBezTo>
                          <a:pt x="2737326" y="3451691"/>
                          <a:pt x="2768599" y="3420418"/>
                          <a:pt x="2768599" y="3381841"/>
                        </a:cubicBezTo>
                        <a:lnTo>
                          <a:pt x="2768600" y="3381841"/>
                        </a:lnTo>
                        <a:cubicBezTo>
                          <a:pt x="2768600" y="3343264"/>
                          <a:pt x="2737327" y="3311991"/>
                          <a:pt x="2698750" y="3311991"/>
                        </a:cubicBezTo>
                        <a:close/>
                        <a:moveTo>
                          <a:pt x="2477370" y="3311991"/>
                        </a:moveTo>
                        <a:cubicBezTo>
                          <a:pt x="2438793" y="3311991"/>
                          <a:pt x="2407520" y="3343264"/>
                          <a:pt x="2407520" y="3381841"/>
                        </a:cubicBezTo>
                        <a:cubicBezTo>
                          <a:pt x="2407520" y="3420417"/>
                          <a:pt x="2438793" y="3451690"/>
                          <a:pt x="2477370" y="3451690"/>
                        </a:cubicBezTo>
                        <a:lnTo>
                          <a:pt x="2490960" y="3451691"/>
                        </a:lnTo>
                        <a:cubicBezTo>
                          <a:pt x="2529537" y="3451691"/>
                          <a:pt x="2560810" y="3420418"/>
                          <a:pt x="2560810" y="3381841"/>
                        </a:cubicBezTo>
                        <a:lnTo>
                          <a:pt x="2560811" y="3381841"/>
                        </a:lnTo>
                        <a:cubicBezTo>
                          <a:pt x="2560811" y="3343264"/>
                          <a:pt x="2529538" y="3311991"/>
                          <a:pt x="2490961" y="3311991"/>
                        </a:cubicBezTo>
                        <a:close/>
                        <a:moveTo>
                          <a:pt x="1951037" y="3311991"/>
                        </a:moveTo>
                        <a:cubicBezTo>
                          <a:pt x="1912460" y="3311991"/>
                          <a:pt x="1881187" y="3343264"/>
                          <a:pt x="1881187" y="3381841"/>
                        </a:cubicBezTo>
                        <a:cubicBezTo>
                          <a:pt x="1881187" y="3420417"/>
                          <a:pt x="1912460" y="3451690"/>
                          <a:pt x="1951037" y="3451690"/>
                        </a:cubicBezTo>
                        <a:lnTo>
                          <a:pt x="2282030" y="3451691"/>
                        </a:lnTo>
                        <a:cubicBezTo>
                          <a:pt x="2320607" y="3451691"/>
                          <a:pt x="2351880" y="3420418"/>
                          <a:pt x="2351880" y="3381841"/>
                        </a:cubicBezTo>
                        <a:lnTo>
                          <a:pt x="2351881" y="3381841"/>
                        </a:lnTo>
                        <a:cubicBezTo>
                          <a:pt x="2351881" y="3343264"/>
                          <a:pt x="2320608" y="3311991"/>
                          <a:pt x="2282031" y="3311991"/>
                        </a:cubicBezTo>
                        <a:close/>
                        <a:moveTo>
                          <a:pt x="299489" y="299430"/>
                        </a:moveTo>
                        <a:lnTo>
                          <a:pt x="299489" y="3141056"/>
                        </a:lnTo>
                        <a:lnTo>
                          <a:pt x="2966489" y="3141056"/>
                        </a:lnTo>
                        <a:lnTo>
                          <a:pt x="2966489" y="299430"/>
                        </a:lnTo>
                        <a:close/>
                        <a:moveTo>
                          <a:pt x="134787" y="0"/>
                        </a:moveTo>
                        <a:lnTo>
                          <a:pt x="3131194" y="0"/>
                        </a:lnTo>
                        <a:cubicBezTo>
                          <a:pt x="3205635" y="0"/>
                          <a:pt x="3265981" y="60346"/>
                          <a:pt x="3265981" y="134787"/>
                        </a:cubicBezTo>
                        <a:lnTo>
                          <a:pt x="3265981" y="3519639"/>
                        </a:lnTo>
                        <a:cubicBezTo>
                          <a:pt x="3265981" y="3594080"/>
                          <a:pt x="3205635" y="3654426"/>
                          <a:pt x="3131194" y="3654426"/>
                        </a:cubicBezTo>
                        <a:lnTo>
                          <a:pt x="134787" y="3654426"/>
                        </a:lnTo>
                        <a:cubicBezTo>
                          <a:pt x="60346" y="3654426"/>
                          <a:pt x="0" y="3594080"/>
                          <a:pt x="0" y="3519639"/>
                        </a:cubicBezTo>
                        <a:lnTo>
                          <a:pt x="0" y="134787"/>
                        </a:lnTo>
                        <a:cubicBezTo>
                          <a:pt x="0" y="60346"/>
                          <a:pt x="60346" y="0"/>
                          <a:pt x="134787" y="0"/>
                        </a:cubicBezTo>
                        <a:close/>
                      </a:path>
                    </a:pathLst>
                  </a:custGeom>
                  <a:solidFill>
                    <a:schemeClr val="bg2">
                      <a:lumMod val="1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z="816" kern="0" spc="-50" dirty="0" err="1">
                      <a:solidFill>
                        <a:srgbClr val="68217A"/>
                      </a:solidFill>
                      <a:ea typeface="Segoe UI" pitchFamily="34" charset="0"/>
                      <a:cs typeface="Segoe UI" pitchFamily="34" charset="0"/>
                    </a:endParaRPr>
                  </a:p>
                </p:txBody>
              </p:sp>
              <p:sp>
                <p:nvSpPr>
                  <p:cNvPr id="150" name="Rectangle 149"/>
                  <p:cNvSpPr/>
                  <p:nvPr/>
                </p:nvSpPr>
                <p:spPr bwMode="auto">
                  <a:xfrm>
                    <a:off x="3172854" y="2198842"/>
                    <a:ext cx="307998" cy="808750"/>
                  </a:xfrm>
                  <a:prstGeom prst="rect">
                    <a:avLst/>
                  </a:prstGeom>
                  <a:solidFill>
                    <a:schemeClr val="bg2">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spcBef>
                        <a:spcPct val="0"/>
                      </a:spcBef>
                      <a:spcAft>
                        <a:spcPct val="0"/>
                      </a:spcAft>
                    </a:pPr>
                    <a:endParaRPr lang="en-US" sz="204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51" name="Picture 150"/>
                  <p:cNvPicPr>
                    <a:picLocks noChangeAspect="1"/>
                  </p:cNvPicPr>
                  <p:nvPr/>
                </p:nvPicPr>
                <p:blipFill>
                  <a:blip r:embed="rId11" cstate="screen">
                    <a:biLevel thresh="25000"/>
                    <a:extLst>
                      <a:ext uri="{28A0092B-C50C-407E-A947-70E740481C1C}">
                        <a14:useLocalDpi xmlns:a14="http://schemas.microsoft.com/office/drawing/2010/main" val="0"/>
                      </a:ext>
                    </a:extLst>
                  </a:blip>
                  <a:stretch>
                    <a:fillRect/>
                  </a:stretch>
                </p:blipFill>
                <p:spPr>
                  <a:xfrm>
                    <a:off x="3229523" y="2739186"/>
                    <a:ext cx="195334" cy="108208"/>
                  </a:xfrm>
                  <a:prstGeom prst="rect">
                    <a:avLst/>
                  </a:prstGeom>
                </p:spPr>
              </p:pic>
            </p:grpSp>
          </p:grpSp>
        </p:grpSp>
        <p:pic>
          <p:nvPicPr>
            <p:cNvPr id="117" name="Picture 116"/>
            <p:cNvPicPr>
              <a:picLocks noChangeAspect="1"/>
            </p:cNvPicPr>
            <p:nvPr/>
          </p:nvPicPr>
          <p:blipFill>
            <a:blip r:embed="rId12"/>
            <a:stretch>
              <a:fillRect/>
            </a:stretch>
          </p:blipFill>
          <p:spPr>
            <a:xfrm>
              <a:off x="7626151" y="2638675"/>
              <a:ext cx="2647950" cy="1733550"/>
            </a:xfrm>
            <a:prstGeom prst="rect">
              <a:avLst/>
            </a:prstGeom>
          </p:spPr>
        </p:pic>
      </p:grpSp>
      <p:sp>
        <p:nvSpPr>
          <p:cNvPr id="158" name="Title 3"/>
          <p:cNvSpPr txBox="1">
            <a:spLocks/>
          </p:cNvSpPr>
          <p:nvPr/>
        </p:nvSpPr>
        <p:spPr>
          <a:xfrm>
            <a:off x="275164" y="292537"/>
            <a:ext cx="11885514" cy="946279"/>
          </a:xfrm>
          <a:prstGeom prst="rect">
            <a:avLst/>
          </a:prstGeom>
        </p:spPr>
        <p:txBody>
          <a:bodyPr vert="horz" wrap="square" lIns="146283" tIns="91427" rIns="146283" bIns="91427" rtlCol="0" anchor="t">
            <a:noAutofit/>
          </a:bodyPr>
          <a:lstStyle>
            <a:lvl1pPr algn="l" defTabSz="932563" rtl="0" eaLnBrk="1" latinLnBrk="0" hangingPunct="1">
              <a:lnSpc>
                <a:spcPct val="90000"/>
              </a:lnSpc>
              <a:spcBef>
                <a:spcPct val="0"/>
              </a:spcBef>
              <a:buNone/>
              <a:defRPr lang="en-US" sz="5198" b="0" kern="1200" cap="none" spc="-102" baseline="0">
                <a:ln w="3175">
                  <a:noFill/>
                </a:ln>
                <a:solidFill>
                  <a:schemeClr val="tx2"/>
                </a:solidFill>
                <a:effectLst/>
                <a:latin typeface="+mj-lt"/>
                <a:ea typeface="+mn-ea"/>
                <a:cs typeface="Segoe UI" pitchFamily="34" charset="0"/>
              </a:defRPr>
            </a:lvl1pPr>
          </a:lstStyle>
          <a:p>
            <a:pPr defTabSz="932384">
              <a:defRPr/>
            </a:pPr>
            <a:r>
              <a:rPr lang="en-US" sz="5399" dirty="0">
                <a:gradFill>
                  <a:gsLst>
                    <a:gs pos="100000">
                      <a:srgbClr val="505050"/>
                    </a:gs>
                    <a:gs pos="0">
                      <a:srgbClr val="505050"/>
                    </a:gs>
                  </a:gsLst>
                  <a:lin ang="5400000" scaled="0"/>
                </a:gradFill>
                <a:latin typeface="Segoe UI Light"/>
              </a:rPr>
              <a:t>Power BI overview</a:t>
            </a:r>
            <a:endParaRPr lang="en-US" sz="3599" dirty="0">
              <a:gradFill>
                <a:gsLst>
                  <a:gs pos="0">
                    <a:srgbClr val="0078D7"/>
                  </a:gs>
                  <a:gs pos="100000">
                    <a:srgbClr val="0078D7"/>
                  </a:gs>
                </a:gsLst>
                <a:lin ang="5400000" scaled="1"/>
              </a:gradFill>
              <a:latin typeface="Segoe UI Light"/>
            </a:endParaRPr>
          </a:p>
        </p:txBody>
      </p:sp>
      <p:sp>
        <p:nvSpPr>
          <p:cNvPr id="159" name="Oval 158"/>
          <p:cNvSpPr/>
          <p:nvPr/>
        </p:nvSpPr>
        <p:spPr bwMode="auto">
          <a:xfrm>
            <a:off x="3261470" y="3422627"/>
            <a:ext cx="901700" cy="909521"/>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60" name="Freeform 9"/>
          <p:cNvSpPr>
            <a:spLocks noEditPoints="1"/>
          </p:cNvSpPr>
          <p:nvPr/>
        </p:nvSpPr>
        <p:spPr bwMode="black">
          <a:xfrm>
            <a:off x="3433901" y="3557412"/>
            <a:ext cx="612102" cy="614589"/>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2">
              <a:lumMod val="10000"/>
            </a:schemeClr>
          </a:solidFill>
          <a:ln>
            <a:noFill/>
          </a:ln>
          <a:extLst/>
        </p:spPr>
        <p:txBody>
          <a:bodyPr vert="horz" wrap="square" lIns="91427" tIns="45713" rIns="91427" bIns="45713" numCol="1" anchor="ctr" anchorCtr="0" compatLnSpc="1">
            <a:prstTxWarp prst="textNoShape">
              <a:avLst/>
            </a:prstTxWarp>
          </a:bodyPr>
          <a:lstStyle/>
          <a:p>
            <a:pPr defTabSz="932563"/>
            <a:endParaRPr lang="en-US" dirty="0">
              <a:solidFill>
                <a:srgbClr val="68217A"/>
              </a:solidFill>
            </a:endParaRPr>
          </a:p>
        </p:txBody>
      </p:sp>
    </p:spTree>
    <p:extLst>
      <p:ext uri="{BB962C8B-B14F-4D97-AF65-F5344CB8AC3E}">
        <p14:creationId xmlns:p14="http://schemas.microsoft.com/office/powerpoint/2010/main" val="86804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0"/>
                                        </p:tgtEl>
                                        <p:attrNameLst>
                                          <p:attrName>style.visibility</p:attrName>
                                        </p:attrNameLst>
                                      </p:cBhvr>
                                      <p:to>
                                        <p:strVal val="visible"/>
                                      </p:to>
                                    </p:set>
                                    <p:animEffect transition="in" filter="fade">
                                      <p:cBhvr>
                                        <p:cTn id="7" dur="500"/>
                                        <p:tgtEl>
                                          <p:spTgt spid="16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9"/>
                                        </p:tgtEl>
                                        <p:attrNameLst>
                                          <p:attrName>style.visibility</p:attrName>
                                        </p:attrNameLst>
                                      </p:cBhvr>
                                      <p:to>
                                        <p:strVal val="visible"/>
                                      </p:to>
                                    </p:set>
                                    <p:animEffect transition="in" filter="fade">
                                      <p:cBhvr>
                                        <p:cTn id="10" dur="500"/>
                                        <p:tgtEl>
                                          <p:spTgt spid="159"/>
                                        </p:tgtEl>
                                      </p:cBhvr>
                                    </p:animEffect>
                                  </p:childTnLst>
                                </p:cTn>
                              </p:par>
                              <p:par>
                                <p:cTn id="11" presetID="42" presetClass="path" presetSubtype="0" accel="34000" decel="66000" fill="hold" grpId="1" nodeType="withEffect">
                                  <p:stCondLst>
                                    <p:cond delay="0"/>
                                  </p:stCondLst>
                                  <p:childTnLst>
                                    <p:animMotion origin="layout" path="M -0.12433 0.00295 L -3.62522E-7 1.49342E-6 " pathEditMode="relative" rAng="0" ptsTypes="AA">
                                      <p:cBhvr>
                                        <p:cTn id="12" dur="1000" fill="hold"/>
                                        <p:tgtEl>
                                          <p:spTgt spid="160"/>
                                        </p:tgtEl>
                                        <p:attrNameLst>
                                          <p:attrName>ppt_x</p:attrName>
                                          <p:attrName>ppt_y</p:attrName>
                                        </p:attrNameLst>
                                      </p:cBhvr>
                                      <p:rCtr x="6216" y="-159"/>
                                    </p:animMotion>
                                  </p:childTnLst>
                                </p:cTn>
                              </p:par>
                              <p:par>
                                <p:cTn id="13" presetID="42" presetClass="path" presetSubtype="0" accel="34000" decel="66000" fill="hold" grpId="1" nodeType="withEffect">
                                  <p:stCondLst>
                                    <p:cond delay="0"/>
                                  </p:stCondLst>
                                  <p:childTnLst>
                                    <p:animMotion origin="layout" path="M -0.12037 0.01203 L -2.68573E-6 -4.21244E-6 " pathEditMode="relative" rAng="0" ptsTypes="AA">
                                      <p:cBhvr>
                                        <p:cTn id="14" dur="1000" fill="hold"/>
                                        <p:tgtEl>
                                          <p:spTgt spid="159"/>
                                        </p:tgtEl>
                                        <p:attrNameLst>
                                          <p:attrName>ppt_x</p:attrName>
                                          <p:attrName>ppt_y</p:attrName>
                                        </p:attrNameLst>
                                      </p:cBhvr>
                                      <p:rCtr x="6012" y="-61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9" grpId="0" animBg="1"/>
      <p:bldP spid="159" grpId="1" animBg="1"/>
      <p:bldP spid="160" grpId="0" animBg="1"/>
      <p:bldP spid="160" grpId="1"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bwMode="auto">
          <a:xfrm>
            <a:off x="-881" y="1830837"/>
            <a:ext cx="12436475" cy="413156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w="0"/>
              <a:solidFill>
                <a:srgbClr val="000000"/>
              </a:solidFill>
              <a:effectLst>
                <a:outerShdw blurRad="38100" dist="19050" dir="2700000" algn="tl" rotWithShape="0">
                  <a:srgbClr val="000000">
                    <a:alpha val="40000"/>
                  </a:srgbClr>
                </a:outerShdw>
              </a:effectLst>
              <a:uLnTx/>
              <a:uFillTx/>
              <a:latin typeface="Segoe UI Light"/>
              <a:ea typeface="Segoe UI" pitchFamily="34" charset="0"/>
              <a:cs typeface="Segoe UI" pitchFamily="34" charset="0"/>
            </a:endParaRPr>
          </a:p>
        </p:txBody>
      </p:sp>
      <p:graphicFrame>
        <p:nvGraphicFramePr>
          <p:cNvPr id="26" name="Object 25" hidden="1"/>
          <p:cNvGraphicFramePr>
            <a:graphicFrameLocks noChangeAspect="1"/>
          </p:cNvGraphicFramePr>
          <p:nvPr>
            <p:custDataLst>
              <p:tags r:id="rId2"/>
            </p:custDataLst>
            <p:extLst/>
          </p:nvPr>
        </p:nvGraphicFramePr>
        <p:xfrm>
          <a:off x="4235" y="3077"/>
          <a:ext cx="1587" cy="1587"/>
        </p:xfrm>
        <a:graphic>
          <a:graphicData uri="http://schemas.openxmlformats.org/presentationml/2006/ole">
            <mc:AlternateContent xmlns:mc="http://schemas.openxmlformats.org/markup-compatibility/2006">
              <mc:Choice xmlns:v="urn:schemas-microsoft-com:vml" Requires="v">
                <p:oleObj spid="_x0000_s29920" name="think-cell Slide" r:id="rId5" imgW="270" imgH="270" progId="TCLayout.ActiveDocument.1">
                  <p:embed/>
                </p:oleObj>
              </mc:Choice>
              <mc:Fallback>
                <p:oleObj name="think-cell Slide" r:id="rId5" imgW="270" imgH="270" progId="TCLayout.ActiveDocument.1">
                  <p:embed/>
                  <p:pic>
                    <p:nvPicPr>
                      <p:cNvPr id="26" name="Object 25" hidden="1"/>
                      <p:cNvPicPr/>
                      <p:nvPr/>
                    </p:nvPicPr>
                    <p:blipFill>
                      <a:blip r:embed="rId6"/>
                      <a:stretch>
                        <a:fillRect/>
                      </a:stretch>
                    </p:blipFill>
                    <p:spPr>
                      <a:xfrm>
                        <a:off x="4235" y="3077"/>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sz="4400" dirty="0">
                <a:solidFill>
                  <a:schemeClr val="tx2">
                    <a:lumMod val="10000"/>
                  </a:schemeClr>
                </a:solidFill>
              </a:rPr>
              <a:t>Customers can see all data in a single pane of glass</a:t>
            </a:r>
            <a:br>
              <a:rPr lang="en-US" sz="5399" dirty="0">
                <a:solidFill>
                  <a:schemeClr val="tx2">
                    <a:lumMod val="10000"/>
                  </a:schemeClr>
                </a:solidFill>
              </a:rPr>
            </a:br>
            <a:r>
              <a:rPr lang="en-US" sz="2800" dirty="0">
                <a:solidFill>
                  <a:schemeClr val="tx2">
                    <a:lumMod val="10000"/>
                  </a:schemeClr>
                </a:solidFill>
              </a:rPr>
              <a:t>Live dashboards and interactive reports</a:t>
            </a:r>
          </a:p>
        </p:txBody>
      </p:sp>
      <p:sp>
        <p:nvSpPr>
          <p:cNvPr id="7" name="Rectangle 6"/>
          <p:cNvSpPr/>
          <p:nvPr/>
        </p:nvSpPr>
        <p:spPr bwMode="auto">
          <a:xfrm>
            <a:off x="8006610" y="2554947"/>
            <a:ext cx="4503271" cy="27853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0" rIns="0" bIns="45700" numCol="1" spcCol="0" rtlCol="0" fromWordArt="0" anchor="t" anchorCtr="0" forceAA="0" compatLnSpc="1">
            <a:prstTxWarp prst="textNoShape">
              <a:avLst/>
            </a:prstTxWarp>
            <a:spAutoFit/>
          </a:bodyPr>
          <a:lstStyle/>
          <a:p>
            <a:pPr marL="53954" defTabSz="931597" fontAlgn="base">
              <a:spcAft>
                <a:spcPts val="600"/>
              </a:spcAft>
              <a:buClr>
                <a:srgbClr val="FFFFFF"/>
              </a:buClr>
              <a:defRPr/>
            </a:pPr>
            <a:r>
              <a:rPr lang="en-US" sz="2000" kern="0" dirty="0">
                <a:ln>
                  <a:solidFill>
                    <a:srgbClr val="FFFFFF">
                      <a:alpha val="0"/>
                    </a:srgbClr>
                  </a:solidFill>
                </a:ln>
                <a:solidFill>
                  <a:schemeClr val="tx2">
                    <a:lumMod val="10000"/>
                  </a:schemeClr>
                </a:solidFill>
                <a:ea typeface="Segoe UI" pitchFamily="34" charset="0"/>
                <a:cs typeface="Segoe UI" pitchFamily="34" charset="0"/>
              </a:rPr>
              <a:t>Monitor live dashboards </a:t>
            </a:r>
            <a:br>
              <a:rPr lang="en-US" sz="2000" kern="0" dirty="0">
                <a:ln>
                  <a:solidFill>
                    <a:srgbClr val="FFFFFF">
                      <a:alpha val="0"/>
                    </a:srgbClr>
                  </a:solidFill>
                </a:ln>
                <a:solidFill>
                  <a:schemeClr val="tx2">
                    <a:lumMod val="10000"/>
                  </a:schemeClr>
                </a:solidFill>
                <a:ea typeface="Segoe UI" pitchFamily="34" charset="0"/>
                <a:cs typeface="Segoe UI" pitchFamily="34" charset="0"/>
              </a:rPr>
            </a:br>
            <a:r>
              <a:rPr lang="en-US" sz="2000" kern="0" dirty="0">
                <a:ln>
                  <a:solidFill>
                    <a:srgbClr val="FFFFFF">
                      <a:alpha val="0"/>
                    </a:srgbClr>
                  </a:solidFill>
                </a:ln>
                <a:solidFill>
                  <a:schemeClr val="tx2">
                    <a:lumMod val="10000"/>
                  </a:schemeClr>
                </a:solidFill>
                <a:ea typeface="Segoe UI" pitchFamily="34" charset="0"/>
                <a:cs typeface="Segoe UI" pitchFamily="34" charset="0"/>
              </a:rPr>
              <a:t>for the data that matters most</a:t>
            </a:r>
          </a:p>
          <a:p>
            <a:pPr marL="53954" defTabSz="931597" fontAlgn="base">
              <a:spcAft>
                <a:spcPts val="600"/>
              </a:spcAft>
              <a:buClr>
                <a:srgbClr val="FFFFFF"/>
              </a:buClr>
              <a:defRPr/>
            </a:pPr>
            <a:r>
              <a:rPr lang="en-US" sz="2000" kern="0" dirty="0">
                <a:ln>
                  <a:solidFill>
                    <a:srgbClr val="FFFFFF">
                      <a:alpha val="0"/>
                    </a:srgbClr>
                  </a:solidFill>
                </a:ln>
                <a:solidFill>
                  <a:schemeClr val="tx2">
                    <a:lumMod val="10000"/>
                  </a:schemeClr>
                </a:solidFill>
                <a:ea typeface="Segoe UI" pitchFamily="34" charset="0"/>
                <a:cs typeface="Segoe UI" pitchFamily="34" charset="0"/>
              </a:rPr>
              <a:t>Track your data in real-time with support for streaming data</a:t>
            </a:r>
          </a:p>
          <a:p>
            <a:pPr marL="53954" defTabSz="931597" fontAlgn="base">
              <a:spcAft>
                <a:spcPts val="600"/>
              </a:spcAft>
              <a:buClr>
                <a:srgbClr val="FFFFFF"/>
              </a:buClr>
              <a:defRPr/>
            </a:pPr>
            <a:r>
              <a:rPr lang="en-US" sz="2000" kern="0" dirty="0">
                <a:ln>
                  <a:solidFill>
                    <a:srgbClr val="FFFFFF">
                      <a:alpha val="0"/>
                    </a:srgbClr>
                  </a:solidFill>
                </a:ln>
                <a:solidFill>
                  <a:schemeClr val="tx2">
                    <a:lumMod val="10000"/>
                  </a:schemeClr>
                </a:solidFill>
                <a:ea typeface="Segoe UI" pitchFamily="34" charset="0"/>
                <a:cs typeface="Segoe UI" pitchFamily="34" charset="0"/>
              </a:rPr>
              <a:t>Drill through to underlying reports to explore and discover new insight</a:t>
            </a:r>
          </a:p>
          <a:p>
            <a:pPr marL="53954" defTabSz="931597" fontAlgn="base">
              <a:spcAft>
                <a:spcPts val="600"/>
              </a:spcAft>
              <a:buClr>
                <a:srgbClr val="FFFFFF"/>
              </a:buClr>
              <a:defRPr/>
            </a:pPr>
            <a:r>
              <a:rPr lang="en-US" sz="2000" kern="0" dirty="0">
                <a:ln>
                  <a:solidFill>
                    <a:srgbClr val="FFFFFF">
                      <a:alpha val="0"/>
                    </a:srgbClr>
                  </a:solidFill>
                </a:ln>
                <a:solidFill>
                  <a:schemeClr val="tx2">
                    <a:lumMod val="10000"/>
                  </a:schemeClr>
                </a:solidFill>
                <a:ea typeface="Segoe UI" pitchFamily="34" charset="0"/>
                <a:cs typeface="Segoe UI" pitchFamily="34" charset="0"/>
              </a:rPr>
              <a:t>Pin new visualizations and KPIs </a:t>
            </a:r>
            <a:br>
              <a:rPr lang="en-US" sz="2000" kern="0" dirty="0">
                <a:ln>
                  <a:solidFill>
                    <a:srgbClr val="FFFFFF">
                      <a:alpha val="0"/>
                    </a:srgbClr>
                  </a:solidFill>
                </a:ln>
                <a:solidFill>
                  <a:schemeClr val="tx2">
                    <a:lumMod val="10000"/>
                  </a:schemeClr>
                </a:solidFill>
                <a:ea typeface="Segoe UI" pitchFamily="34" charset="0"/>
                <a:cs typeface="Segoe UI" pitchFamily="34" charset="0"/>
              </a:rPr>
            </a:br>
            <a:r>
              <a:rPr lang="en-US" sz="2000" kern="0" dirty="0">
                <a:ln>
                  <a:solidFill>
                    <a:srgbClr val="FFFFFF">
                      <a:alpha val="0"/>
                    </a:srgbClr>
                  </a:solidFill>
                </a:ln>
                <a:solidFill>
                  <a:schemeClr val="tx2">
                    <a:lumMod val="10000"/>
                  </a:schemeClr>
                </a:solidFill>
                <a:ea typeface="Segoe UI" pitchFamily="34" charset="0"/>
                <a:cs typeface="Segoe UI" pitchFamily="34" charset="0"/>
              </a:rPr>
              <a:t>to monitor performance</a:t>
            </a:r>
          </a:p>
        </p:txBody>
      </p:sp>
      <p:grpSp>
        <p:nvGrpSpPr>
          <p:cNvPr id="8" name="Group 7"/>
          <p:cNvGrpSpPr/>
          <p:nvPr/>
        </p:nvGrpSpPr>
        <p:grpSpPr>
          <a:xfrm>
            <a:off x="7559959" y="2688527"/>
            <a:ext cx="384467" cy="384467"/>
            <a:chOff x="8431377" y="-766784"/>
            <a:chExt cx="457200" cy="457200"/>
          </a:xfrm>
          <a:solidFill>
            <a:schemeClr val="bg2">
              <a:lumMod val="10000"/>
            </a:schemeClr>
          </a:solidFill>
        </p:grpSpPr>
        <p:sp>
          <p:nvSpPr>
            <p:cNvPr id="10"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kern="0" dirty="0">
                <a:solidFill>
                  <a:srgbClr val="505050"/>
                </a:solidFill>
              </a:endParaRPr>
            </a:p>
          </p:txBody>
        </p:sp>
        <p:sp>
          <p:nvSpPr>
            <p:cNvPr id="11" name="Freeform 8"/>
            <p:cNvSpPr>
              <a:spLocks/>
            </p:cNvSpPr>
            <p:nvPr/>
          </p:nvSpPr>
          <p:spPr bwMode="auto">
            <a:xfrm>
              <a:off x="8542502" y="-604430"/>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kern="0" dirty="0">
                <a:solidFill>
                  <a:srgbClr val="505050"/>
                </a:solidFill>
              </a:endParaRPr>
            </a:p>
          </p:txBody>
        </p:sp>
      </p:grpSp>
      <p:grpSp>
        <p:nvGrpSpPr>
          <p:cNvPr id="16" name="Group 15"/>
          <p:cNvGrpSpPr/>
          <p:nvPr/>
        </p:nvGrpSpPr>
        <p:grpSpPr>
          <a:xfrm>
            <a:off x="7559959" y="3372518"/>
            <a:ext cx="384467" cy="384467"/>
            <a:chOff x="8431377" y="-766784"/>
            <a:chExt cx="457200" cy="457200"/>
          </a:xfrm>
          <a:solidFill>
            <a:schemeClr val="bg2">
              <a:lumMod val="10000"/>
            </a:schemeClr>
          </a:solidFill>
        </p:grpSpPr>
        <p:sp>
          <p:nvSpPr>
            <p:cNvPr id="1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kern="0" dirty="0">
                <a:solidFill>
                  <a:srgbClr val="505050"/>
                </a:solidFill>
              </a:endParaRPr>
            </a:p>
          </p:txBody>
        </p:sp>
        <p:sp>
          <p:nvSpPr>
            <p:cNvPr id="1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kern="0" dirty="0">
                <a:solidFill>
                  <a:srgbClr val="505050"/>
                </a:solidFill>
              </a:endParaRPr>
            </a:p>
          </p:txBody>
        </p:sp>
      </p:grpSp>
      <p:grpSp>
        <p:nvGrpSpPr>
          <p:cNvPr id="21" name="Group 20"/>
          <p:cNvGrpSpPr/>
          <p:nvPr/>
        </p:nvGrpSpPr>
        <p:grpSpPr>
          <a:xfrm>
            <a:off x="7559959" y="4050158"/>
            <a:ext cx="384467" cy="384467"/>
            <a:chOff x="8431377" y="-766784"/>
            <a:chExt cx="457200" cy="457200"/>
          </a:xfrm>
          <a:solidFill>
            <a:schemeClr val="bg2">
              <a:lumMod val="10000"/>
            </a:schemeClr>
          </a:solidFill>
        </p:grpSpPr>
        <p:sp>
          <p:nvSpPr>
            <p:cNvPr id="22"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kern="0" dirty="0">
                <a:solidFill>
                  <a:srgbClr val="505050"/>
                </a:solidFill>
              </a:endParaRPr>
            </a:p>
          </p:txBody>
        </p:sp>
        <p:sp>
          <p:nvSpPr>
            <p:cNvPr id="23"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kern="0" dirty="0">
                <a:solidFill>
                  <a:srgbClr val="505050"/>
                </a:solidFill>
              </a:endParaRPr>
            </a:p>
          </p:txBody>
        </p:sp>
      </p:grpSp>
      <p:grpSp>
        <p:nvGrpSpPr>
          <p:cNvPr id="27" name="Group 26"/>
          <p:cNvGrpSpPr/>
          <p:nvPr/>
        </p:nvGrpSpPr>
        <p:grpSpPr>
          <a:xfrm>
            <a:off x="7559959" y="4753196"/>
            <a:ext cx="384467" cy="384467"/>
            <a:chOff x="8431377" y="-766784"/>
            <a:chExt cx="457200" cy="457200"/>
          </a:xfrm>
          <a:solidFill>
            <a:schemeClr val="bg2">
              <a:lumMod val="10000"/>
            </a:schemeClr>
          </a:solidFill>
        </p:grpSpPr>
        <p:sp>
          <p:nvSpPr>
            <p:cNvPr id="28"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kern="0" dirty="0">
                <a:solidFill>
                  <a:srgbClr val="505050"/>
                </a:solidFill>
              </a:endParaRPr>
            </a:p>
          </p:txBody>
        </p:sp>
        <p:sp>
          <p:nvSpPr>
            <p:cNvPr id="29"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kern="0" dirty="0">
                <a:solidFill>
                  <a:srgbClr val="505050"/>
                </a:solidFill>
              </a:endParaRPr>
            </a:p>
          </p:txBody>
        </p:sp>
      </p:grpSp>
      <p:grpSp>
        <p:nvGrpSpPr>
          <p:cNvPr id="200" name="Group 199"/>
          <p:cNvGrpSpPr/>
          <p:nvPr/>
        </p:nvGrpSpPr>
        <p:grpSpPr>
          <a:xfrm>
            <a:off x="431559" y="2233762"/>
            <a:ext cx="6600235" cy="3241119"/>
            <a:chOff x="2854200" y="1615831"/>
            <a:chExt cx="8161364" cy="4007729"/>
          </a:xfrm>
        </p:grpSpPr>
        <p:pic>
          <p:nvPicPr>
            <p:cNvPr id="201" name="Picture 200"/>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4158003" y="1817870"/>
              <a:ext cx="5575269" cy="3154787"/>
            </a:xfrm>
            <a:prstGeom prst="rect">
              <a:avLst/>
            </a:prstGeom>
          </p:spPr>
        </p:pic>
        <p:sp>
          <p:nvSpPr>
            <p:cNvPr id="202" name="Freeform 1383"/>
            <p:cNvSpPr>
              <a:spLocks noChangeAspect="1" noEditPoints="1"/>
            </p:cNvSpPr>
            <p:nvPr/>
          </p:nvSpPr>
          <p:spPr bwMode="auto">
            <a:xfrm>
              <a:off x="2854200" y="1615831"/>
              <a:ext cx="8161364" cy="4007729"/>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chemeClr val="bg2">
                <a:lumMod val="10000"/>
              </a:schemeClr>
            </a:solidFill>
            <a:ln w="9525">
              <a:solidFill>
                <a:schemeClr val="bg2">
                  <a:lumMod val="10000"/>
                </a:schemeClr>
              </a:solidFill>
            </a:ln>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defRPr/>
              </a:pPr>
              <a:endParaRPr lang="en-US" sz="1632" dirty="0">
                <a:solidFill>
                  <a:srgbClr val="000000"/>
                </a:solidFill>
                <a:latin typeface="Segoe UI"/>
              </a:endParaRPr>
            </a:p>
          </p:txBody>
        </p:sp>
      </p:grpSp>
      <p:sp>
        <p:nvSpPr>
          <p:cNvPr id="264" name="Block Arc 263"/>
          <p:cNvSpPr/>
          <p:nvPr/>
        </p:nvSpPr>
        <p:spPr bwMode="auto">
          <a:xfrm>
            <a:off x="2523403" y="3362620"/>
            <a:ext cx="980494" cy="970084"/>
          </a:xfrm>
          <a:prstGeom prst="blockArc">
            <a:avLst>
              <a:gd name="adj1" fmla="val 10653242"/>
              <a:gd name="adj2" fmla="val 220250"/>
              <a:gd name="adj3" fmla="val 17188"/>
            </a:avLst>
          </a:prstGeom>
          <a:solidFill>
            <a:srgbClr val="E9E9E9"/>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5" name="Block Arc 264"/>
          <p:cNvSpPr/>
          <p:nvPr/>
        </p:nvSpPr>
        <p:spPr bwMode="auto">
          <a:xfrm>
            <a:off x="2530050" y="3362620"/>
            <a:ext cx="973846" cy="970084"/>
          </a:xfrm>
          <a:prstGeom prst="blockArc">
            <a:avLst>
              <a:gd name="adj1" fmla="val 10725197"/>
              <a:gd name="adj2" fmla="val 231673"/>
              <a:gd name="adj3" fmla="val 17535"/>
            </a:avLst>
          </a:prstGeom>
          <a:solidFill>
            <a:srgbClr val="48C2C5"/>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6" name="Block Arc 265"/>
          <p:cNvSpPr/>
          <p:nvPr/>
        </p:nvSpPr>
        <p:spPr bwMode="auto">
          <a:xfrm>
            <a:off x="2530050" y="3369280"/>
            <a:ext cx="973846" cy="970084"/>
          </a:xfrm>
          <a:prstGeom prst="blockArc">
            <a:avLst>
              <a:gd name="adj1" fmla="val 10725197"/>
              <a:gd name="adj2" fmla="val 18014205"/>
              <a:gd name="adj3" fmla="val 16899"/>
            </a:avLst>
          </a:prstGeom>
          <a:solidFill>
            <a:srgbClr val="48C2C5"/>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7" name="TextBox 266"/>
          <p:cNvSpPr txBox="1"/>
          <p:nvPr/>
        </p:nvSpPr>
        <p:spPr>
          <a:xfrm>
            <a:off x="2435997" y="4125421"/>
            <a:ext cx="52263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146.03K</a:t>
            </a:r>
          </a:p>
        </p:txBody>
      </p:sp>
      <p:sp>
        <p:nvSpPr>
          <p:cNvPr id="268" name="TextBox 267"/>
          <p:cNvSpPr txBox="1"/>
          <p:nvPr/>
        </p:nvSpPr>
        <p:spPr>
          <a:xfrm>
            <a:off x="2436336" y="4125421"/>
            <a:ext cx="524095"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145.84K</a:t>
            </a:r>
          </a:p>
        </p:txBody>
      </p:sp>
      <p:sp>
        <p:nvSpPr>
          <p:cNvPr id="269" name="TextBox 268"/>
          <p:cNvSpPr txBox="1"/>
          <p:nvPr/>
        </p:nvSpPr>
        <p:spPr>
          <a:xfrm>
            <a:off x="2435997" y="4125421"/>
            <a:ext cx="52263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145.96K</a:t>
            </a:r>
          </a:p>
        </p:txBody>
      </p:sp>
      <p:sp>
        <p:nvSpPr>
          <p:cNvPr id="270" name="TextBox 269"/>
          <p:cNvSpPr txBox="1"/>
          <p:nvPr/>
        </p:nvSpPr>
        <p:spPr>
          <a:xfrm>
            <a:off x="2435997" y="4125421"/>
            <a:ext cx="52263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146.06K</a:t>
            </a:r>
          </a:p>
        </p:txBody>
      </p:sp>
      <p:sp>
        <p:nvSpPr>
          <p:cNvPr id="271" name="TextBox 270"/>
          <p:cNvSpPr txBox="1"/>
          <p:nvPr/>
        </p:nvSpPr>
        <p:spPr>
          <a:xfrm>
            <a:off x="3113646" y="4125421"/>
            <a:ext cx="46884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40.08K</a:t>
            </a:r>
          </a:p>
        </p:txBody>
      </p:sp>
      <p:sp>
        <p:nvSpPr>
          <p:cNvPr id="272" name="TextBox 271"/>
          <p:cNvSpPr txBox="1"/>
          <p:nvPr/>
        </p:nvSpPr>
        <p:spPr>
          <a:xfrm>
            <a:off x="3113646" y="4125421"/>
            <a:ext cx="46884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38.84K</a:t>
            </a:r>
          </a:p>
        </p:txBody>
      </p:sp>
      <p:sp>
        <p:nvSpPr>
          <p:cNvPr id="273" name="TextBox 272"/>
          <p:cNvSpPr txBox="1"/>
          <p:nvPr/>
        </p:nvSpPr>
        <p:spPr>
          <a:xfrm>
            <a:off x="3113308" y="4125421"/>
            <a:ext cx="467364"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39.99K</a:t>
            </a:r>
          </a:p>
        </p:txBody>
      </p:sp>
      <p:sp>
        <p:nvSpPr>
          <p:cNvPr id="274" name="TextBox 273"/>
          <p:cNvSpPr txBox="1"/>
          <p:nvPr/>
        </p:nvSpPr>
        <p:spPr>
          <a:xfrm>
            <a:off x="3113646" y="4125421"/>
            <a:ext cx="46884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40.33K</a:t>
            </a:r>
          </a:p>
        </p:txBody>
      </p:sp>
    </p:spTree>
    <p:extLst>
      <p:ext uri="{BB962C8B-B14F-4D97-AF65-F5344CB8AC3E}">
        <p14:creationId xmlns:p14="http://schemas.microsoft.com/office/powerpoint/2010/main" val="275457316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50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fade">
                                      <p:cBhvr>
                                        <p:cTn id="12" dur="500"/>
                                        <p:tgtEl>
                                          <p:spTgt spid="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1000"/>
                                  </p:stCondLst>
                                  <p:childTnLst>
                                    <p:set>
                                      <p:cBhvr>
                                        <p:cTn id="16" dur="1" fill="hold">
                                          <p:stCondLst>
                                            <p:cond delay="0"/>
                                          </p:stCondLst>
                                        </p:cTn>
                                        <p:tgtEl>
                                          <p:spTgt spid="7">
                                            <p:txEl>
                                              <p:pRg st="2" end="2"/>
                                            </p:txEl>
                                          </p:spTgt>
                                        </p:tgtEl>
                                        <p:attrNameLst>
                                          <p:attrName>style.visibility</p:attrName>
                                        </p:attrNameLst>
                                      </p:cBhvr>
                                      <p:to>
                                        <p:strVal val="visible"/>
                                      </p:to>
                                    </p:set>
                                    <p:animEffect transition="in" filter="fade">
                                      <p:cBhvr>
                                        <p:cTn id="17" dur="500"/>
                                        <p:tgtEl>
                                          <p:spTgt spid="7">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1300"/>
                                  </p:stCondLst>
                                  <p:childTnLst>
                                    <p:set>
                                      <p:cBhvr>
                                        <p:cTn id="21" dur="1" fill="hold">
                                          <p:stCondLst>
                                            <p:cond delay="0"/>
                                          </p:stCondLst>
                                        </p:cTn>
                                        <p:tgtEl>
                                          <p:spTgt spid="7">
                                            <p:txEl>
                                              <p:pRg st="3" end="3"/>
                                            </p:txEl>
                                          </p:spTgt>
                                        </p:tgtEl>
                                        <p:attrNameLst>
                                          <p:attrName>style.visibility</p:attrName>
                                        </p:attrNameLst>
                                      </p:cBhvr>
                                      <p:to>
                                        <p:strVal val="visible"/>
                                      </p:to>
                                    </p:set>
                                    <p:animEffect transition="in" filter="fade">
                                      <p:cBhvr>
                                        <p:cTn id="22" dur="500"/>
                                        <p:tgtEl>
                                          <p:spTgt spid="7">
                                            <p:txEl>
                                              <p:pRg st="3" end="3"/>
                                            </p:txEl>
                                          </p:spTgt>
                                        </p:tgtEl>
                                      </p:cBhvr>
                                    </p:animEffect>
                                  </p:childTnLst>
                                </p:cTn>
                              </p:par>
                              <p:par>
                                <p:cTn id="23" presetID="10" presetClass="entr" presetSubtype="0" fill="hold" nodeType="withEffect">
                                  <p:stCondLst>
                                    <p:cond delay="500"/>
                                  </p:stCondLst>
                                  <p:childTnLst>
                                    <p:set>
                                      <p:cBhvr>
                                        <p:cTn id="24" dur="1" fill="hold">
                                          <p:stCondLst>
                                            <p:cond delay="0"/>
                                          </p:stCondLst>
                                        </p:cTn>
                                        <p:tgtEl>
                                          <p:spTgt spid="8"/>
                                        </p:tgtEl>
                                        <p:attrNameLst>
                                          <p:attrName>style.visibility</p:attrName>
                                        </p:attrNameLst>
                                      </p:cBhvr>
                                      <p:to>
                                        <p:strVal val="visible"/>
                                      </p:to>
                                    </p:set>
                                    <p:animEffect transition="in" filter="fade">
                                      <p:cBhvr>
                                        <p:cTn id="25" dur="500"/>
                                        <p:tgtEl>
                                          <p:spTgt spid="8"/>
                                        </p:tgtEl>
                                      </p:cBhvr>
                                    </p:animEffect>
                                  </p:childTnLst>
                                </p:cTn>
                              </p:par>
                              <p:par>
                                <p:cTn id="26" presetID="63" presetClass="path" presetSubtype="0" accel="50000" decel="50000" fill="hold" nodeType="withEffect">
                                  <p:stCondLst>
                                    <p:cond delay="500"/>
                                  </p:stCondLst>
                                  <p:childTnLst>
                                    <p:animMotion origin="layout" path="M -0.03064 1.734E-6 L 1.34542E-6 1.734E-6 " pathEditMode="relative" rAng="0" ptsTypes="AA">
                                      <p:cBhvr>
                                        <p:cTn id="27" dur="500" fill="hold"/>
                                        <p:tgtEl>
                                          <p:spTgt spid="8"/>
                                        </p:tgtEl>
                                        <p:attrNameLst>
                                          <p:attrName>ppt_x</p:attrName>
                                          <p:attrName>ppt_y</p:attrName>
                                        </p:attrNameLst>
                                      </p:cBhvr>
                                      <p:rCtr x="1532" y="0"/>
                                    </p:animMotion>
                                  </p:childTnLst>
                                </p:cTn>
                              </p:par>
                              <p:par>
                                <p:cTn id="28" presetID="10" presetClass="entr" presetSubtype="0" fill="hold" nodeType="withEffect">
                                  <p:stCondLst>
                                    <p:cond delay="750"/>
                                  </p:stCondLst>
                                  <p:childTnLst>
                                    <p:set>
                                      <p:cBhvr>
                                        <p:cTn id="29" dur="1" fill="hold">
                                          <p:stCondLst>
                                            <p:cond delay="0"/>
                                          </p:stCondLst>
                                        </p:cTn>
                                        <p:tgtEl>
                                          <p:spTgt spid="16"/>
                                        </p:tgtEl>
                                        <p:attrNameLst>
                                          <p:attrName>style.visibility</p:attrName>
                                        </p:attrNameLst>
                                      </p:cBhvr>
                                      <p:to>
                                        <p:strVal val="visible"/>
                                      </p:to>
                                    </p:set>
                                    <p:animEffect transition="in" filter="fade">
                                      <p:cBhvr>
                                        <p:cTn id="30" dur="500"/>
                                        <p:tgtEl>
                                          <p:spTgt spid="16"/>
                                        </p:tgtEl>
                                      </p:cBhvr>
                                    </p:animEffect>
                                  </p:childTnLst>
                                </p:cTn>
                              </p:par>
                              <p:par>
                                <p:cTn id="31" presetID="63" presetClass="path" presetSubtype="0" accel="50000" decel="50000" fill="hold" nodeType="withEffect">
                                  <p:stCondLst>
                                    <p:cond delay="750"/>
                                  </p:stCondLst>
                                  <p:childTnLst>
                                    <p:animMotion origin="layout" path="M -0.03064 -2.45574E-6 L 1.34542E-6 -2.45574E-6 " pathEditMode="relative" rAng="0" ptsTypes="AA">
                                      <p:cBhvr>
                                        <p:cTn id="32" dur="500" fill="hold"/>
                                        <p:tgtEl>
                                          <p:spTgt spid="16"/>
                                        </p:tgtEl>
                                        <p:attrNameLst>
                                          <p:attrName>ppt_x</p:attrName>
                                          <p:attrName>ppt_y</p:attrName>
                                        </p:attrNameLst>
                                      </p:cBhvr>
                                      <p:rCtr x="1532" y="0"/>
                                    </p:animMotion>
                                  </p:childTnLst>
                                </p:cTn>
                              </p:par>
                              <p:par>
                                <p:cTn id="33" presetID="10" presetClass="entr" presetSubtype="0" fill="hold" nodeType="withEffect">
                                  <p:stCondLst>
                                    <p:cond delay="1000"/>
                                  </p:stCondLst>
                                  <p:childTnLst>
                                    <p:set>
                                      <p:cBhvr>
                                        <p:cTn id="34" dur="1" fill="hold">
                                          <p:stCondLst>
                                            <p:cond delay="0"/>
                                          </p:stCondLst>
                                        </p:cTn>
                                        <p:tgtEl>
                                          <p:spTgt spid="21"/>
                                        </p:tgtEl>
                                        <p:attrNameLst>
                                          <p:attrName>style.visibility</p:attrName>
                                        </p:attrNameLst>
                                      </p:cBhvr>
                                      <p:to>
                                        <p:strVal val="visible"/>
                                      </p:to>
                                    </p:set>
                                    <p:animEffect transition="in" filter="fade">
                                      <p:cBhvr>
                                        <p:cTn id="35" dur="500"/>
                                        <p:tgtEl>
                                          <p:spTgt spid="21"/>
                                        </p:tgtEl>
                                      </p:cBhvr>
                                    </p:animEffect>
                                  </p:childTnLst>
                                </p:cTn>
                              </p:par>
                              <p:par>
                                <p:cTn id="36" presetID="63" presetClass="path" presetSubtype="0" accel="50000" decel="50000" fill="hold" nodeType="withEffect">
                                  <p:stCondLst>
                                    <p:cond delay="1000"/>
                                  </p:stCondLst>
                                  <p:childTnLst>
                                    <p:animMotion origin="layout" path="M -0.03064 4.24421E-6 L 1.34542E-6 4.24421E-6 " pathEditMode="relative" rAng="0" ptsTypes="AA">
                                      <p:cBhvr>
                                        <p:cTn id="37" dur="500" fill="hold"/>
                                        <p:tgtEl>
                                          <p:spTgt spid="21"/>
                                        </p:tgtEl>
                                        <p:attrNameLst>
                                          <p:attrName>ppt_x</p:attrName>
                                          <p:attrName>ppt_y</p:attrName>
                                        </p:attrNameLst>
                                      </p:cBhvr>
                                      <p:rCtr x="1532" y="0"/>
                                    </p:animMotion>
                                  </p:childTnLst>
                                </p:cTn>
                              </p:par>
                              <p:par>
                                <p:cTn id="38" presetID="10" presetClass="entr" presetSubtype="0" fill="hold" nodeType="withEffect">
                                  <p:stCondLst>
                                    <p:cond delay="1250"/>
                                  </p:stCondLst>
                                  <p:childTnLst>
                                    <p:set>
                                      <p:cBhvr>
                                        <p:cTn id="39" dur="1" fill="hold">
                                          <p:stCondLst>
                                            <p:cond delay="0"/>
                                          </p:stCondLst>
                                        </p:cTn>
                                        <p:tgtEl>
                                          <p:spTgt spid="27"/>
                                        </p:tgtEl>
                                        <p:attrNameLst>
                                          <p:attrName>style.visibility</p:attrName>
                                        </p:attrNameLst>
                                      </p:cBhvr>
                                      <p:to>
                                        <p:strVal val="visible"/>
                                      </p:to>
                                    </p:set>
                                    <p:animEffect transition="in" filter="fade">
                                      <p:cBhvr>
                                        <p:cTn id="40" dur="500"/>
                                        <p:tgtEl>
                                          <p:spTgt spid="27"/>
                                        </p:tgtEl>
                                      </p:cBhvr>
                                    </p:animEffect>
                                  </p:childTnLst>
                                </p:cTn>
                              </p:par>
                              <p:par>
                                <p:cTn id="41" presetID="63" presetClass="path" presetSubtype="0" accel="50000" decel="50000" fill="hold" nodeType="withEffect">
                                  <p:stCondLst>
                                    <p:cond delay="1250"/>
                                  </p:stCondLst>
                                  <p:childTnLst>
                                    <p:animMotion origin="layout" path="M -0.03064 0.01362 L 1.34542E-6 0.01362 " pathEditMode="relative" rAng="0" ptsTypes="AA">
                                      <p:cBhvr>
                                        <p:cTn id="42" dur="500" fill="hold"/>
                                        <p:tgtEl>
                                          <p:spTgt spid="27"/>
                                        </p:tgtEl>
                                        <p:attrNameLst>
                                          <p:attrName>ppt_x</p:attrName>
                                          <p:attrName>ppt_y</p:attrName>
                                        </p:attrNameLst>
                                      </p:cBhvr>
                                      <p:rCtr x="1532" y="0"/>
                                    </p:animMotion>
                                  </p:childTnLst>
                                </p:cTn>
                              </p:par>
                            </p:childTnLst>
                          </p:cTn>
                        </p:par>
                        <p:par>
                          <p:cTn id="43" fill="hold">
                            <p:stCondLst>
                              <p:cond delay="1800"/>
                            </p:stCondLst>
                            <p:childTnLst>
                              <p:par>
                                <p:cTn id="44" presetID="1" presetClass="entr" presetSubtype="0" fill="hold" grpId="0" nodeType="afterEffect">
                                  <p:stCondLst>
                                    <p:cond delay="0"/>
                                  </p:stCondLst>
                                  <p:childTnLst>
                                    <p:set>
                                      <p:cBhvr>
                                        <p:cTn id="45" dur="1" fill="hold">
                                          <p:stCondLst>
                                            <p:cond delay="0"/>
                                          </p:stCondLst>
                                        </p:cTn>
                                        <p:tgtEl>
                                          <p:spTgt spid="268"/>
                                        </p:tgtEl>
                                        <p:attrNameLst>
                                          <p:attrName>style.visibility</p:attrName>
                                        </p:attrNameLst>
                                      </p:cBhvr>
                                      <p:to>
                                        <p:strVal val="visible"/>
                                      </p:to>
                                    </p:set>
                                  </p:childTnLst>
                                </p:cTn>
                              </p:par>
                              <p:par>
                                <p:cTn id="46" presetID="22" presetClass="entr" presetSubtype="8" fill="hold" grpId="0" nodeType="withEffect">
                                  <p:stCondLst>
                                    <p:cond delay="0"/>
                                  </p:stCondLst>
                                  <p:childTnLst>
                                    <p:set>
                                      <p:cBhvr>
                                        <p:cTn id="47" dur="1" fill="hold">
                                          <p:stCondLst>
                                            <p:cond delay="0"/>
                                          </p:stCondLst>
                                        </p:cTn>
                                        <p:tgtEl>
                                          <p:spTgt spid="265"/>
                                        </p:tgtEl>
                                        <p:attrNameLst>
                                          <p:attrName>style.visibility</p:attrName>
                                        </p:attrNameLst>
                                      </p:cBhvr>
                                      <p:to>
                                        <p:strVal val="visible"/>
                                      </p:to>
                                    </p:set>
                                    <p:animEffect transition="in" filter="wipe(left)">
                                      <p:cBhvr>
                                        <p:cTn id="48" dur="1000"/>
                                        <p:tgtEl>
                                          <p:spTgt spid="265"/>
                                        </p:tgtEl>
                                      </p:cBhvr>
                                    </p:animEffect>
                                  </p:childTnLst>
                                </p:cTn>
                              </p:par>
                            </p:childTnLst>
                          </p:cTn>
                        </p:par>
                        <p:par>
                          <p:cTn id="49" fill="hold">
                            <p:stCondLst>
                              <p:cond delay="2800"/>
                            </p:stCondLst>
                            <p:childTnLst>
                              <p:par>
                                <p:cTn id="50" presetID="1" presetClass="entr" presetSubtype="0" fill="hold" grpId="0" nodeType="afterEffect">
                                  <p:stCondLst>
                                    <p:cond delay="100"/>
                                  </p:stCondLst>
                                  <p:childTnLst>
                                    <p:set>
                                      <p:cBhvr>
                                        <p:cTn id="51" dur="1" fill="hold">
                                          <p:stCondLst>
                                            <p:cond delay="0"/>
                                          </p:stCondLst>
                                        </p:cTn>
                                        <p:tgtEl>
                                          <p:spTgt spid="272"/>
                                        </p:tgtEl>
                                        <p:attrNameLst>
                                          <p:attrName>style.visibility</p:attrName>
                                        </p:attrNameLst>
                                      </p:cBhvr>
                                      <p:to>
                                        <p:strVal val="visible"/>
                                      </p:to>
                                    </p:set>
                                  </p:childTnLst>
                                </p:cTn>
                              </p:par>
                            </p:childTnLst>
                          </p:cTn>
                        </p:par>
                        <p:par>
                          <p:cTn id="52" fill="hold">
                            <p:stCondLst>
                              <p:cond delay="2900"/>
                            </p:stCondLst>
                            <p:childTnLst>
                              <p:par>
                                <p:cTn id="53" presetID="1" presetClass="entr" presetSubtype="0" fill="hold" grpId="0" nodeType="afterEffect">
                                  <p:stCondLst>
                                    <p:cond delay="500"/>
                                  </p:stCondLst>
                                  <p:childTnLst>
                                    <p:set>
                                      <p:cBhvr>
                                        <p:cTn id="54" dur="1" fill="hold">
                                          <p:stCondLst>
                                            <p:cond delay="0"/>
                                          </p:stCondLst>
                                        </p:cTn>
                                        <p:tgtEl>
                                          <p:spTgt spid="269"/>
                                        </p:tgtEl>
                                        <p:attrNameLst>
                                          <p:attrName>style.visibility</p:attrName>
                                        </p:attrNameLst>
                                      </p:cBhvr>
                                      <p:to>
                                        <p:strVal val="visible"/>
                                      </p:to>
                                    </p:set>
                                  </p:childTnLst>
                                </p:cTn>
                              </p:par>
                            </p:childTnLst>
                          </p:cTn>
                        </p:par>
                        <p:par>
                          <p:cTn id="55" fill="hold">
                            <p:stCondLst>
                              <p:cond delay="3400"/>
                            </p:stCondLst>
                            <p:childTnLst>
                              <p:par>
                                <p:cTn id="56" presetID="22" presetClass="exit" presetSubtype="2" fill="hold" grpId="1" nodeType="afterEffect">
                                  <p:stCondLst>
                                    <p:cond delay="0"/>
                                  </p:stCondLst>
                                  <p:childTnLst>
                                    <p:animEffect transition="out" filter="wipe(right)">
                                      <p:cBhvr>
                                        <p:cTn id="57" dur="500"/>
                                        <p:tgtEl>
                                          <p:spTgt spid="265"/>
                                        </p:tgtEl>
                                      </p:cBhvr>
                                    </p:animEffect>
                                    <p:set>
                                      <p:cBhvr>
                                        <p:cTn id="58" dur="1" fill="hold">
                                          <p:stCondLst>
                                            <p:cond delay="499"/>
                                          </p:stCondLst>
                                        </p:cTn>
                                        <p:tgtEl>
                                          <p:spTgt spid="265"/>
                                        </p:tgtEl>
                                        <p:attrNameLst>
                                          <p:attrName>style.visibility</p:attrName>
                                        </p:attrNameLst>
                                      </p:cBhvr>
                                      <p:to>
                                        <p:strVal val="hidden"/>
                                      </p:to>
                                    </p:set>
                                  </p:childTnLst>
                                </p:cTn>
                              </p:par>
                              <p:par>
                                <p:cTn id="59" presetID="1" presetClass="entr" presetSubtype="0" fill="hold" grpId="0" nodeType="withEffect">
                                  <p:stCondLst>
                                    <p:cond delay="0"/>
                                  </p:stCondLst>
                                  <p:childTnLst>
                                    <p:set>
                                      <p:cBhvr>
                                        <p:cTn id="60" dur="1" fill="hold">
                                          <p:stCondLst>
                                            <p:cond delay="0"/>
                                          </p:stCondLst>
                                        </p:cTn>
                                        <p:tgtEl>
                                          <p:spTgt spid="266"/>
                                        </p:tgtEl>
                                        <p:attrNameLst>
                                          <p:attrName>style.visibility</p:attrName>
                                        </p:attrNameLst>
                                      </p:cBhvr>
                                      <p:to>
                                        <p:strVal val="visible"/>
                                      </p:to>
                                    </p:set>
                                  </p:childTnLst>
                                </p:cTn>
                              </p:par>
                            </p:childTnLst>
                          </p:cTn>
                        </p:par>
                        <p:par>
                          <p:cTn id="61" fill="hold">
                            <p:stCondLst>
                              <p:cond delay="3900"/>
                            </p:stCondLst>
                            <p:childTnLst>
                              <p:par>
                                <p:cTn id="62" presetID="1" presetClass="entr" presetSubtype="0" fill="hold" grpId="0" nodeType="afterEffect">
                                  <p:stCondLst>
                                    <p:cond delay="0"/>
                                  </p:stCondLst>
                                  <p:childTnLst>
                                    <p:set>
                                      <p:cBhvr>
                                        <p:cTn id="63" dur="1" fill="hold">
                                          <p:stCondLst>
                                            <p:cond delay="0"/>
                                          </p:stCondLst>
                                        </p:cTn>
                                        <p:tgtEl>
                                          <p:spTgt spid="273"/>
                                        </p:tgtEl>
                                        <p:attrNameLst>
                                          <p:attrName>style.visibility</p:attrName>
                                        </p:attrNameLst>
                                      </p:cBhvr>
                                      <p:to>
                                        <p:strVal val="visible"/>
                                      </p:to>
                                    </p:set>
                                  </p:childTnLst>
                                </p:cTn>
                              </p:par>
                            </p:childTnLst>
                          </p:cTn>
                        </p:par>
                        <p:par>
                          <p:cTn id="64" fill="hold">
                            <p:stCondLst>
                              <p:cond delay="3900"/>
                            </p:stCondLst>
                            <p:childTnLst>
                              <p:par>
                                <p:cTn id="65" presetID="1" presetClass="entr" presetSubtype="0" fill="hold" grpId="0" nodeType="afterEffect">
                                  <p:stCondLst>
                                    <p:cond delay="500"/>
                                  </p:stCondLst>
                                  <p:childTnLst>
                                    <p:set>
                                      <p:cBhvr>
                                        <p:cTn id="66" dur="1" fill="hold">
                                          <p:stCondLst>
                                            <p:cond delay="0"/>
                                          </p:stCondLst>
                                        </p:cTn>
                                        <p:tgtEl>
                                          <p:spTgt spid="270"/>
                                        </p:tgtEl>
                                        <p:attrNameLst>
                                          <p:attrName>style.visibility</p:attrName>
                                        </p:attrNameLst>
                                      </p:cBhvr>
                                      <p:to>
                                        <p:strVal val="visible"/>
                                      </p:to>
                                    </p:set>
                                  </p:childTnLst>
                                </p:cTn>
                              </p:par>
                              <p:par>
                                <p:cTn id="67" presetID="1" presetClass="entr" presetSubtype="0" fill="hold" grpId="0" nodeType="withEffect">
                                  <p:stCondLst>
                                    <p:cond delay="1000"/>
                                  </p:stCondLst>
                                  <p:childTnLst>
                                    <p:set>
                                      <p:cBhvr>
                                        <p:cTn id="68" dur="1" fill="hold">
                                          <p:stCondLst>
                                            <p:cond delay="0"/>
                                          </p:stCondLst>
                                        </p:cTn>
                                        <p:tgtEl>
                                          <p:spTgt spid="2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p:bldP spid="265" grpId="0" animBg="1"/>
      <p:bldP spid="265" grpId="1" animBg="1"/>
      <p:bldP spid="266" grpId="0" animBg="1"/>
      <p:bldP spid="268" grpId="0" animBg="1"/>
      <p:bldP spid="269" grpId="0" animBg="1"/>
      <p:bldP spid="270" grpId="0" animBg="1"/>
      <p:bldP spid="272" grpId="0" animBg="1"/>
      <p:bldP spid="273" grpId="0" animBg="1"/>
      <p:bldP spid="274"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p:cNvSpPr/>
          <p:nvPr/>
        </p:nvSpPr>
        <p:spPr bwMode="auto">
          <a:xfrm>
            <a:off x="-1" y="1830837"/>
            <a:ext cx="12436475" cy="413156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w="0"/>
              <a:solidFill>
                <a:srgbClr val="000000"/>
              </a:solidFill>
              <a:effectLst>
                <a:outerShdw blurRad="38100" dist="19050" dir="2700000" algn="tl" rotWithShape="0">
                  <a:srgbClr val="000000">
                    <a:alpha val="40000"/>
                  </a:srgbClr>
                </a:outerShdw>
              </a:effectLst>
              <a:uLnTx/>
              <a:uFillTx/>
              <a:latin typeface="Segoe UI Light"/>
              <a:ea typeface="Segoe UI" pitchFamily="34" charset="0"/>
              <a:cs typeface="Segoe UI" pitchFamily="34" charset="0"/>
            </a:endParaRPr>
          </a:p>
        </p:txBody>
      </p:sp>
      <p:sp>
        <p:nvSpPr>
          <p:cNvPr id="2" name="Title 1"/>
          <p:cNvSpPr>
            <a:spLocks noGrp="1"/>
          </p:cNvSpPr>
          <p:nvPr>
            <p:ph type="title"/>
          </p:nvPr>
        </p:nvSpPr>
        <p:spPr>
          <a:xfrm>
            <a:off x="275163" y="282912"/>
            <a:ext cx="10582679" cy="946279"/>
          </a:xfrm>
        </p:spPr>
        <p:txBody>
          <a:bodyPr/>
          <a:lstStyle/>
          <a:p>
            <a:r>
              <a:rPr lang="en-US" sz="5000" dirty="0">
                <a:solidFill>
                  <a:schemeClr val="bg2">
                    <a:lumMod val="10000"/>
                  </a:schemeClr>
                </a:solidFill>
              </a:rPr>
              <a:t>Customers can stay </a:t>
            </a:r>
            <a:br>
              <a:rPr lang="en-US" sz="5000" dirty="0">
                <a:solidFill>
                  <a:schemeClr val="bg2">
                    <a:lumMod val="10000"/>
                  </a:schemeClr>
                </a:solidFill>
              </a:rPr>
            </a:br>
            <a:r>
              <a:rPr lang="en-US" sz="5000" dirty="0">
                <a:solidFill>
                  <a:schemeClr val="bg2">
                    <a:lumMod val="10000"/>
                  </a:schemeClr>
                </a:solidFill>
              </a:rPr>
              <a:t>connected from any device</a:t>
            </a:r>
          </a:p>
        </p:txBody>
      </p:sp>
      <p:sp>
        <p:nvSpPr>
          <p:cNvPr id="9" name="Rectangle 8"/>
          <p:cNvSpPr/>
          <p:nvPr/>
        </p:nvSpPr>
        <p:spPr bwMode="auto">
          <a:xfrm>
            <a:off x="8675390" y="2593901"/>
            <a:ext cx="4718746" cy="2132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0" rIns="0" bIns="45700" numCol="1" spcCol="0" rtlCol="0" fromWordArt="0" anchor="t" anchorCtr="0" forceAA="0" compatLnSpc="1">
            <a:prstTxWarp prst="textNoShape">
              <a:avLst/>
            </a:prstTxWarp>
            <a:spAutoFit/>
          </a:bodyPr>
          <a:lstStyle/>
          <a:p>
            <a:pPr marL="53954" defTabSz="931597" fontAlgn="base">
              <a:spcAft>
                <a:spcPts val="600"/>
              </a:spcAft>
              <a:buClr>
                <a:srgbClr val="FFFFFF"/>
              </a:buClr>
              <a:defRPr/>
            </a:pPr>
            <a:r>
              <a:rPr lang="en-US" sz="2000" kern="0" dirty="0">
                <a:ln>
                  <a:solidFill>
                    <a:srgbClr val="FFFFFF">
                      <a:alpha val="0"/>
                    </a:srgbClr>
                  </a:solidFill>
                </a:ln>
                <a:solidFill>
                  <a:schemeClr val="tx2">
                    <a:lumMod val="10000"/>
                  </a:schemeClr>
                </a:solidFill>
                <a:ea typeface="Segoe UI" pitchFamily="34" charset="0"/>
                <a:cs typeface="Segoe UI" pitchFamily="34" charset="0"/>
              </a:rPr>
              <a:t>Native apps for iPad, iPhone, </a:t>
            </a:r>
            <a:br>
              <a:rPr lang="en-US" sz="2000" kern="0" dirty="0">
                <a:ln>
                  <a:solidFill>
                    <a:srgbClr val="FFFFFF">
                      <a:alpha val="0"/>
                    </a:srgbClr>
                  </a:solidFill>
                </a:ln>
                <a:solidFill>
                  <a:schemeClr val="tx2">
                    <a:lumMod val="10000"/>
                  </a:schemeClr>
                </a:solidFill>
                <a:ea typeface="Segoe UI" pitchFamily="34" charset="0"/>
                <a:cs typeface="Segoe UI" pitchFamily="34" charset="0"/>
              </a:rPr>
            </a:br>
            <a:r>
              <a:rPr lang="en-US" sz="2000" kern="0" dirty="0">
                <a:ln>
                  <a:solidFill>
                    <a:srgbClr val="FFFFFF">
                      <a:alpha val="0"/>
                    </a:srgbClr>
                  </a:solidFill>
                </a:ln>
                <a:solidFill>
                  <a:schemeClr val="tx2">
                    <a:lumMod val="10000"/>
                  </a:schemeClr>
                </a:solidFill>
                <a:ea typeface="Segoe UI" pitchFamily="34" charset="0"/>
                <a:cs typeface="Segoe UI" pitchFamily="34" charset="0"/>
              </a:rPr>
              <a:t>and Windows devices</a:t>
            </a:r>
          </a:p>
          <a:p>
            <a:pPr marL="53954" defTabSz="931597" fontAlgn="base">
              <a:spcAft>
                <a:spcPts val="600"/>
              </a:spcAft>
              <a:buClr>
                <a:srgbClr val="FFFFFF"/>
              </a:buClr>
              <a:defRPr/>
            </a:pPr>
            <a:r>
              <a:rPr lang="en-US" sz="2000" kern="0" dirty="0">
                <a:ln>
                  <a:solidFill>
                    <a:srgbClr val="FFFFFF">
                      <a:alpha val="0"/>
                    </a:srgbClr>
                  </a:solidFill>
                </a:ln>
                <a:solidFill>
                  <a:schemeClr val="tx2">
                    <a:lumMod val="10000"/>
                  </a:schemeClr>
                </a:solidFill>
                <a:ea typeface="Segoe UI" pitchFamily="34" charset="0"/>
                <a:cs typeface="Segoe UI" pitchFamily="34" charset="0"/>
              </a:rPr>
              <a:t>Receive alerts to important </a:t>
            </a:r>
            <a:br>
              <a:rPr lang="en-US" sz="2000" kern="0" dirty="0">
                <a:ln>
                  <a:solidFill>
                    <a:srgbClr val="FFFFFF">
                      <a:alpha val="0"/>
                    </a:srgbClr>
                  </a:solidFill>
                </a:ln>
                <a:solidFill>
                  <a:schemeClr val="tx2">
                    <a:lumMod val="10000"/>
                  </a:schemeClr>
                </a:solidFill>
                <a:ea typeface="Segoe UI" pitchFamily="34" charset="0"/>
                <a:cs typeface="Segoe UI" pitchFamily="34" charset="0"/>
              </a:rPr>
            </a:br>
            <a:r>
              <a:rPr lang="en-US" sz="2000" kern="0" dirty="0">
                <a:ln>
                  <a:solidFill>
                    <a:srgbClr val="FFFFFF">
                      <a:alpha val="0"/>
                    </a:srgbClr>
                  </a:solidFill>
                </a:ln>
                <a:solidFill>
                  <a:schemeClr val="tx2">
                    <a:lumMod val="10000"/>
                  </a:schemeClr>
                </a:solidFill>
                <a:ea typeface="Segoe UI" pitchFamily="34" charset="0"/>
                <a:cs typeface="Segoe UI" pitchFamily="34" charset="0"/>
              </a:rPr>
              <a:t>changes in your data</a:t>
            </a:r>
          </a:p>
          <a:p>
            <a:pPr marL="53954" defTabSz="931597" fontAlgn="base">
              <a:spcAft>
                <a:spcPts val="600"/>
              </a:spcAft>
              <a:buClr>
                <a:srgbClr val="FFFFFF"/>
              </a:buClr>
              <a:defRPr/>
            </a:pPr>
            <a:r>
              <a:rPr lang="en-US" sz="2000" kern="0" dirty="0">
                <a:ln>
                  <a:solidFill>
                    <a:srgbClr val="FFFFFF">
                      <a:alpha val="0"/>
                    </a:srgbClr>
                  </a:solidFill>
                </a:ln>
                <a:solidFill>
                  <a:schemeClr val="tx2">
                    <a:lumMod val="10000"/>
                  </a:schemeClr>
                </a:solidFill>
                <a:ea typeface="Segoe UI" pitchFamily="34" charset="0"/>
                <a:cs typeface="Segoe UI" pitchFamily="34" charset="0"/>
              </a:rPr>
              <a:t>Share and collaborate with </a:t>
            </a:r>
            <a:br>
              <a:rPr lang="en-US" sz="2000" kern="0" dirty="0">
                <a:ln>
                  <a:solidFill>
                    <a:srgbClr val="FFFFFF">
                      <a:alpha val="0"/>
                    </a:srgbClr>
                  </a:solidFill>
                </a:ln>
                <a:solidFill>
                  <a:schemeClr val="tx2">
                    <a:lumMod val="10000"/>
                  </a:schemeClr>
                </a:solidFill>
                <a:ea typeface="Segoe UI" pitchFamily="34" charset="0"/>
                <a:cs typeface="Segoe UI" pitchFamily="34" charset="0"/>
              </a:rPr>
            </a:br>
            <a:r>
              <a:rPr lang="en-US" sz="2000" kern="0" dirty="0">
                <a:ln>
                  <a:solidFill>
                    <a:srgbClr val="FFFFFF">
                      <a:alpha val="0"/>
                    </a:srgbClr>
                  </a:solidFill>
                </a:ln>
                <a:solidFill>
                  <a:schemeClr val="tx2">
                    <a:lumMod val="10000"/>
                  </a:schemeClr>
                </a:solidFill>
                <a:ea typeface="Segoe UI" pitchFamily="34" charset="0"/>
                <a:cs typeface="Segoe UI" pitchFamily="34" charset="0"/>
              </a:rPr>
              <a:t>colleagues and take action</a:t>
            </a:r>
          </a:p>
        </p:txBody>
      </p:sp>
      <p:grpSp>
        <p:nvGrpSpPr>
          <p:cNvPr id="10" name="Group 9"/>
          <p:cNvGrpSpPr/>
          <p:nvPr/>
        </p:nvGrpSpPr>
        <p:grpSpPr>
          <a:xfrm>
            <a:off x="8235886" y="2772981"/>
            <a:ext cx="384467" cy="384467"/>
            <a:chOff x="8431377" y="-766784"/>
            <a:chExt cx="457200" cy="457200"/>
          </a:xfrm>
          <a:solidFill>
            <a:schemeClr val="bg2">
              <a:lumMod val="10000"/>
            </a:schemeClr>
          </a:solidFill>
        </p:grpSpPr>
        <p:sp>
          <p:nvSpPr>
            <p:cNvPr id="1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kern="0" dirty="0">
                <a:solidFill>
                  <a:srgbClr val="505050"/>
                </a:solidFill>
              </a:endParaRPr>
            </a:p>
          </p:txBody>
        </p:sp>
        <p:sp>
          <p:nvSpPr>
            <p:cNvPr id="1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kern="0" dirty="0">
                <a:solidFill>
                  <a:srgbClr val="505050"/>
                </a:solidFill>
              </a:endParaRPr>
            </a:p>
          </p:txBody>
        </p:sp>
      </p:grpSp>
      <p:grpSp>
        <p:nvGrpSpPr>
          <p:cNvPr id="11" name="Group 10"/>
          <p:cNvGrpSpPr/>
          <p:nvPr/>
        </p:nvGrpSpPr>
        <p:grpSpPr>
          <a:xfrm>
            <a:off x="8235886" y="3456970"/>
            <a:ext cx="384467" cy="384467"/>
            <a:chOff x="8431377" y="-766784"/>
            <a:chExt cx="457200" cy="457200"/>
          </a:xfrm>
          <a:solidFill>
            <a:schemeClr val="bg2">
              <a:lumMod val="10000"/>
            </a:schemeClr>
          </a:solidFill>
        </p:grpSpPr>
        <p:sp>
          <p:nvSpPr>
            <p:cNvPr id="15"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kern="0" dirty="0">
                <a:solidFill>
                  <a:srgbClr val="505050"/>
                </a:solidFill>
              </a:endParaRPr>
            </a:p>
          </p:txBody>
        </p:sp>
        <p:sp>
          <p:nvSpPr>
            <p:cNvPr id="16"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kern="0" dirty="0">
                <a:solidFill>
                  <a:srgbClr val="505050"/>
                </a:solidFill>
              </a:endParaRPr>
            </a:p>
          </p:txBody>
        </p:sp>
      </p:grpSp>
      <p:grpSp>
        <p:nvGrpSpPr>
          <p:cNvPr id="12" name="Group 11"/>
          <p:cNvGrpSpPr/>
          <p:nvPr/>
        </p:nvGrpSpPr>
        <p:grpSpPr>
          <a:xfrm>
            <a:off x="8235886" y="4140961"/>
            <a:ext cx="384467" cy="384467"/>
            <a:chOff x="8431377" y="-766784"/>
            <a:chExt cx="457200" cy="457200"/>
          </a:xfrm>
          <a:solidFill>
            <a:schemeClr val="bg2">
              <a:lumMod val="10000"/>
            </a:schemeClr>
          </a:solidFill>
        </p:grpSpPr>
        <p:sp>
          <p:nvSpPr>
            <p:cNvPr id="1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kern="0" dirty="0">
                <a:solidFill>
                  <a:srgbClr val="505050"/>
                </a:solidFill>
              </a:endParaRPr>
            </a:p>
          </p:txBody>
        </p:sp>
        <p:sp>
          <p:nvSpPr>
            <p:cNvPr id="1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kern="0" dirty="0">
                <a:solidFill>
                  <a:srgbClr val="505050"/>
                </a:solidFill>
              </a:endParaRPr>
            </a:p>
          </p:txBody>
        </p:sp>
      </p:grpSp>
      <p:pic>
        <p:nvPicPr>
          <p:cNvPr id="19" name="Picture 18"/>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44565" y="2304602"/>
            <a:ext cx="7404036" cy="3175270"/>
          </a:xfrm>
          <a:prstGeom prst="rect">
            <a:avLst/>
          </a:prstGeom>
        </p:spPr>
      </p:pic>
      <p:pic>
        <p:nvPicPr>
          <p:cNvPr id="20" name="Picture 19"/>
          <p:cNvPicPr>
            <a:picLocks noChangeAspect="1"/>
          </p:cNvPicPr>
          <p:nvPr/>
        </p:nvPicPr>
        <p:blipFill>
          <a:blip r:embed="rId4"/>
          <a:stretch>
            <a:fillRect/>
          </a:stretch>
        </p:blipFill>
        <p:spPr>
          <a:xfrm>
            <a:off x="2479236" y="6249313"/>
            <a:ext cx="7673768" cy="565613"/>
          </a:xfrm>
          <a:prstGeom prst="rect">
            <a:avLst/>
          </a:prstGeom>
        </p:spPr>
      </p:pic>
    </p:spTree>
    <p:extLst>
      <p:ext uri="{BB962C8B-B14F-4D97-AF65-F5344CB8AC3E}">
        <p14:creationId xmlns:p14="http://schemas.microsoft.com/office/powerpoint/2010/main" val="177160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250"/>
                                        <p:tgtEl>
                                          <p:spTgt spid="19"/>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9">
                                            <p:txEl>
                                              <p:pRg st="0" end="0"/>
                                            </p:txEl>
                                          </p:spTgt>
                                        </p:tgtEl>
                                        <p:attrNameLst>
                                          <p:attrName>style.visibility</p:attrName>
                                        </p:attrNameLst>
                                      </p:cBhvr>
                                      <p:to>
                                        <p:strVal val="visible"/>
                                      </p:to>
                                    </p:set>
                                    <p:animEffect transition="in" filter="fade">
                                      <p:cBhvr>
                                        <p:cTn id="10" dur="500"/>
                                        <p:tgtEl>
                                          <p:spTgt spid="9">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500"/>
                                  </p:stCondLst>
                                  <p:childTnLst>
                                    <p:set>
                                      <p:cBhvr>
                                        <p:cTn id="14" dur="1" fill="hold">
                                          <p:stCondLst>
                                            <p:cond delay="0"/>
                                          </p:stCondLst>
                                        </p:cTn>
                                        <p:tgtEl>
                                          <p:spTgt spid="9">
                                            <p:txEl>
                                              <p:pRg st="1" end="1"/>
                                            </p:txEl>
                                          </p:spTgt>
                                        </p:tgtEl>
                                        <p:attrNameLst>
                                          <p:attrName>style.visibility</p:attrName>
                                        </p:attrNameLst>
                                      </p:cBhvr>
                                      <p:to>
                                        <p:strVal val="visible"/>
                                      </p:to>
                                    </p:set>
                                    <p:animEffect transition="in" filter="fade">
                                      <p:cBhvr>
                                        <p:cTn id="15" dur="500"/>
                                        <p:tgtEl>
                                          <p:spTgt spid="9">
                                            <p:txEl>
                                              <p:pRg st="1" end="1"/>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750"/>
                                  </p:stCondLst>
                                  <p:childTnLst>
                                    <p:set>
                                      <p:cBhvr>
                                        <p:cTn id="19" dur="1" fill="hold">
                                          <p:stCondLst>
                                            <p:cond delay="0"/>
                                          </p:stCondLst>
                                        </p:cTn>
                                        <p:tgtEl>
                                          <p:spTgt spid="9">
                                            <p:txEl>
                                              <p:pRg st="2" end="2"/>
                                            </p:txEl>
                                          </p:spTgt>
                                        </p:tgtEl>
                                        <p:attrNameLst>
                                          <p:attrName>style.visibility</p:attrName>
                                        </p:attrNameLst>
                                      </p:cBhvr>
                                      <p:to>
                                        <p:strVal val="visible"/>
                                      </p:to>
                                    </p:set>
                                    <p:animEffect transition="in" filter="fade">
                                      <p:cBhvr>
                                        <p:cTn id="20" dur="500"/>
                                        <p:tgtEl>
                                          <p:spTgt spid="9">
                                            <p:txEl>
                                              <p:pRg st="2" end="2"/>
                                            </p:txEl>
                                          </p:spTgt>
                                        </p:tgtEl>
                                      </p:cBhvr>
                                    </p:animEffect>
                                  </p:childTnLst>
                                </p:cTn>
                              </p:par>
                              <p:par>
                                <p:cTn id="21" presetID="10" presetClass="entr" presetSubtype="0" fill="hold" nodeType="withEffect">
                                  <p:stCondLst>
                                    <p:cond delay="25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63" presetClass="path" presetSubtype="0" accel="50000" decel="50000" fill="hold" nodeType="withEffect">
                                  <p:stCondLst>
                                    <p:cond delay="250"/>
                                  </p:stCondLst>
                                  <p:childTnLst>
                                    <p:animMotion origin="layout" path="M -0.03064 2.68271E-6 L 2.99464E-6 2.68271E-6 " pathEditMode="relative" rAng="0" ptsTypes="AA">
                                      <p:cBhvr>
                                        <p:cTn id="25" dur="500" fill="hold"/>
                                        <p:tgtEl>
                                          <p:spTgt spid="10"/>
                                        </p:tgtEl>
                                        <p:attrNameLst>
                                          <p:attrName>ppt_x</p:attrName>
                                          <p:attrName>ppt_y</p:attrName>
                                        </p:attrNameLst>
                                      </p:cBhvr>
                                      <p:rCtr x="1532" y="0"/>
                                    </p:animMotion>
                                  </p:childTnLst>
                                </p:cTn>
                              </p:par>
                              <p:par>
                                <p:cTn id="26" presetID="10" presetClass="entr" presetSubtype="0" fill="hold" nodeType="withEffect">
                                  <p:stCondLst>
                                    <p:cond delay="50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500"/>
                                        <p:tgtEl>
                                          <p:spTgt spid="11"/>
                                        </p:tgtEl>
                                      </p:cBhvr>
                                    </p:animEffect>
                                  </p:childTnLst>
                                </p:cTn>
                              </p:par>
                              <p:par>
                                <p:cTn id="29" presetID="63" presetClass="path" presetSubtype="0" accel="50000" decel="50000" fill="hold" nodeType="withEffect">
                                  <p:stCondLst>
                                    <p:cond delay="500"/>
                                  </p:stCondLst>
                                  <p:childTnLst>
                                    <p:animMotion origin="layout" path="M -0.03064 1.52973E-6 L 2.99464E-6 1.52973E-6 " pathEditMode="relative" rAng="0" ptsTypes="AA">
                                      <p:cBhvr>
                                        <p:cTn id="30" dur="500" fill="hold"/>
                                        <p:tgtEl>
                                          <p:spTgt spid="11"/>
                                        </p:tgtEl>
                                        <p:attrNameLst>
                                          <p:attrName>ppt_x</p:attrName>
                                          <p:attrName>ppt_y</p:attrName>
                                        </p:attrNameLst>
                                      </p:cBhvr>
                                      <p:rCtr x="1532" y="0"/>
                                    </p:animMotion>
                                  </p:childTnLst>
                                </p:cTn>
                              </p:par>
                              <p:par>
                                <p:cTn id="31" presetID="10" presetClass="entr" presetSubtype="0" fill="hold" nodeType="withEffect">
                                  <p:stCondLst>
                                    <p:cond delay="750"/>
                                  </p:stCondLst>
                                  <p:childTnLst>
                                    <p:set>
                                      <p:cBhvr>
                                        <p:cTn id="32" dur="1" fill="hold">
                                          <p:stCondLst>
                                            <p:cond delay="0"/>
                                          </p:stCondLst>
                                        </p:cTn>
                                        <p:tgtEl>
                                          <p:spTgt spid="12"/>
                                        </p:tgtEl>
                                        <p:attrNameLst>
                                          <p:attrName>style.visibility</p:attrName>
                                        </p:attrNameLst>
                                      </p:cBhvr>
                                      <p:to>
                                        <p:strVal val="visible"/>
                                      </p:to>
                                    </p:set>
                                    <p:animEffect transition="in" filter="fade">
                                      <p:cBhvr>
                                        <p:cTn id="33" dur="500"/>
                                        <p:tgtEl>
                                          <p:spTgt spid="12"/>
                                        </p:tgtEl>
                                      </p:cBhvr>
                                    </p:animEffect>
                                  </p:childTnLst>
                                </p:cTn>
                              </p:par>
                              <p:par>
                                <p:cTn id="34" presetID="63" presetClass="path" presetSubtype="0" accel="50000" decel="50000" fill="hold" nodeType="withEffect">
                                  <p:stCondLst>
                                    <p:cond delay="750"/>
                                  </p:stCondLst>
                                  <p:childTnLst>
                                    <p:animMotion origin="layout" path="M -0.03064 3.76759E-7 L 2.99464E-6 3.76759E-7 " pathEditMode="relative" rAng="0" ptsTypes="AA">
                                      <p:cBhvr>
                                        <p:cTn id="35" dur="500" fill="hold"/>
                                        <p:tgtEl>
                                          <p:spTgt spid="12"/>
                                        </p:tgtEl>
                                        <p:attrNameLst>
                                          <p:attrName>ppt_x</p:attrName>
                                          <p:attrName>ppt_y</p:attrName>
                                        </p:attrNameLst>
                                      </p:cBhvr>
                                      <p:rCtr x="1532" y="0"/>
                                    </p:animMotion>
                                  </p:childTnLst>
                                </p:cTn>
                              </p:par>
                              <p:par>
                                <p:cTn id="36" presetID="10" presetClass="entr" presetSubtype="0" fill="hold" nodeType="withEffect">
                                  <p:stCondLst>
                                    <p:cond delay="750"/>
                                  </p:stCondLst>
                                  <p:childTnLst>
                                    <p:set>
                                      <p:cBhvr>
                                        <p:cTn id="37" dur="1" fill="hold">
                                          <p:stCondLst>
                                            <p:cond delay="0"/>
                                          </p:stCondLst>
                                        </p:cTn>
                                        <p:tgtEl>
                                          <p:spTgt spid="20"/>
                                        </p:tgtEl>
                                        <p:attrNameLst>
                                          <p:attrName>style.visibility</p:attrName>
                                        </p:attrNameLst>
                                      </p:cBhvr>
                                      <p:to>
                                        <p:strVal val="visible"/>
                                      </p:to>
                                    </p:set>
                                    <p:animEffect transition="in" filter="fade">
                                      <p:cBhvr>
                                        <p:cTn id="38"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p:cNvGrpSpPr/>
          <p:nvPr/>
        </p:nvGrpSpPr>
        <p:grpSpPr>
          <a:xfrm>
            <a:off x="3889610" y="1932876"/>
            <a:ext cx="2400354" cy="4877732"/>
            <a:chOff x="3854410" y="1932654"/>
            <a:chExt cx="2400695" cy="4878424"/>
          </a:xfrm>
        </p:grpSpPr>
        <p:grpSp>
          <p:nvGrpSpPr>
            <p:cNvPr id="21" name="Group 20"/>
            <p:cNvGrpSpPr/>
            <p:nvPr/>
          </p:nvGrpSpPr>
          <p:grpSpPr>
            <a:xfrm>
              <a:off x="3854410" y="1932655"/>
              <a:ext cx="2400695" cy="4765008"/>
              <a:chOff x="3084598" y="1932655"/>
              <a:chExt cx="2400695" cy="4765008"/>
            </a:xfrm>
          </p:grpSpPr>
          <p:sp>
            <p:nvSpPr>
              <p:cNvPr id="3" name="Rectangle 2"/>
              <p:cNvSpPr/>
              <p:nvPr/>
            </p:nvSpPr>
            <p:spPr bwMode="auto">
              <a:xfrm>
                <a:off x="3084598" y="1932655"/>
                <a:ext cx="2125513" cy="4765008"/>
              </a:xfrm>
              <a:prstGeom prst="rect">
                <a:avLst/>
              </a:prstGeom>
              <a:solidFill>
                <a:srgbClr val="D9D9D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17">
                        <a:srgbClr val="000000"/>
                      </a:gs>
                      <a:gs pos="100000">
                        <a:srgbClr val="000000"/>
                      </a:gs>
                    </a:gsLst>
                    <a:lin ang="5400000" scaled="0"/>
                  </a:gradFill>
                </a:endParaRPr>
              </a:p>
            </p:txBody>
          </p:sp>
          <p:sp>
            <p:nvSpPr>
              <p:cNvPr id="157" name="Rectangle 156"/>
              <p:cNvSpPr/>
              <p:nvPr/>
            </p:nvSpPr>
            <p:spPr bwMode="auto">
              <a:xfrm>
                <a:off x="3084598" y="3044079"/>
                <a:ext cx="2185416" cy="10290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17">
                        <a:srgbClr val="000000"/>
                      </a:gs>
                      <a:gs pos="100000">
                        <a:srgbClr val="000000"/>
                      </a:gs>
                    </a:gsLst>
                    <a:lin ang="5400000" scaled="0"/>
                  </a:gradFill>
                </a:endParaRPr>
              </a:p>
            </p:txBody>
          </p:sp>
          <p:sp>
            <p:nvSpPr>
              <p:cNvPr id="159" name="Rectangle 158"/>
              <p:cNvSpPr/>
              <p:nvPr/>
            </p:nvSpPr>
            <p:spPr bwMode="auto">
              <a:xfrm>
                <a:off x="3084598" y="4261941"/>
                <a:ext cx="2185416" cy="10290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17">
                        <a:srgbClr val="000000"/>
                      </a:gs>
                      <a:gs pos="100000">
                        <a:srgbClr val="000000"/>
                      </a:gs>
                    </a:gsLst>
                    <a:lin ang="5400000" scaled="0"/>
                  </a:gradFill>
                </a:endParaRPr>
              </a:p>
            </p:txBody>
          </p:sp>
          <p:sp>
            <p:nvSpPr>
              <p:cNvPr id="160" name="Rectangle 159"/>
              <p:cNvSpPr/>
              <p:nvPr/>
            </p:nvSpPr>
            <p:spPr bwMode="auto">
              <a:xfrm>
                <a:off x="3084598" y="5479802"/>
                <a:ext cx="2185416" cy="10290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17">
                        <a:srgbClr val="000000"/>
                      </a:gs>
                      <a:gs pos="100000">
                        <a:srgbClr val="000000"/>
                      </a:gs>
                    </a:gsLst>
                    <a:lin ang="5400000" scaled="0"/>
                  </a:gradFill>
                </a:endParaRPr>
              </a:p>
            </p:txBody>
          </p:sp>
          <p:sp>
            <p:nvSpPr>
              <p:cNvPr id="161" name="Rectangle 160"/>
              <p:cNvSpPr/>
              <p:nvPr/>
            </p:nvSpPr>
            <p:spPr bwMode="auto">
              <a:xfrm>
                <a:off x="3379101" y="2150632"/>
                <a:ext cx="2106192" cy="67194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defRPr/>
                </a:pPr>
                <a:r>
                  <a:rPr lang="en-US" sz="1199" kern="0" spc="50" dirty="0">
                    <a:solidFill>
                      <a:schemeClr val="bg2">
                        <a:lumMod val="10000"/>
                      </a:schemeClr>
                    </a:solidFill>
                  </a:rPr>
                  <a:t>Stream </a:t>
                </a:r>
                <a:br>
                  <a:rPr lang="en-US" sz="1199" kern="0" spc="50" dirty="0">
                    <a:solidFill>
                      <a:schemeClr val="bg2">
                        <a:lumMod val="10000"/>
                      </a:schemeClr>
                    </a:solidFill>
                  </a:rPr>
                </a:br>
                <a:r>
                  <a:rPr lang="en-US" sz="1199" kern="0" spc="50" dirty="0">
                    <a:solidFill>
                      <a:schemeClr val="bg2">
                        <a:lumMod val="10000"/>
                      </a:schemeClr>
                    </a:solidFill>
                  </a:rPr>
                  <a:t>Analytics</a:t>
                </a:r>
              </a:p>
            </p:txBody>
          </p:sp>
          <p:sp>
            <p:nvSpPr>
              <p:cNvPr id="162" name="Rectangle 161"/>
              <p:cNvSpPr/>
              <p:nvPr/>
            </p:nvSpPr>
            <p:spPr bwMode="auto">
              <a:xfrm>
                <a:off x="3725171" y="3368494"/>
                <a:ext cx="1520696" cy="67194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defRPr/>
                </a:pPr>
                <a:r>
                  <a:rPr lang="en-US" sz="1199" kern="0" spc="50" dirty="0">
                    <a:solidFill>
                      <a:schemeClr val="bg2">
                        <a:lumMod val="10000"/>
                      </a:schemeClr>
                    </a:solidFill>
                  </a:rPr>
                  <a:t>Machine </a:t>
                </a:r>
                <a:br>
                  <a:rPr lang="en-US" sz="1199" kern="0" spc="50" dirty="0">
                    <a:solidFill>
                      <a:schemeClr val="bg2">
                        <a:lumMod val="10000"/>
                      </a:schemeClr>
                    </a:solidFill>
                  </a:rPr>
                </a:br>
                <a:r>
                  <a:rPr lang="en-US" sz="1199" kern="0" spc="50" dirty="0">
                    <a:solidFill>
                      <a:schemeClr val="bg2">
                        <a:lumMod val="10000"/>
                      </a:schemeClr>
                    </a:solidFill>
                  </a:rPr>
                  <a:t>Learning</a:t>
                </a:r>
              </a:p>
            </p:txBody>
          </p:sp>
          <p:sp>
            <p:nvSpPr>
              <p:cNvPr id="163" name="Rectangle 162"/>
              <p:cNvSpPr/>
              <p:nvPr/>
            </p:nvSpPr>
            <p:spPr bwMode="auto">
              <a:xfrm>
                <a:off x="3725171" y="4586355"/>
                <a:ext cx="1534342" cy="67194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defRPr/>
                </a:pPr>
                <a:r>
                  <a:rPr lang="en-US" sz="1199" kern="0" spc="50" dirty="0">
                    <a:solidFill>
                      <a:schemeClr val="bg2">
                        <a:lumMod val="10000"/>
                      </a:schemeClr>
                    </a:solidFill>
                  </a:rPr>
                  <a:t>Statistical </a:t>
                </a:r>
                <a:br>
                  <a:rPr lang="en-US" sz="1199" kern="0" spc="50" dirty="0">
                    <a:solidFill>
                      <a:schemeClr val="bg2">
                        <a:lumMod val="10000"/>
                      </a:schemeClr>
                    </a:solidFill>
                  </a:rPr>
                </a:br>
                <a:r>
                  <a:rPr lang="en-US" sz="1199" kern="0" spc="50" dirty="0">
                    <a:solidFill>
                      <a:schemeClr val="bg2">
                        <a:lumMod val="10000"/>
                      </a:schemeClr>
                    </a:solidFill>
                  </a:rPr>
                  <a:t>Analysis</a:t>
                </a:r>
              </a:p>
            </p:txBody>
          </p:sp>
          <p:sp>
            <p:nvSpPr>
              <p:cNvPr id="164" name="Rectangle 163"/>
              <p:cNvSpPr/>
              <p:nvPr/>
            </p:nvSpPr>
            <p:spPr bwMode="auto">
              <a:xfrm>
                <a:off x="3315289" y="5804217"/>
                <a:ext cx="1944224" cy="67194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defRPr/>
                </a:pPr>
                <a:r>
                  <a:rPr lang="en-US" sz="1199" kern="0" spc="50" dirty="0">
                    <a:solidFill>
                      <a:schemeClr val="bg2">
                        <a:lumMod val="10000"/>
                      </a:schemeClr>
                    </a:solidFill>
                  </a:rPr>
                  <a:t>Intelligent </a:t>
                </a:r>
                <a:br>
                  <a:rPr lang="en-US" sz="1199" kern="0" spc="50" dirty="0">
                    <a:solidFill>
                      <a:schemeClr val="bg2">
                        <a:lumMod val="10000"/>
                      </a:schemeClr>
                    </a:solidFill>
                  </a:rPr>
                </a:br>
                <a:r>
                  <a:rPr lang="en-US" sz="1199" kern="0" spc="50" dirty="0">
                    <a:solidFill>
                      <a:schemeClr val="bg2">
                        <a:lumMod val="10000"/>
                      </a:schemeClr>
                    </a:solidFill>
                  </a:rPr>
                  <a:t>Apps</a:t>
                </a:r>
              </a:p>
            </p:txBody>
          </p:sp>
        </p:grpSp>
        <p:grpSp>
          <p:nvGrpSpPr>
            <p:cNvPr id="20" name="Group 19"/>
            <p:cNvGrpSpPr/>
            <p:nvPr/>
          </p:nvGrpSpPr>
          <p:grpSpPr>
            <a:xfrm>
              <a:off x="4787361" y="1932654"/>
              <a:ext cx="1254925" cy="4878424"/>
              <a:chOff x="4150155" y="1932654"/>
              <a:chExt cx="1254925" cy="4878424"/>
            </a:xfrm>
          </p:grpSpPr>
          <p:sp>
            <p:nvSpPr>
              <p:cNvPr id="22" name="Rectangle 21"/>
              <p:cNvSpPr/>
              <p:nvPr/>
            </p:nvSpPr>
            <p:spPr bwMode="auto">
              <a:xfrm rot="10800000">
                <a:off x="4837936" y="1932654"/>
                <a:ext cx="532616" cy="4765007"/>
              </a:xfrm>
              <a:prstGeom prst="rect">
                <a:avLst/>
              </a:prstGeom>
              <a:solidFill>
                <a:schemeClr val="bg2">
                  <a:lumMod val="10000"/>
                </a:schemeClr>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defRPr/>
                </a:pPr>
                <a:r>
                  <a:rPr lang="en-US" sz="2000" b="1" kern="0" spc="50" dirty="0">
                    <a:gradFill>
                      <a:gsLst>
                        <a:gs pos="0">
                          <a:srgbClr val="FFFFFF"/>
                        </a:gs>
                        <a:gs pos="83000">
                          <a:srgbClr val="FFFFFF"/>
                        </a:gs>
                      </a:gsLst>
                      <a:lin ang="5400000" scaled="1"/>
                    </a:gradFill>
                  </a:rPr>
                  <a:t>INTELLIGENCE</a:t>
                </a:r>
              </a:p>
            </p:txBody>
          </p:sp>
          <p:sp>
            <p:nvSpPr>
              <p:cNvPr id="153" name="Right Triangle 152"/>
              <p:cNvSpPr/>
              <p:nvPr/>
            </p:nvSpPr>
            <p:spPr bwMode="auto">
              <a:xfrm rot="10800000">
                <a:off x="4150155" y="1932655"/>
                <a:ext cx="693270" cy="1490472"/>
              </a:xfrm>
              <a:prstGeom prst="rtTriangle">
                <a:avLst/>
              </a:prstGeom>
              <a:solidFill>
                <a:schemeClr val="bg2">
                  <a:lumMod val="10000"/>
                </a:schemeClr>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defRPr/>
                </a:pPr>
                <a:endParaRPr lang="en-US" sz="2000" b="1" kern="0" spc="50" dirty="0">
                  <a:gradFill>
                    <a:gsLst>
                      <a:gs pos="0">
                        <a:srgbClr val="FFFFFF"/>
                      </a:gs>
                      <a:gs pos="83000">
                        <a:srgbClr val="FFFFFF"/>
                      </a:gs>
                    </a:gsLst>
                    <a:lin ang="5400000" scaled="1"/>
                  </a:gradFill>
                </a:endParaRPr>
              </a:p>
            </p:txBody>
          </p:sp>
          <p:sp>
            <p:nvSpPr>
              <p:cNvPr id="154" name="Right Triangle 153"/>
              <p:cNvSpPr/>
              <p:nvPr/>
            </p:nvSpPr>
            <p:spPr bwMode="auto">
              <a:xfrm rot="10800000" flipV="1">
                <a:off x="4150156" y="5207190"/>
                <a:ext cx="693270" cy="1490472"/>
              </a:xfrm>
              <a:prstGeom prst="rtTriangle">
                <a:avLst/>
              </a:prstGeom>
              <a:solidFill>
                <a:schemeClr val="bg2">
                  <a:lumMod val="10000"/>
                </a:schemeClr>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defRPr/>
                </a:pPr>
                <a:endParaRPr lang="en-US" sz="2000" b="1" kern="0" spc="50" dirty="0">
                  <a:gradFill>
                    <a:gsLst>
                      <a:gs pos="0">
                        <a:srgbClr val="FFFFFF"/>
                      </a:gs>
                      <a:gs pos="83000">
                        <a:srgbClr val="FFFFFF"/>
                      </a:gs>
                    </a:gsLst>
                    <a:lin ang="5400000" scaled="1"/>
                  </a:gradFill>
                </a:endParaRPr>
              </a:p>
            </p:txBody>
          </p:sp>
          <p:pic>
            <p:nvPicPr>
              <p:cNvPr id="152" name="Picture 151"/>
              <p:cNvPicPr>
                <a:picLocks noChangeAspect="1"/>
              </p:cNvPicPr>
              <p:nvPr/>
            </p:nvPicPr>
            <p:blipFill rotWithShape="1">
              <a:blip r:embed="rId3" cstate="screen">
                <a:alphaModFix amt="30000"/>
                <a:biLevel thresh="25000"/>
                <a:extLst>
                  <a:ext uri="{28A0092B-C50C-407E-A947-70E740481C1C}">
                    <a14:useLocalDpi xmlns:a14="http://schemas.microsoft.com/office/drawing/2010/main" val="0"/>
                  </a:ext>
                </a:extLst>
              </a:blip>
              <a:srcRect l="-2367" t="-304" r="-2877" b="-6526"/>
              <a:stretch/>
            </p:blipFill>
            <p:spPr>
              <a:xfrm>
                <a:off x="4232374" y="5932652"/>
                <a:ext cx="872711" cy="878426"/>
              </a:xfrm>
              <a:prstGeom prst="rect">
                <a:avLst/>
              </a:prstGeom>
              <a:blipFill dpi="0" rotWithShape="1">
                <a:blip r:embed="rId4" cstate="print">
                  <a:alphaModFix amt="30000"/>
                  <a:biLevel thresh="25000"/>
                </a:blip>
                <a:srcRect/>
                <a:stretch>
                  <a:fillRect/>
                </a:stretch>
              </a:blipFill>
              <a:ln w="55000" cap="flat" cmpd="thickThin" algn="ctr">
                <a:noFill/>
                <a:prstDash val="solid"/>
                <a:headEnd type="none" w="med" len="med"/>
                <a:tailEnd type="none" w="med" len="med"/>
              </a:ln>
              <a:effectLst/>
            </p:spPr>
          </p:pic>
          <p:sp>
            <p:nvSpPr>
              <p:cNvPr id="156" name="Right Triangle 155"/>
              <p:cNvSpPr/>
              <p:nvPr/>
            </p:nvSpPr>
            <p:spPr bwMode="auto">
              <a:xfrm rot="10800000">
                <a:off x="4711809" y="1932655"/>
                <a:ext cx="693270" cy="1490472"/>
              </a:xfrm>
              <a:prstGeom prst="rtTriangle">
                <a:avLst/>
              </a:prstGeom>
              <a:solidFill>
                <a:schemeClr val="bg1"/>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defRPr/>
                </a:pPr>
                <a:endParaRPr lang="en-US" sz="2000" b="1" kern="0" spc="50" dirty="0">
                  <a:gradFill>
                    <a:gsLst>
                      <a:gs pos="0">
                        <a:srgbClr val="FFFFFF"/>
                      </a:gs>
                      <a:gs pos="83000">
                        <a:srgbClr val="FFFFFF"/>
                      </a:gs>
                    </a:gsLst>
                    <a:lin ang="5400000" scaled="1"/>
                  </a:gradFill>
                </a:endParaRPr>
              </a:p>
            </p:txBody>
          </p:sp>
          <p:sp>
            <p:nvSpPr>
              <p:cNvPr id="158" name="Right Triangle 157"/>
              <p:cNvSpPr/>
              <p:nvPr/>
            </p:nvSpPr>
            <p:spPr bwMode="auto">
              <a:xfrm rot="10800000" flipV="1">
                <a:off x="4711810" y="5207190"/>
                <a:ext cx="693270" cy="1490472"/>
              </a:xfrm>
              <a:prstGeom prst="rtTriangle">
                <a:avLst/>
              </a:prstGeom>
              <a:solidFill>
                <a:schemeClr val="bg1"/>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defRPr/>
                </a:pPr>
                <a:endParaRPr lang="en-US" sz="2000" b="1" kern="0" spc="50" dirty="0">
                  <a:gradFill>
                    <a:gsLst>
                      <a:gs pos="0">
                        <a:srgbClr val="FFFFFF"/>
                      </a:gs>
                      <a:gs pos="83000">
                        <a:srgbClr val="FFFFFF"/>
                      </a:gs>
                    </a:gsLst>
                    <a:lin ang="5400000" scaled="1"/>
                  </a:gradFill>
                </a:endParaRPr>
              </a:p>
            </p:txBody>
          </p:sp>
        </p:grpSp>
      </p:grpSp>
      <p:sp>
        <p:nvSpPr>
          <p:cNvPr id="27" name="Rectangle 26"/>
          <p:cNvSpPr/>
          <p:nvPr/>
        </p:nvSpPr>
        <p:spPr bwMode="auto">
          <a:xfrm>
            <a:off x="3538972" y="1932876"/>
            <a:ext cx="1091606" cy="4764332"/>
          </a:xfrm>
          <a:custGeom>
            <a:avLst/>
            <a:gdLst>
              <a:gd name="connsiteX0" fmla="*/ 0 w 364509"/>
              <a:gd name="connsiteY0" fmla="*/ 0 h 4765008"/>
              <a:gd name="connsiteX1" fmla="*/ 364509 w 364509"/>
              <a:gd name="connsiteY1" fmla="*/ 0 h 4765008"/>
              <a:gd name="connsiteX2" fmla="*/ 364509 w 364509"/>
              <a:gd name="connsiteY2" fmla="*/ 4765008 h 4765008"/>
              <a:gd name="connsiteX3" fmla="*/ 0 w 364509"/>
              <a:gd name="connsiteY3" fmla="*/ 4765008 h 4765008"/>
              <a:gd name="connsiteX4" fmla="*/ 0 w 364509"/>
              <a:gd name="connsiteY4" fmla="*/ 0 h 4765008"/>
              <a:gd name="connsiteX0" fmla="*/ 0 w 366661"/>
              <a:gd name="connsiteY0" fmla="*/ 0 h 4765008"/>
              <a:gd name="connsiteX1" fmla="*/ 364509 w 366661"/>
              <a:gd name="connsiteY1" fmla="*/ 0 h 4765008"/>
              <a:gd name="connsiteX2" fmla="*/ 366661 w 366661"/>
              <a:gd name="connsiteY2" fmla="*/ 1543971 h 4765008"/>
              <a:gd name="connsiteX3" fmla="*/ 364509 w 366661"/>
              <a:gd name="connsiteY3" fmla="*/ 4765008 h 4765008"/>
              <a:gd name="connsiteX4" fmla="*/ 0 w 366661"/>
              <a:gd name="connsiteY4" fmla="*/ 4765008 h 4765008"/>
              <a:gd name="connsiteX5" fmla="*/ 0 w 366661"/>
              <a:gd name="connsiteY5" fmla="*/ 0 h 4765008"/>
              <a:gd name="connsiteX0" fmla="*/ 0 w 1052461"/>
              <a:gd name="connsiteY0" fmla="*/ 0 h 4765008"/>
              <a:gd name="connsiteX1" fmla="*/ 364509 w 1052461"/>
              <a:gd name="connsiteY1" fmla="*/ 0 h 4765008"/>
              <a:gd name="connsiteX2" fmla="*/ 1052461 w 1052461"/>
              <a:gd name="connsiteY2" fmla="*/ 1505871 h 4765008"/>
              <a:gd name="connsiteX3" fmla="*/ 364509 w 1052461"/>
              <a:gd name="connsiteY3" fmla="*/ 4765008 h 4765008"/>
              <a:gd name="connsiteX4" fmla="*/ 0 w 1052461"/>
              <a:gd name="connsiteY4" fmla="*/ 4765008 h 4765008"/>
              <a:gd name="connsiteX5" fmla="*/ 0 w 1052461"/>
              <a:gd name="connsiteY5" fmla="*/ 0 h 4765008"/>
              <a:gd name="connsiteX0" fmla="*/ 0 w 1052812"/>
              <a:gd name="connsiteY0" fmla="*/ 0 h 4765008"/>
              <a:gd name="connsiteX1" fmla="*/ 364509 w 1052812"/>
              <a:gd name="connsiteY1" fmla="*/ 0 h 4765008"/>
              <a:gd name="connsiteX2" fmla="*/ 1052461 w 1052812"/>
              <a:gd name="connsiteY2" fmla="*/ 1505871 h 4765008"/>
              <a:gd name="connsiteX3" fmla="*/ 364509 w 1052812"/>
              <a:gd name="connsiteY3" fmla="*/ 4765008 h 4765008"/>
              <a:gd name="connsiteX4" fmla="*/ 0 w 1052812"/>
              <a:gd name="connsiteY4" fmla="*/ 4765008 h 4765008"/>
              <a:gd name="connsiteX5" fmla="*/ 0 w 1052812"/>
              <a:gd name="connsiteY5" fmla="*/ 0 h 4765008"/>
              <a:gd name="connsiteX0" fmla="*/ 0 w 1052812"/>
              <a:gd name="connsiteY0" fmla="*/ 0 h 4765008"/>
              <a:gd name="connsiteX1" fmla="*/ 364509 w 1052812"/>
              <a:gd name="connsiteY1" fmla="*/ 0 h 4765008"/>
              <a:gd name="connsiteX2" fmla="*/ 1052461 w 1052812"/>
              <a:gd name="connsiteY2" fmla="*/ 1505871 h 4765008"/>
              <a:gd name="connsiteX3" fmla="*/ 364509 w 1052812"/>
              <a:gd name="connsiteY3" fmla="*/ 4765008 h 4765008"/>
              <a:gd name="connsiteX4" fmla="*/ 0 w 1052812"/>
              <a:gd name="connsiteY4" fmla="*/ 4765008 h 4765008"/>
              <a:gd name="connsiteX5" fmla="*/ 0 w 1052812"/>
              <a:gd name="connsiteY5" fmla="*/ 0 h 4765008"/>
              <a:gd name="connsiteX0" fmla="*/ 0 w 1081373"/>
              <a:gd name="connsiteY0" fmla="*/ 0 h 4765008"/>
              <a:gd name="connsiteX1" fmla="*/ 364509 w 1081373"/>
              <a:gd name="connsiteY1" fmla="*/ 0 h 4765008"/>
              <a:gd name="connsiteX2" fmla="*/ 1081036 w 1081373"/>
              <a:gd name="connsiteY2" fmla="*/ 1515396 h 4765008"/>
              <a:gd name="connsiteX3" fmla="*/ 364509 w 1081373"/>
              <a:gd name="connsiteY3" fmla="*/ 4765008 h 4765008"/>
              <a:gd name="connsiteX4" fmla="*/ 0 w 1081373"/>
              <a:gd name="connsiteY4" fmla="*/ 4765008 h 4765008"/>
              <a:gd name="connsiteX5" fmla="*/ 0 w 1081373"/>
              <a:gd name="connsiteY5" fmla="*/ 0 h 4765008"/>
              <a:gd name="connsiteX0" fmla="*/ 0 w 1085820"/>
              <a:gd name="connsiteY0" fmla="*/ 0 h 4765008"/>
              <a:gd name="connsiteX1" fmla="*/ 364509 w 1085820"/>
              <a:gd name="connsiteY1" fmla="*/ 0 h 4765008"/>
              <a:gd name="connsiteX2" fmla="*/ 1081036 w 1085820"/>
              <a:gd name="connsiteY2" fmla="*/ 1515396 h 4765008"/>
              <a:gd name="connsiteX3" fmla="*/ 661935 w 1085820"/>
              <a:gd name="connsiteY3" fmla="*/ 3287046 h 4765008"/>
              <a:gd name="connsiteX4" fmla="*/ 364509 w 1085820"/>
              <a:gd name="connsiteY4" fmla="*/ 4765008 h 4765008"/>
              <a:gd name="connsiteX5" fmla="*/ 0 w 1085820"/>
              <a:gd name="connsiteY5" fmla="*/ 4765008 h 4765008"/>
              <a:gd name="connsiteX6" fmla="*/ 0 w 1085820"/>
              <a:gd name="connsiteY6" fmla="*/ 0 h 4765008"/>
              <a:gd name="connsiteX0" fmla="*/ 0 w 1146918"/>
              <a:gd name="connsiteY0" fmla="*/ 0 h 4765008"/>
              <a:gd name="connsiteX1" fmla="*/ 364509 w 1146918"/>
              <a:gd name="connsiteY1" fmla="*/ 0 h 4765008"/>
              <a:gd name="connsiteX2" fmla="*/ 1081036 w 1146918"/>
              <a:gd name="connsiteY2" fmla="*/ 1515396 h 4765008"/>
              <a:gd name="connsiteX3" fmla="*/ 1081035 w 1146918"/>
              <a:gd name="connsiteY3" fmla="*/ 3258471 h 4765008"/>
              <a:gd name="connsiteX4" fmla="*/ 364509 w 1146918"/>
              <a:gd name="connsiteY4" fmla="*/ 4765008 h 4765008"/>
              <a:gd name="connsiteX5" fmla="*/ 0 w 1146918"/>
              <a:gd name="connsiteY5" fmla="*/ 4765008 h 4765008"/>
              <a:gd name="connsiteX6" fmla="*/ 0 w 1146918"/>
              <a:gd name="connsiteY6" fmla="*/ 0 h 4765008"/>
              <a:gd name="connsiteX0" fmla="*/ 0 w 1146918"/>
              <a:gd name="connsiteY0" fmla="*/ 0 h 4765008"/>
              <a:gd name="connsiteX1" fmla="*/ 364509 w 1146918"/>
              <a:gd name="connsiteY1" fmla="*/ 0 h 4765008"/>
              <a:gd name="connsiteX2" fmla="*/ 1081036 w 1146918"/>
              <a:gd name="connsiteY2" fmla="*/ 1515396 h 4765008"/>
              <a:gd name="connsiteX3" fmla="*/ 1081035 w 1146918"/>
              <a:gd name="connsiteY3" fmla="*/ 3258471 h 4765008"/>
              <a:gd name="connsiteX4" fmla="*/ 364509 w 1146918"/>
              <a:gd name="connsiteY4" fmla="*/ 4765008 h 4765008"/>
              <a:gd name="connsiteX5" fmla="*/ 0 w 1146918"/>
              <a:gd name="connsiteY5" fmla="*/ 4765008 h 4765008"/>
              <a:gd name="connsiteX6" fmla="*/ 0 w 1146918"/>
              <a:gd name="connsiteY6" fmla="*/ 0 h 4765008"/>
              <a:gd name="connsiteX0" fmla="*/ 0 w 1104250"/>
              <a:gd name="connsiteY0" fmla="*/ 0 h 4765008"/>
              <a:gd name="connsiteX1" fmla="*/ 364509 w 1104250"/>
              <a:gd name="connsiteY1" fmla="*/ 0 h 4765008"/>
              <a:gd name="connsiteX2" fmla="*/ 1081036 w 1104250"/>
              <a:gd name="connsiteY2" fmla="*/ 1515396 h 4765008"/>
              <a:gd name="connsiteX3" fmla="*/ 1081035 w 1104250"/>
              <a:gd name="connsiteY3" fmla="*/ 3258471 h 4765008"/>
              <a:gd name="connsiteX4" fmla="*/ 364509 w 1104250"/>
              <a:gd name="connsiteY4" fmla="*/ 4765008 h 4765008"/>
              <a:gd name="connsiteX5" fmla="*/ 0 w 1104250"/>
              <a:gd name="connsiteY5" fmla="*/ 4765008 h 4765008"/>
              <a:gd name="connsiteX6" fmla="*/ 0 w 1104250"/>
              <a:gd name="connsiteY6" fmla="*/ 0 h 4765008"/>
              <a:gd name="connsiteX0" fmla="*/ 0 w 1083808"/>
              <a:gd name="connsiteY0" fmla="*/ 0 h 4765008"/>
              <a:gd name="connsiteX1" fmla="*/ 364509 w 1083808"/>
              <a:gd name="connsiteY1" fmla="*/ 0 h 4765008"/>
              <a:gd name="connsiteX2" fmla="*/ 1081036 w 1083808"/>
              <a:gd name="connsiteY2" fmla="*/ 1515396 h 4765008"/>
              <a:gd name="connsiteX3" fmla="*/ 1081035 w 1083808"/>
              <a:gd name="connsiteY3" fmla="*/ 3258471 h 4765008"/>
              <a:gd name="connsiteX4" fmla="*/ 364509 w 1083808"/>
              <a:gd name="connsiteY4" fmla="*/ 4765008 h 4765008"/>
              <a:gd name="connsiteX5" fmla="*/ 0 w 1083808"/>
              <a:gd name="connsiteY5" fmla="*/ 4765008 h 4765008"/>
              <a:gd name="connsiteX6" fmla="*/ 0 w 1083808"/>
              <a:gd name="connsiteY6" fmla="*/ 0 h 4765008"/>
              <a:gd name="connsiteX0" fmla="*/ 0 w 1090920"/>
              <a:gd name="connsiteY0" fmla="*/ 0 h 4765008"/>
              <a:gd name="connsiteX1" fmla="*/ 364509 w 1090920"/>
              <a:gd name="connsiteY1" fmla="*/ 0 h 4765008"/>
              <a:gd name="connsiteX2" fmla="*/ 1090561 w 1090920"/>
              <a:gd name="connsiteY2" fmla="*/ 1518571 h 4765008"/>
              <a:gd name="connsiteX3" fmla="*/ 1081035 w 1090920"/>
              <a:gd name="connsiteY3" fmla="*/ 3258471 h 4765008"/>
              <a:gd name="connsiteX4" fmla="*/ 364509 w 1090920"/>
              <a:gd name="connsiteY4" fmla="*/ 4765008 h 4765008"/>
              <a:gd name="connsiteX5" fmla="*/ 0 w 1090920"/>
              <a:gd name="connsiteY5" fmla="*/ 4765008 h 4765008"/>
              <a:gd name="connsiteX6" fmla="*/ 0 w 1090920"/>
              <a:gd name="connsiteY6" fmla="*/ 0 h 4765008"/>
              <a:gd name="connsiteX0" fmla="*/ 0 w 1091761"/>
              <a:gd name="connsiteY0" fmla="*/ 0 h 4765008"/>
              <a:gd name="connsiteX1" fmla="*/ 364509 w 1091761"/>
              <a:gd name="connsiteY1" fmla="*/ 0 h 4765008"/>
              <a:gd name="connsiteX2" fmla="*/ 1090561 w 1091761"/>
              <a:gd name="connsiteY2" fmla="*/ 1518571 h 4765008"/>
              <a:gd name="connsiteX3" fmla="*/ 1087385 w 1091761"/>
              <a:gd name="connsiteY3" fmla="*/ 3267996 h 4765008"/>
              <a:gd name="connsiteX4" fmla="*/ 364509 w 1091761"/>
              <a:gd name="connsiteY4" fmla="*/ 4765008 h 4765008"/>
              <a:gd name="connsiteX5" fmla="*/ 0 w 1091761"/>
              <a:gd name="connsiteY5" fmla="*/ 4765008 h 4765008"/>
              <a:gd name="connsiteX6" fmla="*/ 0 w 1091761"/>
              <a:gd name="connsiteY6" fmla="*/ 0 h 476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1761" h="4765008">
                <a:moveTo>
                  <a:pt x="0" y="0"/>
                </a:moveTo>
                <a:lnTo>
                  <a:pt x="364509" y="0"/>
                </a:lnTo>
                <a:cubicBezTo>
                  <a:pt x="365226" y="307"/>
                  <a:pt x="1108894" y="1508739"/>
                  <a:pt x="1090561" y="1518571"/>
                </a:cubicBezTo>
                <a:cubicBezTo>
                  <a:pt x="1092507" y="1523487"/>
                  <a:pt x="1092506" y="3212169"/>
                  <a:pt x="1087385" y="3267996"/>
                </a:cubicBezTo>
                <a:cubicBezTo>
                  <a:pt x="1082264" y="3266673"/>
                  <a:pt x="474831" y="4518681"/>
                  <a:pt x="364509" y="4765008"/>
                </a:cubicBezTo>
                <a:lnTo>
                  <a:pt x="0" y="4765008"/>
                </a:lnTo>
                <a:lnTo>
                  <a:pt x="0" y="0"/>
                </a:ln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17">
                    <a:srgbClr val="000000"/>
                  </a:gs>
                  <a:gs pos="100000">
                    <a:srgbClr val="000000"/>
                  </a:gs>
                </a:gsLst>
                <a:lin ang="5400000" scaled="0"/>
              </a:gradFill>
            </a:endParaRPr>
          </a:p>
        </p:txBody>
      </p:sp>
      <p:grpSp>
        <p:nvGrpSpPr>
          <p:cNvPr id="19" name="Group 18" hidden="1"/>
          <p:cNvGrpSpPr/>
          <p:nvPr/>
        </p:nvGrpSpPr>
        <p:grpSpPr>
          <a:xfrm>
            <a:off x="881" y="1932881"/>
            <a:ext cx="4638017" cy="4764329"/>
            <a:chOff x="152400" y="2085058"/>
            <a:chExt cx="4638675" cy="4765005"/>
          </a:xfrm>
        </p:grpSpPr>
        <p:sp>
          <p:nvSpPr>
            <p:cNvPr id="71" name="Rectangle 70"/>
            <p:cNvSpPr/>
            <p:nvPr/>
          </p:nvSpPr>
          <p:spPr bwMode="auto">
            <a:xfrm>
              <a:off x="152400" y="3707696"/>
              <a:ext cx="4638675" cy="1519729"/>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17">
                      <a:srgbClr val="000000"/>
                    </a:gs>
                    <a:gs pos="100000">
                      <a:srgbClr val="000000"/>
                    </a:gs>
                  </a:gsLst>
                  <a:lin ang="5400000" scaled="0"/>
                </a:gradFill>
              </a:endParaRPr>
            </a:p>
          </p:txBody>
        </p:sp>
        <p:grpSp>
          <p:nvGrpSpPr>
            <p:cNvPr id="77" name="Group 76"/>
            <p:cNvGrpSpPr/>
            <p:nvPr/>
          </p:nvGrpSpPr>
          <p:grpSpPr>
            <a:xfrm>
              <a:off x="152400" y="2085058"/>
              <a:ext cx="4638675" cy="1519729"/>
              <a:chOff x="0" y="1932658"/>
              <a:chExt cx="4638675" cy="1519729"/>
            </a:xfrm>
          </p:grpSpPr>
          <p:sp>
            <p:nvSpPr>
              <p:cNvPr id="97" name="Rectangle 96"/>
              <p:cNvSpPr/>
              <p:nvPr/>
            </p:nvSpPr>
            <p:spPr bwMode="auto">
              <a:xfrm>
                <a:off x="0" y="1932658"/>
                <a:ext cx="3912624" cy="1519729"/>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17">
                        <a:srgbClr val="000000"/>
                      </a:gs>
                      <a:gs pos="100000">
                        <a:srgbClr val="000000"/>
                      </a:gs>
                    </a:gsLst>
                    <a:lin ang="5400000" scaled="0"/>
                  </a:gradFill>
                </a:endParaRPr>
              </a:p>
            </p:txBody>
          </p:sp>
          <p:sp>
            <p:nvSpPr>
              <p:cNvPr id="98" name="Rectangle 9"/>
              <p:cNvSpPr/>
              <p:nvPr/>
            </p:nvSpPr>
            <p:spPr bwMode="auto">
              <a:xfrm>
                <a:off x="3912624" y="1932658"/>
                <a:ext cx="726051" cy="1519729"/>
              </a:xfrm>
              <a:custGeom>
                <a:avLst/>
                <a:gdLst>
                  <a:gd name="connsiteX0" fmla="*/ 0 w 726051"/>
                  <a:gd name="connsiteY0" fmla="*/ 0 h 1519729"/>
                  <a:gd name="connsiteX1" fmla="*/ 726051 w 726051"/>
                  <a:gd name="connsiteY1" fmla="*/ 0 h 1519729"/>
                  <a:gd name="connsiteX2" fmla="*/ 726051 w 726051"/>
                  <a:gd name="connsiteY2" fmla="*/ 1519729 h 1519729"/>
                  <a:gd name="connsiteX3" fmla="*/ 0 w 726051"/>
                  <a:gd name="connsiteY3" fmla="*/ 1519729 h 1519729"/>
                  <a:gd name="connsiteX4" fmla="*/ 0 w 726051"/>
                  <a:gd name="connsiteY4" fmla="*/ 0 h 1519729"/>
                  <a:gd name="connsiteX0" fmla="*/ 0 w 726051"/>
                  <a:gd name="connsiteY0" fmla="*/ 0 h 1519729"/>
                  <a:gd name="connsiteX1" fmla="*/ 726051 w 726051"/>
                  <a:gd name="connsiteY1" fmla="*/ 1519729 h 1519729"/>
                  <a:gd name="connsiteX2" fmla="*/ 0 w 726051"/>
                  <a:gd name="connsiteY2" fmla="*/ 1519729 h 1519729"/>
                  <a:gd name="connsiteX3" fmla="*/ 0 w 726051"/>
                  <a:gd name="connsiteY3" fmla="*/ 0 h 1519729"/>
                </a:gdLst>
                <a:ahLst/>
                <a:cxnLst>
                  <a:cxn ang="0">
                    <a:pos x="connsiteX0" y="connsiteY0"/>
                  </a:cxn>
                  <a:cxn ang="0">
                    <a:pos x="connsiteX1" y="connsiteY1"/>
                  </a:cxn>
                  <a:cxn ang="0">
                    <a:pos x="connsiteX2" y="connsiteY2"/>
                  </a:cxn>
                  <a:cxn ang="0">
                    <a:pos x="connsiteX3" y="connsiteY3"/>
                  </a:cxn>
                </a:cxnLst>
                <a:rect l="l" t="t" r="r" b="b"/>
                <a:pathLst>
                  <a:path w="726051" h="1519729">
                    <a:moveTo>
                      <a:pt x="0" y="0"/>
                    </a:moveTo>
                    <a:lnTo>
                      <a:pt x="726051" y="1519729"/>
                    </a:lnTo>
                    <a:lnTo>
                      <a:pt x="0" y="1519729"/>
                    </a:lnTo>
                    <a:lnTo>
                      <a:pt x="0" y="0"/>
                    </a:lnTo>
                    <a:close/>
                  </a:path>
                </a:pathLst>
              </a:cu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17">
                        <a:srgbClr val="000000"/>
                      </a:gs>
                      <a:gs pos="100000">
                        <a:srgbClr val="000000"/>
                      </a:gs>
                    </a:gsLst>
                    <a:lin ang="5400000" scaled="0"/>
                  </a:gradFill>
                </a:endParaRPr>
              </a:p>
            </p:txBody>
          </p:sp>
        </p:grpSp>
        <p:grpSp>
          <p:nvGrpSpPr>
            <p:cNvPr id="101" name="Group 100"/>
            <p:cNvGrpSpPr/>
            <p:nvPr/>
          </p:nvGrpSpPr>
          <p:grpSpPr>
            <a:xfrm>
              <a:off x="152400" y="5330334"/>
              <a:ext cx="4638675" cy="1519729"/>
              <a:chOff x="0" y="5177934"/>
              <a:chExt cx="4638675" cy="1519729"/>
            </a:xfrm>
          </p:grpSpPr>
          <p:sp>
            <p:nvSpPr>
              <p:cNvPr id="104" name="Rectangle 103"/>
              <p:cNvSpPr/>
              <p:nvPr/>
            </p:nvSpPr>
            <p:spPr bwMode="auto">
              <a:xfrm>
                <a:off x="0" y="5177934"/>
                <a:ext cx="3912624" cy="1519729"/>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17">
                        <a:srgbClr val="000000"/>
                      </a:gs>
                      <a:gs pos="100000">
                        <a:srgbClr val="000000"/>
                      </a:gs>
                    </a:gsLst>
                    <a:lin ang="5400000" scaled="0"/>
                  </a:gradFill>
                </a:endParaRPr>
              </a:p>
            </p:txBody>
          </p:sp>
          <p:sp>
            <p:nvSpPr>
              <p:cNvPr id="105" name="Rectangle 9"/>
              <p:cNvSpPr/>
              <p:nvPr/>
            </p:nvSpPr>
            <p:spPr bwMode="auto">
              <a:xfrm flipV="1">
                <a:off x="3912624" y="5177934"/>
                <a:ext cx="726051" cy="1519729"/>
              </a:xfrm>
              <a:custGeom>
                <a:avLst/>
                <a:gdLst>
                  <a:gd name="connsiteX0" fmla="*/ 0 w 726051"/>
                  <a:gd name="connsiteY0" fmla="*/ 0 h 1519729"/>
                  <a:gd name="connsiteX1" fmla="*/ 726051 w 726051"/>
                  <a:gd name="connsiteY1" fmla="*/ 0 h 1519729"/>
                  <a:gd name="connsiteX2" fmla="*/ 726051 w 726051"/>
                  <a:gd name="connsiteY2" fmla="*/ 1519729 h 1519729"/>
                  <a:gd name="connsiteX3" fmla="*/ 0 w 726051"/>
                  <a:gd name="connsiteY3" fmla="*/ 1519729 h 1519729"/>
                  <a:gd name="connsiteX4" fmla="*/ 0 w 726051"/>
                  <a:gd name="connsiteY4" fmla="*/ 0 h 1519729"/>
                  <a:gd name="connsiteX0" fmla="*/ 0 w 726051"/>
                  <a:gd name="connsiteY0" fmla="*/ 0 h 1519729"/>
                  <a:gd name="connsiteX1" fmla="*/ 726051 w 726051"/>
                  <a:gd name="connsiteY1" fmla="*/ 1519729 h 1519729"/>
                  <a:gd name="connsiteX2" fmla="*/ 0 w 726051"/>
                  <a:gd name="connsiteY2" fmla="*/ 1519729 h 1519729"/>
                  <a:gd name="connsiteX3" fmla="*/ 0 w 726051"/>
                  <a:gd name="connsiteY3" fmla="*/ 0 h 1519729"/>
                </a:gdLst>
                <a:ahLst/>
                <a:cxnLst>
                  <a:cxn ang="0">
                    <a:pos x="connsiteX0" y="connsiteY0"/>
                  </a:cxn>
                  <a:cxn ang="0">
                    <a:pos x="connsiteX1" y="connsiteY1"/>
                  </a:cxn>
                  <a:cxn ang="0">
                    <a:pos x="connsiteX2" y="connsiteY2"/>
                  </a:cxn>
                  <a:cxn ang="0">
                    <a:pos x="connsiteX3" y="connsiteY3"/>
                  </a:cxn>
                </a:cxnLst>
                <a:rect l="l" t="t" r="r" b="b"/>
                <a:pathLst>
                  <a:path w="726051" h="1519729">
                    <a:moveTo>
                      <a:pt x="0" y="0"/>
                    </a:moveTo>
                    <a:lnTo>
                      <a:pt x="726051" y="1519729"/>
                    </a:lnTo>
                    <a:lnTo>
                      <a:pt x="0" y="1519729"/>
                    </a:lnTo>
                    <a:lnTo>
                      <a:pt x="0" y="0"/>
                    </a:lnTo>
                    <a:close/>
                  </a:path>
                </a:pathLst>
              </a:cu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17">
                        <a:srgbClr val="000000"/>
                      </a:gs>
                      <a:gs pos="100000">
                        <a:srgbClr val="000000"/>
                      </a:gs>
                    </a:gsLst>
                    <a:lin ang="5400000" scaled="0"/>
                  </a:gradFill>
                </a:endParaRPr>
              </a:p>
            </p:txBody>
          </p:sp>
        </p:grpSp>
        <p:grpSp>
          <p:nvGrpSpPr>
            <p:cNvPr id="106" name="Group 105"/>
            <p:cNvGrpSpPr/>
            <p:nvPr/>
          </p:nvGrpSpPr>
          <p:grpSpPr>
            <a:xfrm>
              <a:off x="427037" y="2085058"/>
              <a:ext cx="2721870" cy="1257141"/>
              <a:chOff x="274637" y="1932658"/>
              <a:chExt cx="2721870" cy="1257141"/>
            </a:xfrm>
          </p:grpSpPr>
          <p:sp>
            <p:nvSpPr>
              <p:cNvPr id="107" name="Rectangle 106"/>
              <p:cNvSpPr/>
              <p:nvPr/>
            </p:nvSpPr>
            <p:spPr bwMode="auto">
              <a:xfrm>
                <a:off x="274637" y="1932658"/>
                <a:ext cx="2721870" cy="57246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defRPr/>
                </a:pPr>
                <a:r>
                  <a:rPr lang="en-US" sz="1800" b="1" kern="0" spc="50" dirty="0">
                    <a:gradFill>
                      <a:gsLst>
                        <a:gs pos="0">
                          <a:srgbClr val="FFFFFF"/>
                        </a:gs>
                        <a:gs pos="83000">
                          <a:srgbClr val="FFFFFF"/>
                        </a:gs>
                      </a:gsLst>
                      <a:lin ang="5400000" scaled="1"/>
                    </a:gradFill>
                  </a:rPr>
                  <a:t>MICROSOFT CLOUD</a:t>
                </a:r>
              </a:p>
            </p:txBody>
          </p:sp>
          <p:sp>
            <p:nvSpPr>
              <p:cNvPr id="108" name="Freeform 107"/>
              <p:cNvSpPr>
                <a:spLocks noChangeAspect="1" noEditPoints="1"/>
              </p:cNvSpPr>
              <p:nvPr/>
            </p:nvSpPr>
            <p:spPr bwMode="auto">
              <a:xfrm>
                <a:off x="443851" y="2945052"/>
                <a:ext cx="1729192" cy="244747"/>
              </a:xfrm>
              <a:custGeom>
                <a:avLst/>
                <a:gdLst>
                  <a:gd name="T0" fmla="*/ 261 w 2216"/>
                  <a:gd name="T1" fmla="*/ 97 h 311"/>
                  <a:gd name="T2" fmla="*/ 3 w 2216"/>
                  <a:gd name="T3" fmla="*/ 256 h 311"/>
                  <a:gd name="T4" fmla="*/ 124 w 2216"/>
                  <a:gd name="T5" fmla="*/ 205 h 311"/>
                  <a:gd name="T6" fmla="*/ 8 w 2216"/>
                  <a:gd name="T7" fmla="*/ 250 h 311"/>
                  <a:gd name="T8" fmla="*/ 9 w 2216"/>
                  <a:gd name="T9" fmla="*/ 252 h 311"/>
                  <a:gd name="T10" fmla="*/ 504 w 2216"/>
                  <a:gd name="T11" fmla="*/ 123 h 311"/>
                  <a:gd name="T12" fmla="*/ 502 w 2216"/>
                  <a:gd name="T13" fmla="*/ 91 h 311"/>
                  <a:gd name="T14" fmla="*/ 356 w 2216"/>
                  <a:gd name="T15" fmla="*/ 252 h 311"/>
                  <a:gd name="T16" fmla="*/ 20 w 2216"/>
                  <a:gd name="T17" fmla="*/ 242 h 311"/>
                  <a:gd name="T18" fmla="*/ 7 w 2216"/>
                  <a:gd name="T19" fmla="*/ 252 h 311"/>
                  <a:gd name="T20" fmla="*/ 208 w 2216"/>
                  <a:gd name="T21" fmla="*/ 224 h 311"/>
                  <a:gd name="T22" fmla="*/ 137 w 2216"/>
                  <a:gd name="T23" fmla="*/ 208 h 311"/>
                  <a:gd name="T24" fmla="*/ 1209 w 2216"/>
                  <a:gd name="T25" fmla="*/ 154 h 311"/>
                  <a:gd name="T26" fmla="*/ 1187 w 2216"/>
                  <a:gd name="T27" fmla="*/ 112 h 311"/>
                  <a:gd name="T28" fmla="*/ 1175 w 2216"/>
                  <a:gd name="T29" fmla="*/ 84 h 311"/>
                  <a:gd name="T30" fmla="*/ 1124 w 2216"/>
                  <a:gd name="T31" fmla="*/ 157 h 311"/>
                  <a:gd name="T32" fmla="*/ 1146 w 2216"/>
                  <a:gd name="T33" fmla="*/ 154 h 311"/>
                  <a:gd name="T34" fmla="*/ 1822 w 2216"/>
                  <a:gd name="T35" fmla="*/ 156 h 311"/>
                  <a:gd name="T36" fmla="*/ 1822 w 2216"/>
                  <a:gd name="T37" fmla="*/ 191 h 311"/>
                  <a:gd name="T38" fmla="*/ 1896 w 2216"/>
                  <a:gd name="T39" fmla="*/ 254 h 311"/>
                  <a:gd name="T40" fmla="*/ 1969 w 2216"/>
                  <a:gd name="T41" fmla="*/ 253 h 311"/>
                  <a:gd name="T42" fmla="*/ 1822 w 2216"/>
                  <a:gd name="T43" fmla="*/ 156 h 311"/>
                  <a:gd name="T44" fmla="*/ 1532 w 2216"/>
                  <a:gd name="T45" fmla="*/ 142 h 311"/>
                  <a:gd name="T46" fmla="*/ 1486 w 2216"/>
                  <a:gd name="T47" fmla="*/ 258 h 311"/>
                  <a:gd name="T48" fmla="*/ 1565 w 2216"/>
                  <a:gd name="T49" fmla="*/ 252 h 311"/>
                  <a:gd name="T50" fmla="*/ 1644 w 2216"/>
                  <a:gd name="T51" fmla="*/ 252 h 311"/>
                  <a:gd name="T52" fmla="*/ 1587 w 2216"/>
                  <a:gd name="T53" fmla="*/ 154 h 311"/>
                  <a:gd name="T54" fmla="*/ 2181 w 2216"/>
                  <a:gd name="T55" fmla="*/ 189 h 311"/>
                  <a:gd name="T56" fmla="*/ 2151 w 2216"/>
                  <a:gd name="T57" fmla="*/ 146 h 311"/>
                  <a:gd name="T58" fmla="*/ 901 w 2216"/>
                  <a:gd name="T59" fmla="*/ 252 h 311"/>
                  <a:gd name="T60" fmla="*/ 964 w 2216"/>
                  <a:gd name="T61" fmla="*/ 158 h 311"/>
                  <a:gd name="T62" fmla="*/ 939 w 2216"/>
                  <a:gd name="T63" fmla="*/ 242 h 311"/>
                  <a:gd name="T64" fmla="*/ 2106 w 2216"/>
                  <a:gd name="T65" fmla="*/ 258 h 311"/>
                  <a:gd name="T66" fmla="*/ 2127 w 2216"/>
                  <a:gd name="T67" fmla="*/ 160 h 311"/>
                  <a:gd name="T68" fmla="*/ 649 w 2216"/>
                  <a:gd name="T69" fmla="*/ 136 h 311"/>
                  <a:gd name="T70" fmla="*/ 738 w 2216"/>
                  <a:gd name="T71" fmla="*/ 144 h 311"/>
                  <a:gd name="T72" fmla="*/ 725 w 2216"/>
                  <a:gd name="T73" fmla="*/ 256 h 311"/>
                  <a:gd name="T74" fmla="*/ 573 w 2216"/>
                  <a:gd name="T75" fmla="*/ 138 h 311"/>
                  <a:gd name="T76" fmla="*/ 576 w 2216"/>
                  <a:gd name="T77" fmla="*/ 158 h 311"/>
                  <a:gd name="T78" fmla="*/ 1995 w 2216"/>
                  <a:gd name="T79" fmla="*/ 100 h 311"/>
                  <a:gd name="T80" fmla="*/ 12 w 2216"/>
                  <a:gd name="T81" fmla="*/ 250 h 311"/>
                  <a:gd name="T82" fmla="*/ 6 w 2216"/>
                  <a:gd name="T83" fmla="*/ 253 h 311"/>
                  <a:gd name="T84" fmla="*/ 18 w 2216"/>
                  <a:gd name="T85" fmla="*/ 244 h 311"/>
                  <a:gd name="T86" fmla="*/ 8 w 2216"/>
                  <a:gd name="T87" fmla="*/ 250 h 311"/>
                  <a:gd name="T88" fmla="*/ 13 w 2216"/>
                  <a:gd name="T89" fmla="*/ 246 h 311"/>
                  <a:gd name="T90" fmla="*/ 12 w 2216"/>
                  <a:gd name="T91" fmla="*/ 247 h 311"/>
                  <a:gd name="T92" fmla="*/ 9 w 2216"/>
                  <a:gd name="T93" fmla="*/ 251 h 311"/>
                  <a:gd name="T94" fmla="*/ 6 w 2216"/>
                  <a:gd name="T95" fmla="*/ 253 h 311"/>
                  <a:gd name="T96" fmla="*/ 14 w 2216"/>
                  <a:gd name="T97" fmla="*/ 246 h 311"/>
                  <a:gd name="T98" fmla="*/ 8 w 2216"/>
                  <a:gd name="T99" fmla="*/ 250 h 311"/>
                  <a:gd name="T100" fmla="*/ 6 w 2216"/>
                  <a:gd name="T101" fmla="*/ 252 h 311"/>
                  <a:gd name="T102" fmla="*/ 6 w 2216"/>
                  <a:gd name="T103" fmla="*/ 253 h 311"/>
                  <a:gd name="T104" fmla="*/ 1307 w 2216"/>
                  <a:gd name="T105" fmla="*/ 91 h 311"/>
                  <a:gd name="T106" fmla="*/ 1323 w 2216"/>
                  <a:gd name="T107" fmla="*/ 112 h 311"/>
                  <a:gd name="T108" fmla="*/ 1756 w 2216"/>
                  <a:gd name="T109" fmla="*/ 249 h 311"/>
                  <a:gd name="T110" fmla="*/ 1754 w 2216"/>
                  <a:gd name="T111" fmla="*/ 168 h 311"/>
                  <a:gd name="T112" fmla="*/ 1775 w 2216"/>
                  <a:gd name="T113" fmla="*/ 253 h 311"/>
                  <a:gd name="T114" fmla="*/ 1756 w 2216"/>
                  <a:gd name="T115" fmla="*/ 204 h 311"/>
                  <a:gd name="T116" fmla="*/ 1099 w 2216"/>
                  <a:gd name="T117" fmla="*/ 203 h 311"/>
                  <a:gd name="T118" fmla="*/ 1075 w 2216"/>
                  <a:gd name="T119" fmla="*/ 223 h 311"/>
                  <a:gd name="T120" fmla="*/ 882 w 2216"/>
                  <a:gd name="T121" fmla="*/ 172 h 311"/>
                  <a:gd name="T122" fmla="*/ 867 w 2216"/>
                  <a:gd name="T123" fmla="*/ 198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6" h="311">
                    <a:moveTo>
                      <a:pt x="22" y="246"/>
                    </a:moveTo>
                    <a:cubicBezTo>
                      <a:pt x="30" y="243"/>
                      <a:pt x="38" y="240"/>
                      <a:pt x="47" y="237"/>
                    </a:cubicBezTo>
                    <a:cubicBezTo>
                      <a:pt x="67" y="231"/>
                      <a:pt x="88" y="226"/>
                      <a:pt x="110" y="224"/>
                    </a:cubicBezTo>
                    <a:cubicBezTo>
                      <a:pt x="128" y="222"/>
                      <a:pt x="147" y="222"/>
                      <a:pt x="165" y="223"/>
                    </a:cubicBezTo>
                    <a:cubicBezTo>
                      <a:pt x="180" y="225"/>
                      <a:pt x="195" y="227"/>
                      <a:pt x="209" y="230"/>
                    </a:cubicBezTo>
                    <a:cubicBezTo>
                      <a:pt x="212" y="231"/>
                      <a:pt x="214" y="230"/>
                      <a:pt x="216" y="230"/>
                    </a:cubicBezTo>
                    <a:cubicBezTo>
                      <a:pt x="216" y="230"/>
                      <a:pt x="216" y="229"/>
                      <a:pt x="216" y="228"/>
                    </a:cubicBezTo>
                    <a:cubicBezTo>
                      <a:pt x="216" y="228"/>
                      <a:pt x="216" y="227"/>
                      <a:pt x="216" y="226"/>
                    </a:cubicBezTo>
                    <a:cubicBezTo>
                      <a:pt x="216" y="198"/>
                      <a:pt x="216" y="170"/>
                      <a:pt x="216" y="142"/>
                    </a:cubicBezTo>
                    <a:cubicBezTo>
                      <a:pt x="216" y="139"/>
                      <a:pt x="217" y="138"/>
                      <a:pt x="219" y="137"/>
                    </a:cubicBezTo>
                    <a:cubicBezTo>
                      <a:pt x="233" y="123"/>
                      <a:pt x="248" y="111"/>
                      <a:pt x="261" y="97"/>
                    </a:cubicBezTo>
                    <a:cubicBezTo>
                      <a:pt x="264" y="94"/>
                      <a:pt x="266" y="92"/>
                      <a:pt x="268" y="89"/>
                    </a:cubicBezTo>
                    <a:cubicBezTo>
                      <a:pt x="269" y="88"/>
                      <a:pt x="270" y="87"/>
                      <a:pt x="271" y="88"/>
                    </a:cubicBezTo>
                    <a:cubicBezTo>
                      <a:pt x="273" y="89"/>
                      <a:pt x="274" y="90"/>
                      <a:pt x="274" y="93"/>
                    </a:cubicBezTo>
                    <a:cubicBezTo>
                      <a:pt x="274" y="146"/>
                      <a:pt x="274" y="199"/>
                      <a:pt x="274" y="252"/>
                    </a:cubicBezTo>
                    <a:cubicBezTo>
                      <a:pt x="274" y="253"/>
                      <a:pt x="275" y="255"/>
                      <a:pt x="273" y="256"/>
                    </a:cubicBezTo>
                    <a:cubicBezTo>
                      <a:pt x="271" y="257"/>
                      <a:pt x="269" y="258"/>
                      <a:pt x="267" y="257"/>
                    </a:cubicBezTo>
                    <a:cubicBezTo>
                      <a:pt x="261" y="255"/>
                      <a:pt x="255" y="253"/>
                      <a:pt x="249" y="252"/>
                    </a:cubicBezTo>
                    <a:cubicBezTo>
                      <a:pt x="229" y="246"/>
                      <a:pt x="209" y="242"/>
                      <a:pt x="188" y="239"/>
                    </a:cubicBezTo>
                    <a:cubicBezTo>
                      <a:pt x="162" y="236"/>
                      <a:pt x="136" y="235"/>
                      <a:pt x="109" y="236"/>
                    </a:cubicBezTo>
                    <a:cubicBezTo>
                      <a:pt x="76" y="238"/>
                      <a:pt x="44" y="243"/>
                      <a:pt x="12" y="253"/>
                    </a:cubicBezTo>
                    <a:cubicBezTo>
                      <a:pt x="9" y="254"/>
                      <a:pt x="6" y="255"/>
                      <a:pt x="3" y="256"/>
                    </a:cubicBezTo>
                    <a:cubicBezTo>
                      <a:pt x="0" y="257"/>
                      <a:pt x="0" y="257"/>
                      <a:pt x="0" y="254"/>
                    </a:cubicBezTo>
                    <a:cubicBezTo>
                      <a:pt x="0" y="249"/>
                      <a:pt x="0" y="244"/>
                      <a:pt x="0" y="238"/>
                    </a:cubicBezTo>
                    <a:cubicBezTo>
                      <a:pt x="0" y="237"/>
                      <a:pt x="0" y="235"/>
                      <a:pt x="2" y="234"/>
                    </a:cubicBezTo>
                    <a:cubicBezTo>
                      <a:pt x="22" y="213"/>
                      <a:pt x="41" y="190"/>
                      <a:pt x="57" y="165"/>
                    </a:cubicBezTo>
                    <a:cubicBezTo>
                      <a:pt x="82" y="128"/>
                      <a:pt x="103" y="89"/>
                      <a:pt x="117" y="46"/>
                    </a:cubicBezTo>
                    <a:cubicBezTo>
                      <a:pt x="122" y="32"/>
                      <a:pt x="126" y="17"/>
                      <a:pt x="129" y="2"/>
                    </a:cubicBezTo>
                    <a:cubicBezTo>
                      <a:pt x="129" y="0"/>
                      <a:pt x="129" y="0"/>
                      <a:pt x="131" y="1"/>
                    </a:cubicBezTo>
                    <a:cubicBezTo>
                      <a:pt x="136" y="2"/>
                      <a:pt x="136" y="2"/>
                      <a:pt x="136" y="7"/>
                    </a:cubicBezTo>
                    <a:cubicBezTo>
                      <a:pt x="136" y="71"/>
                      <a:pt x="136" y="135"/>
                      <a:pt x="136" y="199"/>
                    </a:cubicBezTo>
                    <a:cubicBezTo>
                      <a:pt x="136" y="203"/>
                      <a:pt x="136" y="203"/>
                      <a:pt x="132" y="204"/>
                    </a:cubicBezTo>
                    <a:cubicBezTo>
                      <a:pt x="129" y="205"/>
                      <a:pt x="127" y="205"/>
                      <a:pt x="124" y="205"/>
                    </a:cubicBezTo>
                    <a:cubicBezTo>
                      <a:pt x="89" y="209"/>
                      <a:pt x="55" y="220"/>
                      <a:pt x="25" y="239"/>
                    </a:cubicBezTo>
                    <a:cubicBezTo>
                      <a:pt x="24" y="239"/>
                      <a:pt x="23" y="240"/>
                      <a:pt x="22" y="240"/>
                    </a:cubicBezTo>
                    <a:cubicBezTo>
                      <a:pt x="22" y="241"/>
                      <a:pt x="21" y="242"/>
                      <a:pt x="20" y="242"/>
                    </a:cubicBezTo>
                    <a:cubicBezTo>
                      <a:pt x="19" y="243"/>
                      <a:pt x="18" y="243"/>
                      <a:pt x="17" y="244"/>
                    </a:cubicBezTo>
                    <a:cubicBezTo>
                      <a:pt x="16" y="245"/>
                      <a:pt x="16" y="245"/>
                      <a:pt x="15" y="246"/>
                    </a:cubicBezTo>
                    <a:cubicBezTo>
                      <a:pt x="14" y="246"/>
                      <a:pt x="14" y="246"/>
                      <a:pt x="14" y="246"/>
                    </a:cubicBezTo>
                    <a:cubicBezTo>
                      <a:pt x="13" y="247"/>
                      <a:pt x="13" y="247"/>
                      <a:pt x="12" y="247"/>
                    </a:cubicBezTo>
                    <a:cubicBezTo>
                      <a:pt x="12" y="247"/>
                      <a:pt x="12" y="248"/>
                      <a:pt x="12" y="248"/>
                    </a:cubicBezTo>
                    <a:cubicBezTo>
                      <a:pt x="11" y="248"/>
                      <a:pt x="11" y="248"/>
                      <a:pt x="11" y="249"/>
                    </a:cubicBezTo>
                    <a:cubicBezTo>
                      <a:pt x="10" y="249"/>
                      <a:pt x="10" y="249"/>
                      <a:pt x="10" y="249"/>
                    </a:cubicBezTo>
                    <a:cubicBezTo>
                      <a:pt x="9" y="249"/>
                      <a:pt x="9" y="250"/>
                      <a:pt x="8" y="250"/>
                    </a:cubicBezTo>
                    <a:cubicBezTo>
                      <a:pt x="8" y="250"/>
                      <a:pt x="8" y="250"/>
                      <a:pt x="8" y="250"/>
                    </a:cubicBezTo>
                    <a:cubicBezTo>
                      <a:pt x="8" y="251"/>
                      <a:pt x="8" y="251"/>
                      <a:pt x="8" y="251"/>
                    </a:cubicBezTo>
                    <a:cubicBezTo>
                      <a:pt x="7" y="251"/>
                      <a:pt x="6" y="252"/>
                      <a:pt x="6" y="252"/>
                    </a:cubicBezTo>
                    <a:cubicBezTo>
                      <a:pt x="5" y="252"/>
                      <a:pt x="5" y="253"/>
                      <a:pt x="5" y="253"/>
                    </a:cubicBezTo>
                    <a:cubicBezTo>
                      <a:pt x="5" y="253"/>
                      <a:pt x="4" y="253"/>
                      <a:pt x="4" y="254"/>
                    </a:cubicBezTo>
                    <a:cubicBezTo>
                      <a:pt x="4" y="254"/>
                      <a:pt x="3" y="254"/>
                      <a:pt x="4" y="254"/>
                    </a:cubicBezTo>
                    <a:cubicBezTo>
                      <a:pt x="4" y="254"/>
                      <a:pt x="4" y="254"/>
                      <a:pt x="4" y="254"/>
                    </a:cubicBezTo>
                    <a:cubicBezTo>
                      <a:pt x="5" y="253"/>
                      <a:pt x="5" y="253"/>
                      <a:pt x="6" y="253"/>
                    </a:cubicBezTo>
                    <a:cubicBezTo>
                      <a:pt x="6" y="253"/>
                      <a:pt x="6" y="253"/>
                      <a:pt x="6" y="253"/>
                    </a:cubicBezTo>
                    <a:cubicBezTo>
                      <a:pt x="7" y="253"/>
                      <a:pt x="7" y="252"/>
                      <a:pt x="7" y="252"/>
                    </a:cubicBezTo>
                    <a:cubicBezTo>
                      <a:pt x="8" y="252"/>
                      <a:pt x="8" y="252"/>
                      <a:pt x="9" y="252"/>
                    </a:cubicBezTo>
                    <a:cubicBezTo>
                      <a:pt x="9" y="251"/>
                      <a:pt x="9" y="251"/>
                      <a:pt x="9" y="251"/>
                    </a:cubicBezTo>
                    <a:cubicBezTo>
                      <a:pt x="10" y="251"/>
                      <a:pt x="10" y="251"/>
                      <a:pt x="11" y="250"/>
                    </a:cubicBezTo>
                    <a:cubicBezTo>
                      <a:pt x="12" y="250"/>
                      <a:pt x="12" y="250"/>
                      <a:pt x="12" y="249"/>
                    </a:cubicBezTo>
                    <a:cubicBezTo>
                      <a:pt x="16" y="248"/>
                      <a:pt x="19" y="246"/>
                      <a:pt x="22" y="246"/>
                    </a:cubicBezTo>
                    <a:close/>
                    <a:moveTo>
                      <a:pt x="377" y="125"/>
                    </a:moveTo>
                    <a:cubicBezTo>
                      <a:pt x="395" y="167"/>
                      <a:pt x="414" y="209"/>
                      <a:pt x="433" y="250"/>
                    </a:cubicBezTo>
                    <a:cubicBezTo>
                      <a:pt x="434" y="252"/>
                      <a:pt x="434" y="254"/>
                      <a:pt x="435" y="255"/>
                    </a:cubicBezTo>
                    <a:cubicBezTo>
                      <a:pt x="437" y="256"/>
                      <a:pt x="439" y="256"/>
                      <a:pt x="441" y="256"/>
                    </a:cubicBezTo>
                    <a:cubicBezTo>
                      <a:pt x="445" y="256"/>
                      <a:pt x="445" y="256"/>
                      <a:pt x="446" y="252"/>
                    </a:cubicBezTo>
                    <a:cubicBezTo>
                      <a:pt x="465" y="210"/>
                      <a:pt x="484" y="168"/>
                      <a:pt x="502" y="126"/>
                    </a:cubicBezTo>
                    <a:cubicBezTo>
                      <a:pt x="503" y="125"/>
                      <a:pt x="503" y="124"/>
                      <a:pt x="504" y="123"/>
                    </a:cubicBezTo>
                    <a:cubicBezTo>
                      <a:pt x="504" y="123"/>
                      <a:pt x="504" y="123"/>
                      <a:pt x="504" y="123"/>
                    </a:cubicBezTo>
                    <a:cubicBezTo>
                      <a:pt x="504" y="124"/>
                      <a:pt x="504" y="125"/>
                      <a:pt x="504" y="126"/>
                    </a:cubicBezTo>
                    <a:cubicBezTo>
                      <a:pt x="504" y="168"/>
                      <a:pt x="504" y="210"/>
                      <a:pt x="504" y="251"/>
                    </a:cubicBezTo>
                    <a:cubicBezTo>
                      <a:pt x="504" y="252"/>
                      <a:pt x="505" y="253"/>
                      <a:pt x="504" y="254"/>
                    </a:cubicBezTo>
                    <a:cubicBezTo>
                      <a:pt x="504" y="255"/>
                      <a:pt x="505" y="256"/>
                      <a:pt x="507" y="256"/>
                    </a:cubicBezTo>
                    <a:cubicBezTo>
                      <a:pt x="511" y="256"/>
                      <a:pt x="515" y="256"/>
                      <a:pt x="520" y="256"/>
                    </a:cubicBezTo>
                    <a:cubicBezTo>
                      <a:pt x="524" y="256"/>
                      <a:pt x="524" y="256"/>
                      <a:pt x="524" y="252"/>
                    </a:cubicBezTo>
                    <a:cubicBezTo>
                      <a:pt x="524" y="200"/>
                      <a:pt x="524" y="147"/>
                      <a:pt x="524" y="95"/>
                    </a:cubicBezTo>
                    <a:cubicBezTo>
                      <a:pt x="524" y="94"/>
                      <a:pt x="524" y="94"/>
                      <a:pt x="524" y="93"/>
                    </a:cubicBezTo>
                    <a:cubicBezTo>
                      <a:pt x="524" y="92"/>
                      <a:pt x="523" y="91"/>
                      <a:pt x="522" y="91"/>
                    </a:cubicBezTo>
                    <a:cubicBezTo>
                      <a:pt x="515" y="91"/>
                      <a:pt x="508" y="91"/>
                      <a:pt x="502" y="91"/>
                    </a:cubicBezTo>
                    <a:cubicBezTo>
                      <a:pt x="500" y="91"/>
                      <a:pt x="499" y="92"/>
                      <a:pt x="499" y="93"/>
                    </a:cubicBezTo>
                    <a:cubicBezTo>
                      <a:pt x="496" y="99"/>
                      <a:pt x="493" y="106"/>
                      <a:pt x="490" y="112"/>
                    </a:cubicBezTo>
                    <a:cubicBezTo>
                      <a:pt x="474" y="148"/>
                      <a:pt x="458" y="184"/>
                      <a:pt x="442" y="220"/>
                    </a:cubicBezTo>
                    <a:cubicBezTo>
                      <a:pt x="441" y="221"/>
                      <a:pt x="441" y="222"/>
                      <a:pt x="440" y="223"/>
                    </a:cubicBezTo>
                    <a:cubicBezTo>
                      <a:pt x="439" y="222"/>
                      <a:pt x="439" y="221"/>
                      <a:pt x="438" y="220"/>
                    </a:cubicBezTo>
                    <a:cubicBezTo>
                      <a:pt x="433" y="208"/>
                      <a:pt x="427" y="195"/>
                      <a:pt x="422" y="183"/>
                    </a:cubicBezTo>
                    <a:cubicBezTo>
                      <a:pt x="409" y="153"/>
                      <a:pt x="396" y="124"/>
                      <a:pt x="383" y="94"/>
                    </a:cubicBezTo>
                    <a:cubicBezTo>
                      <a:pt x="382" y="92"/>
                      <a:pt x="381" y="91"/>
                      <a:pt x="378" y="91"/>
                    </a:cubicBezTo>
                    <a:cubicBezTo>
                      <a:pt x="372" y="91"/>
                      <a:pt x="366" y="91"/>
                      <a:pt x="360" y="91"/>
                    </a:cubicBezTo>
                    <a:cubicBezTo>
                      <a:pt x="356" y="91"/>
                      <a:pt x="356" y="91"/>
                      <a:pt x="356" y="95"/>
                    </a:cubicBezTo>
                    <a:cubicBezTo>
                      <a:pt x="356" y="147"/>
                      <a:pt x="356" y="200"/>
                      <a:pt x="356" y="252"/>
                    </a:cubicBezTo>
                    <a:cubicBezTo>
                      <a:pt x="356" y="252"/>
                      <a:pt x="356" y="253"/>
                      <a:pt x="356" y="254"/>
                    </a:cubicBezTo>
                    <a:cubicBezTo>
                      <a:pt x="356" y="255"/>
                      <a:pt x="357" y="256"/>
                      <a:pt x="358" y="256"/>
                    </a:cubicBezTo>
                    <a:cubicBezTo>
                      <a:pt x="362" y="256"/>
                      <a:pt x="366" y="256"/>
                      <a:pt x="369" y="256"/>
                    </a:cubicBezTo>
                    <a:cubicBezTo>
                      <a:pt x="371" y="256"/>
                      <a:pt x="373" y="256"/>
                      <a:pt x="374" y="255"/>
                    </a:cubicBezTo>
                    <a:cubicBezTo>
                      <a:pt x="375" y="254"/>
                      <a:pt x="375" y="252"/>
                      <a:pt x="375" y="251"/>
                    </a:cubicBezTo>
                    <a:cubicBezTo>
                      <a:pt x="375" y="209"/>
                      <a:pt x="375" y="167"/>
                      <a:pt x="375" y="125"/>
                    </a:cubicBezTo>
                    <a:cubicBezTo>
                      <a:pt x="375" y="124"/>
                      <a:pt x="375" y="123"/>
                      <a:pt x="375" y="122"/>
                    </a:cubicBezTo>
                    <a:cubicBezTo>
                      <a:pt x="376" y="123"/>
                      <a:pt x="376" y="124"/>
                      <a:pt x="377" y="125"/>
                    </a:cubicBezTo>
                    <a:close/>
                    <a:moveTo>
                      <a:pt x="21" y="242"/>
                    </a:moveTo>
                    <a:cubicBezTo>
                      <a:pt x="21" y="242"/>
                      <a:pt x="21" y="242"/>
                      <a:pt x="20" y="242"/>
                    </a:cubicBezTo>
                    <a:cubicBezTo>
                      <a:pt x="20" y="242"/>
                      <a:pt x="20" y="242"/>
                      <a:pt x="20" y="242"/>
                    </a:cubicBezTo>
                    <a:cubicBezTo>
                      <a:pt x="19" y="243"/>
                      <a:pt x="18" y="243"/>
                      <a:pt x="17" y="244"/>
                    </a:cubicBezTo>
                    <a:cubicBezTo>
                      <a:pt x="16" y="245"/>
                      <a:pt x="15" y="245"/>
                      <a:pt x="14" y="246"/>
                    </a:cubicBezTo>
                    <a:cubicBezTo>
                      <a:pt x="14" y="246"/>
                      <a:pt x="14" y="246"/>
                      <a:pt x="14" y="246"/>
                    </a:cubicBezTo>
                    <a:cubicBezTo>
                      <a:pt x="13" y="247"/>
                      <a:pt x="13" y="247"/>
                      <a:pt x="12" y="247"/>
                    </a:cubicBezTo>
                    <a:cubicBezTo>
                      <a:pt x="12" y="247"/>
                      <a:pt x="12" y="248"/>
                      <a:pt x="11" y="248"/>
                    </a:cubicBezTo>
                    <a:cubicBezTo>
                      <a:pt x="11" y="248"/>
                      <a:pt x="11" y="248"/>
                      <a:pt x="10" y="249"/>
                    </a:cubicBezTo>
                    <a:cubicBezTo>
                      <a:pt x="10" y="249"/>
                      <a:pt x="10" y="249"/>
                      <a:pt x="10" y="249"/>
                    </a:cubicBezTo>
                    <a:cubicBezTo>
                      <a:pt x="9" y="249"/>
                      <a:pt x="8" y="250"/>
                      <a:pt x="8" y="250"/>
                    </a:cubicBezTo>
                    <a:cubicBezTo>
                      <a:pt x="8" y="250"/>
                      <a:pt x="8" y="250"/>
                      <a:pt x="8" y="250"/>
                    </a:cubicBezTo>
                    <a:cubicBezTo>
                      <a:pt x="8" y="250"/>
                      <a:pt x="7" y="250"/>
                      <a:pt x="7" y="251"/>
                    </a:cubicBezTo>
                    <a:cubicBezTo>
                      <a:pt x="7" y="251"/>
                      <a:pt x="6" y="251"/>
                      <a:pt x="7" y="252"/>
                    </a:cubicBezTo>
                    <a:cubicBezTo>
                      <a:pt x="7" y="252"/>
                      <a:pt x="7" y="252"/>
                      <a:pt x="7" y="252"/>
                    </a:cubicBezTo>
                    <a:cubicBezTo>
                      <a:pt x="8" y="252"/>
                      <a:pt x="8" y="252"/>
                      <a:pt x="9" y="252"/>
                    </a:cubicBezTo>
                    <a:cubicBezTo>
                      <a:pt x="9" y="252"/>
                      <a:pt x="9" y="252"/>
                      <a:pt x="9" y="251"/>
                    </a:cubicBezTo>
                    <a:cubicBezTo>
                      <a:pt x="10" y="251"/>
                      <a:pt x="10" y="251"/>
                      <a:pt x="11" y="251"/>
                    </a:cubicBezTo>
                    <a:cubicBezTo>
                      <a:pt x="11" y="250"/>
                      <a:pt x="12" y="250"/>
                      <a:pt x="13" y="250"/>
                    </a:cubicBezTo>
                    <a:cubicBezTo>
                      <a:pt x="15" y="248"/>
                      <a:pt x="18" y="247"/>
                      <a:pt x="21" y="245"/>
                    </a:cubicBezTo>
                    <a:cubicBezTo>
                      <a:pt x="21" y="245"/>
                      <a:pt x="22" y="245"/>
                      <a:pt x="22" y="244"/>
                    </a:cubicBezTo>
                    <a:cubicBezTo>
                      <a:pt x="55" y="229"/>
                      <a:pt x="90" y="221"/>
                      <a:pt x="127" y="219"/>
                    </a:cubicBezTo>
                    <a:cubicBezTo>
                      <a:pt x="139" y="218"/>
                      <a:pt x="152" y="219"/>
                      <a:pt x="165" y="220"/>
                    </a:cubicBezTo>
                    <a:cubicBezTo>
                      <a:pt x="176" y="220"/>
                      <a:pt x="188" y="222"/>
                      <a:pt x="199" y="224"/>
                    </a:cubicBezTo>
                    <a:cubicBezTo>
                      <a:pt x="202" y="225"/>
                      <a:pt x="205" y="225"/>
                      <a:pt x="208" y="224"/>
                    </a:cubicBezTo>
                    <a:cubicBezTo>
                      <a:pt x="211" y="224"/>
                      <a:pt x="211" y="224"/>
                      <a:pt x="211" y="220"/>
                    </a:cubicBezTo>
                    <a:cubicBezTo>
                      <a:pt x="211" y="163"/>
                      <a:pt x="211" y="107"/>
                      <a:pt x="211" y="50"/>
                    </a:cubicBezTo>
                    <a:cubicBezTo>
                      <a:pt x="211" y="46"/>
                      <a:pt x="212" y="47"/>
                      <a:pt x="208" y="45"/>
                    </a:cubicBezTo>
                    <a:cubicBezTo>
                      <a:pt x="206" y="45"/>
                      <a:pt x="206" y="45"/>
                      <a:pt x="205" y="47"/>
                    </a:cubicBezTo>
                    <a:cubicBezTo>
                      <a:pt x="202" y="55"/>
                      <a:pt x="198" y="63"/>
                      <a:pt x="194" y="71"/>
                    </a:cubicBezTo>
                    <a:cubicBezTo>
                      <a:pt x="180" y="98"/>
                      <a:pt x="163" y="122"/>
                      <a:pt x="142" y="144"/>
                    </a:cubicBezTo>
                    <a:cubicBezTo>
                      <a:pt x="141" y="145"/>
                      <a:pt x="141" y="147"/>
                      <a:pt x="141" y="148"/>
                    </a:cubicBezTo>
                    <a:cubicBezTo>
                      <a:pt x="141" y="166"/>
                      <a:pt x="141" y="183"/>
                      <a:pt x="141" y="200"/>
                    </a:cubicBezTo>
                    <a:cubicBezTo>
                      <a:pt x="141" y="202"/>
                      <a:pt x="141" y="204"/>
                      <a:pt x="141" y="205"/>
                    </a:cubicBezTo>
                    <a:cubicBezTo>
                      <a:pt x="141" y="207"/>
                      <a:pt x="140" y="207"/>
                      <a:pt x="139" y="208"/>
                    </a:cubicBezTo>
                    <a:cubicBezTo>
                      <a:pt x="138" y="208"/>
                      <a:pt x="137" y="208"/>
                      <a:pt x="137" y="208"/>
                    </a:cubicBezTo>
                    <a:cubicBezTo>
                      <a:pt x="128" y="209"/>
                      <a:pt x="120" y="210"/>
                      <a:pt x="111" y="211"/>
                    </a:cubicBezTo>
                    <a:cubicBezTo>
                      <a:pt x="89" y="214"/>
                      <a:pt x="68" y="220"/>
                      <a:pt x="48" y="229"/>
                    </a:cubicBezTo>
                    <a:cubicBezTo>
                      <a:pt x="39" y="232"/>
                      <a:pt x="31" y="237"/>
                      <a:pt x="23" y="241"/>
                    </a:cubicBezTo>
                    <a:cubicBezTo>
                      <a:pt x="22" y="241"/>
                      <a:pt x="22" y="241"/>
                      <a:pt x="21" y="242"/>
                    </a:cubicBezTo>
                    <a:close/>
                    <a:moveTo>
                      <a:pt x="1219" y="242"/>
                    </a:moveTo>
                    <a:cubicBezTo>
                      <a:pt x="1212" y="241"/>
                      <a:pt x="1209" y="237"/>
                      <a:pt x="1207" y="231"/>
                    </a:cubicBezTo>
                    <a:cubicBezTo>
                      <a:pt x="1206" y="227"/>
                      <a:pt x="1206" y="224"/>
                      <a:pt x="1206" y="220"/>
                    </a:cubicBezTo>
                    <a:cubicBezTo>
                      <a:pt x="1206" y="199"/>
                      <a:pt x="1206" y="178"/>
                      <a:pt x="1206" y="158"/>
                    </a:cubicBezTo>
                    <a:cubicBezTo>
                      <a:pt x="1206" y="157"/>
                      <a:pt x="1206" y="156"/>
                      <a:pt x="1206" y="156"/>
                    </a:cubicBezTo>
                    <a:cubicBezTo>
                      <a:pt x="1206" y="155"/>
                      <a:pt x="1206" y="154"/>
                      <a:pt x="1207" y="154"/>
                    </a:cubicBezTo>
                    <a:cubicBezTo>
                      <a:pt x="1208" y="154"/>
                      <a:pt x="1209" y="154"/>
                      <a:pt x="1209" y="154"/>
                    </a:cubicBezTo>
                    <a:cubicBezTo>
                      <a:pt x="1217" y="154"/>
                      <a:pt x="1225" y="154"/>
                      <a:pt x="1233" y="154"/>
                    </a:cubicBezTo>
                    <a:cubicBezTo>
                      <a:pt x="1236" y="154"/>
                      <a:pt x="1236" y="154"/>
                      <a:pt x="1236" y="152"/>
                    </a:cubicBezTo>
                    <a:cubicBezTo>
                      <a:pt x="1236" y="148"/>
                      <a:pt x="1236" y="145"/>
                      <a:pt x="1236" y="141"/>
                    </a:cubicBezTo>
                    <a:cubicBezTo>
                      <a:pt x="1236" y="138"/>
                      <a:pt x="1236" y="138"/>
                      <a:pt x="1233" y="138"/>
                    </a:cubicBezTo>
                    <a:cubicBezTo>
                      <a:pt x="1225" y="138"/>
                      <a:pt x="1217" y="138"/>
                      <a:pt x="1209" y="138"/>
                    </a:cubicBezTo>
                    <a:cubicBezTo>
                      <a:pt x="1206" y="138"/>
                      <a:pt x="1206" y="138"/>
                      <a:pt x="1206" y="136"/>
                    </a:cubicBezTo>
                    <a:cubicBezTo>
                      <a:pt x="1206" y="126"/>
                      <a:pt x="1206" y="117"/>
                      <a:pt x="1206" y="107"/>
                    </a:cubicBezTo>
                    <a:cubicBezTo>
                      <a:pt x="1206" y="106"/>
                      <a:pt x="1206" y="105"/>
                      <a:pt x="1206" y="104"/>
                    </a:cubicBezTo>
                    <a:cubicBezTo>
                      <a:pt x="1205" y="104"/>
                      <a:pt x="1204" y="104"/>
                      <a:pt x="1204" y="104"/>
                    </a:cubicBezTo>
                    <a:cubicBezTo>
                      <a:pt x="1199" y="106"/>
                      <a:pt x="1194" y="107"/>
                      <a:pt x="1189" y="109"/>
                    </a:cubicBezTo>
                    <a:cubicBezTo>
                      <a:pt x="1188" y="109"/>
                      <a:pt x="1187" y="110"/>
                      <a:pt x="1187" y="112"/>
                    </a:cubicBezTo>
                    <a:cubicBezTo>
                      <a:pt x="1187" y="120"/>
                      <a:pt x="1187" y="128"/>
                      <a:pt x="1187" y="136"/>
                    </a:cubicBezTo>
                    <a:cubicBezTo>
                      <a:pt x="1187" y="138"/>
                      <a:pt x="1187" y="138"/>
                      <a:pt x="1185" y="138"/>
                    </a:cubicBezTo>
                    <a:cubicBezTo>
                      <a:pt x="1178" y="138"/>
                      <a:pt x="1171" y="138"/>
                      <a:pt x="1165" y="138"/>
                    </a:cubicBezTo>
                    <a:cubicBezTo>
                      <a:pt x="1158" y="138"/>
                      <a:pt x="1152" y="138"/>
                      <a:pt x="1145" y="138"/>
                    </a:cubicBezTo>
                    <a:cubicBezTo>
                      <a:pt x="1143" y="138"/>
                      <a:pt x="1143" y="138"/>
                      <a:pt x="1143" y="136"/>
                    </a:cubicBezTo>
                    <a:cubicBezTo>
                      <a:pt x="1143" y="130"/>
                      <a:pt x="1143" y="125"/>
                      <a:pt x="1143" y="120"/>
                    </a:cubicBezTo>
                    <a:cubicBezTo>
                      <a:pt x="1143" y="115"/>
                      <a:pt x="1143" y="111"/>
                      <a:pt x="1145" y="107"/>
                    </a:cubicBezTo>
                    <a:cubicBezTo>
                      <a:pt x="1147" y="101"/>
                      <a:pt x="1151" y="97"/>
                      <a:pt x="1158" y="96"/>
                    </a:cubicBezTo>
                    <a:cubicBezTo>
                      <a:pt x="1163" y="95"/>
                      <a:pt x="1167" y="95"/>
                      <a:pt x="1172" y="97"/>
                    </a:cubicBezTo>
                    <a:cubicBezTo>
                      <a:pt x="1173" y="97"/>
                      <a:pt x="1174" y="98"/>
                      <a:pt x="1175" y="98"/>
                    </a:cubicBezTo>
                    <a:cubicBezTo>
                      <a:pt x="1175" y="93"/>
                      <a:pt x="1175" y="88"/>
                      <a:pt x="1175" y="84"/>
                    </a:cubicBezTo>
                    <a:cubicBezTo>
                      <a:pt x="1175" y="81"/>
                      <a:pt x="1175" y="81"/>
                      <a:pt x="1173" y="81"/>
                    </a:cubicBezTo>
                    <a:cubicBezTo>
                      <a:pt x="1165" y="79"/>
                      <a:pt x="1157" y="79"/>
                      <a:pt x="1149" y="81"/>
                    </a:cubicBezTo>
                    <a:cubicBezTo>
                      <a:pt x="1135" y="86"/>
                      <a:pt x="1125" y="99"/>
                      <a:pt x="1124" y="114"/>
                    </a:cubicBezTo>
                    <a:cubicBezTo>
                      <a:pt x="1124" y="121"/>
                      <a:pt x="1124" y="128"/>
                      <a:pt x="1124" y="135"/>
                    </a:cubicBezTo>
                    <a:cubicBezTo>
                      <a:pt x="1124" y="139"/>
                      <a:pt x="1124" y="138"/>
                      <a:pt x="1121" y="138"/>
                    </a:cubicBezTo>
                    <a:cubicBezTo>
                      <a:pt x="1116" y="138"/>
                      <a:pt x="1111" y="138"/>
                      <a:pt x="1106" y="138"/>
                    </a:cubicBezTo>
                    <a:cubicBezTo>
                      <a:pt x="1104" y="138"/>
                      <a:pt x="1104" y="138"/>
                      <a:pt x="1104" y="140"/>
                    </a:cubicBezTo>
                    <a:cubicBezTo>
                      <a:pt x="1104" y="144"/>
                      <a:pt x="1104" y="148"/>
                      <a:pt x="1104" y="152"/>
                    </a:cubicBezTo>
                    <a:cubicBezTo>
                      <a:pt x="1104" y="154"/>
                      <a:pt x="1104" y="154"/>
                      <a:pt x="1106" y="154"/>
                    </a:cubicBezTo>
                    <a:cubicBezTo>
                      <a:pt x="1111" y="154"/>
                      <a:pt x="1116" y="154"/>
                      <a:pt x="1121" y="154"/>
                    </a:cubicBezTo>
                    <a:cubicBezTo>
                      <a:pt x="1124" y="154"/>
                      <a:pt x="1124" y="154"/>
                      <a:pt x="1124" y="157"/>
                    </a:cubicBezTo>
                    <a:cubicBezTo>
                      <a:pt x="1124" y="158"/>
                      <a:pt x="1124" y="159"/>
                      <a:pt x="1124" y="159"/>
                    </a:cubicBezTo>
                    <a:cubicBezTo>
                      <a:pt x="1124" y="190"/>
                      <a:pt x="1124" y="221"/>
                      <a:pt x="1124" y="251"/>
                    </a:cubicBezTo>
                    <a:cubicBezTo>
                      <a:pt x="1124" y="252"/>
                      <a:pt x="1124" y="253"/>
                      <a:pt x="1124" y="254"/>
                    </a:cubicBezTo>
                    <a:cubicBezTo>
                      <a:pt x="1124" y="255"/>
                      <a:pt x="1124" y="256"/>
                      <a:pt x="1126" y="256"/>
                    </a:cubicBezTo>
                    <a:cubicBezTo>
                      <a:pt x="1131" y="256"/>
                      <a:pt x="1135" y="256"/>
                      <a:pt x="1140" y="256"/>
                    </a:cubicBezTo>
                    <a:cubicBezTo>
                      <a:pt x="1143" y="256"/>
                      <a:pt x="1143" y="256"/>
                      <a:pt x="1143" y="253"/>
                    </a:cubicBezTo>
                    <a:cubicBezTo>
                      <a:pt x="1143" y="252"/>
                      <a:pt x="1143" y="252"/>
                      <a:pt x="1143" y="251"/>
                    </a:cubicBezTo>
                    <a:cubicBezTo>
                      <a:pt x="1143" y="220"/>
                      <a:pt x="1143" y="189"/>
                      <a:pt x="1143" y="158"/>
                    </a:cubicBezTo>
                    <a:cubicBezTo>
                      <a:pt x="1143" y="157"/>
                      <a:pt x="1143" y="156"/>
                      <a:pt x="1143" y="156"/>
                    </a:cubicBezTo>
                    <a:cubicBezTo>
                      <a:pt x="1143" y="155"/>
                      <a:pt x="1143" y="154"/>
                      <a:pt x="1144" y="154"/>
                    </a:cubicBezTo>
                    <a:cubicBezTo>
                      <a:pt x="1145" y="154"/>
                      <a:pt x="1146" y="154"/>
                      <a:pt x="1146" y="154"/>
                    </a:cubicBezTo>
                    <a:cubicBezTo>
                      <a:pt x="1159" y="154"/>
                      <a:pt x="1171" y="154"/>
                      <a:pt x="1184" y="154"/>
                    </a:cubicBezTo>
                    <a:cubicBezTo>
                      <a:pt x="1188" y="154"/>
                      <a:pt x="1187" y="154"/>
                      <a:pt x="1187" y="158"/>
                    </a:cubicBezTo>
                    <a:cubicBezTo>
                      <a:pt x="1187" y="180"/>
                      <a:pt x="1187" y="201"/>
                      <a:pt x="1187" y="223"/>
                    </a:cubicBezTo>
                    <a:cubicBezTo>
                      <a:pt x="1187" y="228"/>
                      <a:pt x="1187" y="233"/>
                      <a:pt x="1189" y="238"/>
                    </a:cubicBezTo>
                    <a:cubicBezTo>
                      <a:pt x="1191" y="246"/>
                      <a:pt x="1195" y="252"/>
                      <a:pt x="1203" y="256"/>
                    </a:cubicBezTo>
                    <a:cubicBezTo>
                      <a:pt x="1207" y="257"/>
                      <a:pt x="1212" y="258"/>
                      <a:pt x="1216" y="258"/>
                    </a:cubicBezTo>
                    <a:cubicBezTo>
                      <a:pt x="1222" y="258"/>
                      <a:pt x="1228" y="258"/>
                      <a:pt x="1234" y="256"/>
                    </a:cubicBezTo>
                    <a:cubicBezTo>
                      <a:pt x="1235" y="255"/>
                      <a:pt x="1236" y="255"/>
                      <a:pt x="1236" y="253"/>
                    </a:cubicBezTo>
                    <a:cubicBezTo>
                      <a:pt x="1236" y="248"/>
                      <a:pt x="1236" y="244"/>
                      <a:pt x="1236" y="238"/>
                    </a:cubicBezTo>
                    <a:cubicBezTo>
                      <a:pt x="1230" y="242"/>
                      <a:pt x="1224" y="243"/>
                      <a:pt x="1219" y="242"/>
                    </a:cubicBezTo>
                    <a:close/>
                    <a:moveTo>
                      <a:pt x="1822" y="156"/>
                    </a:moveTo>
                    <a:cubicBezTo>
                      <a:pt x="1822" y="151"/>
                      <a:pt x="1822" y="146"/>
                      <a:pt x="1822" y="142"/>
                    </a:cubicBezTo>
                    <a:cubicBezTo>
                      <a:pt x="1822" y="138"/>
                      <a:pt x="1822" y="138"/>
                      <a:pt x="1818" y="138"/>
                    </a:cubicBezTo>
                    <a:cubicBezTo>
                      <a:pt x="1814" y="138"/>
                      <a:pt x="1810" y="138"/>
                      <a:pt x="1806" y="138"/>
                    </a:cubicBezTo>
                    <a:cubicBezTo>
                      <a:pt x="1802" y="138"/>
                      <a:pt x="1803" y="138"/>
                      <a:pt x="1803" y="142"/>
                    </a:cubicBezTo>
                    <a:cubicBezTo>
                      <a:pt x="1803" y="179"/>
                      <a:pt x="1803" y="215"/>
                      <a:pt x="1803" y="252"/>
                    </a:cubicBezTo>
                    <a:cubicBezTo>
                      <a:pt x="1803" y="253"/>
                      <a:pt x="1803" y="254"/>
                      <a:pt x="1803" y="254"/>
                    </a:cubicBezTo>
                    <a:cubicBezTo>
                      <a:pt x="1803" y="255"/>
                      <a:pt x="1803" y="256"/>
                      <a:pt x="1804" y="256"/>
                    </a:cubicBezTo>
                    <a:cubicBezTo>
                      <a:pt x="1810" y="256"/>
                      <a:pt x="1815" y="256"/>
                      <a:pt x="1820" y="256"/>
                    </a:cubicBezTo>
                    <a:cubicBezTo>
                      <a:pt x="1821" y="256"/>
                      <a:pt x="1822" y="255"/>
                      <a:pt x="1822" y="254"/>
                    </a:cubicBezTo>
                    <a:cubicBezTo>
                      <a:pt x="1822" y="254"/>
                      <a:pt x="1822" y="253"/>
                      <a:pt x="1822" y="252"/>
                    </a:cubicBezTo>
                    <a:cubicBezTo>
                      <a:pt x="1822" y="232"/>
                      <a:pt x="1822" y="211"/>
                      <a:pt x="1822" y="191"/>
                    </a:cubicBezTo>
                    <a:cubicBezTo>
                      <a:pt x="1822" y="187"/>
                      <a:pt x="1822" y="184"/>
                      <a:pt x="1822" y="181"/>
                    </a:cubicBezTo>
                    <a:cubicBezTo>
                      <a:pt x="1823" y="174"/>
                      <a:pt x="1826" y="167"/>
                      <a:pt x="1830" y="161"/>
                    </a:cubicBezTo>
                    <a:cubicBezTo>
                      <a:pt x="1836" y="154"/>
                      <a:pt x="1843" y="151"/>
                      <a:pt x="1852" y="152"/>
                    </a:cubicBezTo>
                    <a:cubicBezTo>
                      <a:pt x="1863" y="152"/>
                      <a:pt x="1871" y="158"/>
                      <a:pt x="1874" y="169"/>
                    </a:cubicBezTo>
                    <a:cubicBezTo>
                      <a:pt x="1875" y="170"/>
                      <a:pt x="1875" y="171"/>
                      <a:pt x="1875" y="171"/>
                    </a:cubicBezTo>
                    <a:cubicBezTo>
                      <a:pt x="1876" y="177"/>
                      <a:pt x="1877" y="182"/>
                      <a:pt x="1877" y="187"/>
                    </a:cubicBezTo>
                    <a:cubicBezTo>
                      <a:pt x="1877" y="204"/>
                      <a:pt x="1877" y="220"/>
                      <a:pt x="1877" y="236"/>
                    </a:cubicBezTo>
                    <a:cubicBezTo>
                      <a:pt x="1877" y="242"/>
                      <a:pt x="1877" y="248"/>
                      <a:pt x="1877" y="254"/>
                    </a:cubicBezTo>
                    <a:cubicBezTo>
                      <a:pt x="1877" y="255"/>
                      <a:pt x="1877" y="256"/>
                      <a:pt x="1879" y="256"/>
                    </a:cubicBezTo>
                    <a:cubicBezTo>
                      <a:pt x="1884" y="256"/>
                      <a:pt x="1889" y="256"/>
                      <a:pt x="1894" y="256"/>
                    </a:cubicBezTo>
                    <a:cubicBezTo>
                      <a:pt x="1895" y="256"/>
                      <a:pt x="1896" y="255"/>
                      <a:pt x="1896" y="254"/>
                    </a:cubicBezTo>
                    <a:cubicBezTo>
                      <a:pt x="1896" y="253"/>
                      <a:pt x="1896" y="252"/>
                      <a:pt x="1896" y="252"/>
                    </a:cubicBezTo>
                    <a:cubicBezTo>
                      <a:pt x="1896" y="230"/>
                      <a:pt x="1896" y="209"/>
                      <a:pt x="1896" y="188"/>
                    </a:cubicBezTo>
                    <a:cubicBezTo>
                      <a:pt x="1896" y="178"/>
                      <a:pt x="1899" y="168"/>
                      <a:pt x="1906" y="160"/>
                    </a:cubicBezTo>
                    <a:cubicBezTo>
                      <a:pt x="1911" y="154"/>
                      <a:pt x="1918" y="151"/>
                      <a:pt x="1927" y="152"/>
                    </a:cubicBezTo>
                    <a:cubicBezTo>
                      <a:pt x="1939" y="152"/>
                      <a:pt x="1946" y="158"/>
                      <a:pt x="1949" y="170"/>
                    </a:cubicBezTo>
                    <a:cubicBezTo>
                      <a:pt x="1950" y="175"/>
                      <a:pt x="1951" y="180"/>
                      <a:pt x="1951" y="185"/>
                    </a:cubicBezTo>
                    <a:cubicBezTo>
                      <a:pt x="1951" y="207"/>
                      <a:pt x="1951" y="228"/>
                      <a:pt x="1951" y="250"/>
                    </a:cubicBezTo>
                    <a:cubicBezTo>
                      <a:pt x="1951" y="252"/>
                      <a:pt x="1950" y="254"/>
                      <a:pt x="1951" y="255"/>
                    </a:cubicBezTo>
                    <a:cubicBezTo>
                      <a:pt x="1952" y="256"/>
                      <a:pt x="1954" y="256"/>
                      <a:pt x="1956" y="256"/>
                    </a:cubicBezTo>
                    <a:cubicBezTo>
                      <a:pt x="1959" y="256"/>
                      <a:pt x="1963" y="256"/>
                      <a:pt x="1966" y="256"/>
                    </a:cubicBezTo>
                    <a:cubicBezTo>
                      <a:pt x="1970" y="256"/>
                      <a:pt x="1969" y="256"/>
                      <a:pt x="1969" y="253"/>
                    </a:cubicBezTo>
                    <a:cubicBezTo>
                      <a:pt x="1969" y="230"/>
                      <a:pt x="1969" y="207"/>
                      <a:pt x="1969" y="183"/>
                    </a:cubicBezTo>
                    <a:cubicBezTo>
                      <a:pt x="1969" y="176"/>
                      <a:pt x="1969" y="168"/>
                      <a:pt x="1966" y="160"/>
                    </a:cubicBezTo>
                    <a:cubicBezTo>
                      <a:pt x="1963" y="149"/>
                      <a:pt x="1956" y="140"/>
                      <a:pt x="1944" y="137"/>
                    </a:cubicBezTo>
                    <a:cubicBezTo>
                      <a:pt x="1936" y="135"/>
                      <a:pt x="1928" y="135"/>
                      <a:pt x="1920" y="137"/>
                    </a:cubicBezTo>
                    <a:cubicBezTo>
                      <a:pt x="1909" y="139"/>
                      <a:pt x="1901" y="146"/>
                      <a:pt x="1894" y="155"/>
                    </a:cubicBezTo>
                    <a:cubicBezTo>
                      <a:pt x="1894" y="156"/>
                      <a:pt x="1893" y="158"/>
                      <a:pt x="1892" y="159"/>
                    </a:cubicBezTo>
                    <a:cubicBezTo>
                      <a:pt x="1891" y="158"/>
                      <a:pt x="1891" y="157"/>
                      <a:pt x="1890" y="155"/>
                    </a:cubicBezTo>
                    <a:cubicBezTo>
                      <a:pt x="1884" y="142"/>
                      <a:pt x="1870" y="133"/>
                      <a:pt x="1851" y="136"/>
                    </a:cubicBezTo>
                    <a:cubicBezTo>
                      <a:pt x="1840" y="138"/>
                      <a:pt x="1831" y="144"/>
                      <a:pt x="1824" y="154"/>
                    </a:cubicBezTo>
                    <a:cubicBezTo>
                      <a:pt x="1823" y="155"/>
                      <a:pt x="1823" y="156"/>
                      <a:pt x="1822" y="156"/>
                    </a:cubicBezTo>
                    <a:cubicBezTo>
                      <a:pt x="1822" y="156"/>
                      <a:pt x="1822" y="156"/>
                      <a:pt x="1822" y="156"/>
                    </a:cubicBezTo>
                    <a:close/>
                    <a:moveTo>
                      <a:pt x="1445" y="308"/>
                    </a:moveTo>
                    <a:cubicBezTo>
                      <a:pt x="1445" y="309"/>
                      <a:pt x="1446" y="310"/>
                      <a:pt x="1447" y="310"/>
                    </a:cubicBezTo>
                    <a:cubicBezTo>
                      <a:pt x="1449" y="310"/>
                      <a:pt x="1452" y="311"/>
                      <a:pt x="1454" y="311"/>
                    </a:cubicBezTo>
                    <a:cubicBezTo>
                      <a:pt x="1463" y="311"/>
                      <a:pt x="1471" y="309"/>
                      <a:pt x="1479" y="304"/>
                    </a:cubicBezTo>
                    <a:cubicBezTo>
                      <a:pt x="1482" y="301"/>
                      <a:pt x="1486" y="297"/>
                      <a:pt x="1489" y="293"/>
                    </a:cubicBezTo>
                    <a:cubicBezTo>
                      <a:pt x="1493" y="287"/>
                      <a:pt x="1496" y="281"/>
                      <a:pt x="1499" y="274"/>
                    </a:cubicBezTo>
                    <a:cubicBezTo>
                      <a:pt x="1516" y="230"/>
                      <a:pt x="1534" y="185"/>
                      <a:pt x="1551" y="141"/>
                    </a:cubicBezTo>
                    <a:cubicBezTo>
                      <a:pt x="1552" y="140"/>
                      <a:pt x="1552" y="139"/>
                      <a:pt x="1552" y="138"/>
                    </a:cubicBezTo>
                    <a:cubicBezTo>
                      <a:pt x="1547" y="138"/>
                      <a:pt x="1541" y="138"/>
                      <a:pt x="1536" y="138"/>
                    </a:cubicBezTo>
                    <a:cubicBezTo>
                      <a:pt x="1532" y="138"/>
                      <a:pt x="1533" y="138"/>
                      <a:pt x="1532" y="141"/>
                    </a:cubicBezTo>
                    <a:cubicBezTo>
                      <a:pt x="1532" y="141"/>
                      <a:pt x="1532" y="141"/>
                      <a:pt x="1532" y="142"/>
                    </a:cubicBezTo>
                    <a:cubicBezTo>
                      <a:pt x="1520" y="172"/>
                      <a:pt x="1509" y="202"/>
                      <a:pt x="1498" y="233"/>
                    </a:cubicBezTo>
                    <a:cubicBezTo>
                      <a:pt x="1498" y="234"/>
                      <a:pt x="1498" y="235"/>
                      <a:pt x="1497" y="235"/>
                    </a:cubicBezTo>
                    <a:cubicBezTo>
                      <a:pt x="1496" y="235"/>
                      <a:pt x="1496" y="233"/>
                      <a:pt x="1495" y="233"/>
                    </a:cubicBezTo>
                    <a:cubicBezTo>
                      <a:pt x="1489" y="213"/>
                      <a:pt x="1482" y="194"/>
                      <a:pt x="1475" y="174"/>
                    </a:cubicBezTo>
                    <a:cubicBezTo>
                      <a:pt x="1471" y="163"/>
                      <a:pt x="1467" y="152"/>
                      <a:pt x="1463" y="141"/>
                    </a:cubicBezTo>
                    <a:cubicBezTo>
                      <a:pt x="1462" y="138"/>
                      <a:pt x="1463" y="138"/>
                      <a:pt x="1460" y="138"/>
                    </a:cubicBezTo>
                    <a:cubicBezTo>
                      <a:pt x="1457" y="138"/>
                      <a:pt x="1453" y="138"/>
                      <a:pt x="1450" y="138"/>
                    </a:cubicBezTo>
                    <a:cubicBezTo>
                      <a:pt x="1448" y="138"/>
                      <a:pt x="1445" y="138"/>
                      <a:pt x="1442" y="138"/>
                    </a:cubicBezTo>
                    <a:cubicBezTo>
                      <a:pt x="1442" y="140"/>
                      <a:pt x="1443" y="141"/>
                      <a:pt x="1443" y="142"/>
                    </a:cubicBezTo>
                    <a:cubicBezTo>
                      <a:pt x="1457" y="179"/>
                      <a:pt x="1472" y="216"/>
                      <a:pt x="1486" y="253"/>
                    </a:cubicBezTo>
                    <a:cubicBezTo>
                      <a:pt x="1487" y="255"/>
                      <a:pt x="1487" y="256"/>
                      <a:pt x="1486" y="258"/>
                    </a:cubicBezTo>
                    <a:cubicBezTo>
                      <a:pt x="1483" y="264"/>
                      <a:pt x="1481" y="271"/>
                      <a:pt x="1478" y="277"/>
                    </a:cubicBezTo>
                    <a:cubicBezTo>
                      <a:pt x="1477" y="280"/>
                      <a:pt x="1475" y="283"/>
                      <a:pt x="1474" y="286"/>
                    </a:cubicBezTo>
                    <a:cubicBezTo>
                      <a:pt x="1468" y="293"/>
                      <a:pt x="1461" y="296"/>
                      <a:pt x="1452" y="294"/>
                    </a:cubicBezTo>
                    <a:cubicBezTo>
                      <a:pt x="1450" y="294"/>
                      <a:pt x="1448" y="293"/>
                      <a:pt x="1445" y="293"/>
                    </a:cubicBezTo>
                    <a:cubicBezTo>
                      <a:pt x="1445" y="298"/>
                      <a:pt x="1445" y="303"/>
                      <a:pt x="1445" y="308"/>
                    </a:cubicBezTo>
                    <a:close/>
                    <a:moveTo>
                      <a:pt x="1584" y="155"/>
                    </a:moveTo>
                    <a:cubicBezTo>
                      <a:pt x="1584" y="150"/>
                      <a:pt x="1584" y="146"/>
                      <a:pt x="1584" y="141"/>
                    </a:cubicBezTo>
                    <a:cubicBezTo>
                      <a:pt x="1584" y="138"/>
                      <a:pt x="1584" y="138"/>
                      <a:pt x="1581" y="138"/>
                    </a:cubicBezTo>
                    <a:cubicBezTo>
                      <a:pt x="1577" y="138"/>
                      <a:pt x="1573" y="138"/>
                      <a:pt x="1569" y="138"/>
                    </a:cubicBezTo>
                    <a:cubicBezTo>
                      <a:pt x="1565" y="138"/>
                      <a:pt x="1565" y="138"/>
                      <a:pt x="1565" y="142"/>
                    </a:cubicBezTo>
                    <a:cubicBezTo>
                      <a:pt x="1565" y="179"/>
                      <a:pt x="1565" y="215"/>
                      <a:pt x="1565" y="252"/>
                    </a:cubicBezTo>
                    <a:cubicBezTo>
                      <a:pt x="1565" y="253"/>
                      <a:pt x="1565" y="253"/>
                      <a:pt x="1565" y="254"/>
                    </a:cubicBezTo>
                    <a:cubicBezTo>
                      <a:pt x="1565" y="255"/>
                      <a:pt x="1566" y="256"/>
                      <a:pt x="1567" y="256"/>
                    </a:cubicBezTo>
                    <a:cubicBezTo>
                      <a:pt x="1572" y="256"/>
                      <a:pt x="1578" y="256"/>
                      <a:pt x="1583" y="256"/>
                    </a:cubicBezTo>
                    <a:cubicBezTo>
                      <a:pt x="1584" y="256"/>
                      <a:pt x="1584" y="255"/>
                      <a:pt x="1584" y="254"/>
                    </a:cubicBezTo>
                    <a:cubicBezTo>
                      <a:pt x="1584" y="253"/>
                      <a:pt x="1584" y="253"/>
                      <a:pt x="1584" y="252"/>
                    </a:cubicBezTo>
                    <a:cubicBezTo>
                      <a:pt x="1584" y="231"/>
                      <a:pt x="1584" y="211"/>
                      <a:pt x="1584" y="190"/>
                    </a:cubicBezTo>
                    <a:cubicBezTo>
                      <a:pt x="1584" y="186"/>
                      <a:pt x="1584" y="181"/>
                      <a:pt x="1586" y="177"/>
                    </a:cubicBezTo>
                    <a:cubicBezTo>
                      <a:pt x="1590" y="163"/>
                      <a:pt x="1598" y="154"/>
                      <a:pt x="1613" y="152"/>
                    </a:cubicBezTo>
                    <a:cubicBezTo>
                      <a:pt x="1627" y="150"/>
                      <a:pt x="1637" y="156"/>
                      <a:pt x="1642" y="170"/>
                    </a:cubicBezTo>
                    <a:cubicBezTo>
                      <a:pt x="1644" y="176"/>
                      <a:pt x="1644" y="182"/>
                      <a:pt x="1644" y="188"/>
                    </a:cubicBezTo>
                    <a:cubicBezTo>
                      <a:pt x="1644" y="210"/>
                      <a:pt x="1644" y="231"/>
                      <a:pt x="1644" y="252"/>
                    </a:cubicBezTo>
                    <a:cubicBezTo>
                      <a:pt x="1644" y="253"/>
                      <a:pt x="1644" y="253"/>
                      <a:pt x="1644" y="254"/>
                    </a:cubicBezTo>
                    <a:cubicBezTo>
                      <a:pt x="1644" y="255"/>
                      <a:pt x="1644" y="256"/>
                      <a:pt x="1646" y="256"/>
                    </a:cubicBezTo>
                    <a:cubicBezTo>
                      <a:pt x="1651" y="256"/>
                      <a:pt x="1656" y="256"/>
                      <a:pt x="1661" y="256"/>
                    </a:cubicBezTo>
                    <a:cubicBezTo>
                      <a:pt x="1663" y="256"/>
                      <a:pt x="1663" y="255"/>
                      <a:pt x="1663" y="254"/>
                    </a:cubicBezTo>
                    <a:cubicBezTo>
                      <a:pt x="1663" y="253"/>
                      <a:pt x="1663" y="252"/>
                      <a:pt x="1663" y="252"/>
                    </a:cubicBezTo>
                    <a:cubicBezTo>
                      <a:pt x="1663" y="230"/>
                      <a:pt x="1663" y="209"/>
                      <a:pt x="1663" y="187"/>
                    </a:cubicBezTo>
                    <a:cubicBezTo>
                      <a:pt x="1663" y="183"/>
                      <a:pt x="1663" y="179"/>
                      <a:pt x="1663" y="175"/>
                    </a:cubicBezTo>
                    <a:cubicBezTo>
                      <a:pt x="1662" y="168"/>
                      <a:pt x="1660" y="162"/>
                      <a:pt x="1658" y="156"/>
                    </a:cubicBezTo>
                    <a:cubicBezTo>
                      <a:pt x="1653" y="146"/>
                      <a:pt x="1645" y="139"/>
                      <a:pt x="1634" y="136"/>
                    </a:cubicBezTo>
                    <a:cubicBezTo>
                      <a:pt x="1630" y="136"/>
                      <a:pt x="1625" y="135"/>
                      <a:pt x="1621" y="136"/>
                    </a:cubicBezTo>
                    <a:cubicBezTo>
                      <a:pt x="1607" y="136"/>
                      <a:pt x="1595" y="142"/>
                      <a:pt x="1587" y="154"/>
                    </a:cubicBezTo>
                    <a:cubicBezTo>
                      <a:pt x="1586" y="155"/>
                      <a:pt x="1586" y="156"/>
                      <a:pt x="1585" y="158"/>
                    </a:cubicBezTo>
                    <a:cubicBezTo>
                      <a:pt x="1584" y="156"/>
                      <a:pt x="1584" y="155"/>
                      <a:pt x="1584" y="155"/>
                    </a:cubicBezTo>
                    <a:close/>
                    <a:moveTo>
                      <a:pt x="2140" y="232"/>
                    </a:moveTo>
                    <a:cubicBezTo>
                      <a:pt x="2140" y="237"/>
                      <a:pt x="2140" y="241"/>
                      <a:pt x="2140" y="245"/>
                    </a:cubicBezTo>
                    <a:cubicBezTo>
                      <a:pt x="2140" y="247"/>
                      <a:pt x="2139" y="250"/>
                      <a:pt x="2141" y="251"/>
                    </a:cubicBezTo>
                    <a:cubicBezTo>
                      <a:pt x="2142" y="253"/>
                      <a:pt x="2144" y="254"/>
                      <a:pt x="2146" y="254"/>
                    </a:cubicBezTo>
                    <a:cubicBezTo>
                      <a:pt x="2157" y="259"/>
                      <a:pt x="2169" y="260"/>
                      <a:pt x="2180" y="258"/>
                    </a:cubicBezTo>
                    <a:cubicBezTo>
                      <a:pt x="2189" y="256"/>
                      <a:pt x="2196" y="253"/>
                      <a:pt x="2202" y="247"/>
                    </a:cubicBezTo>
                    <a:cubicBezTo>
                      <a:pt x="2216" y="236"/>
                      <a:pt x="2216" y="211"/>
                      <a:pt x="2200" y="200"/>
                    </a:cubicBezTo>
                    <a:cubicBezTo>
                      <a:pt x="2198" y="198"/>
                      <a:pt x="2196" y="197"/>
                      <a:pt x="2193" y="195"/>
                    </a:cubicBezTo>
                    <a:cubicBezTo>
                      <a:pt x="2189" y="193"/>
                      <a:pt x="2185" y="191"/>
                      <a:pt x="2181" y="189"/>
                    </a:cubicBezTo>
                    <a:cubicBezTo>
                      <a:pt x="2176" y="187"/>
                      <a:pt x="2171" y="185"/>
                      <a:pt x="2167" y="182"/>
                    </a:cubicBezTo>
                    <a:cubicBezTo>
                      <a:pt x="2164" y="181"/>
                      <a:pt x="2162" y="179"/>
                      <a:pt x="2161" y="176"/>
                    </a:cubicBezTo>
                    <a:cubicBezTo>
                      <a:pt x="2158" y="167"/>
                      <a:pt x="2160" y="157"/>
                      <a:pt x="2170" y="153"/>
                    </a:cubicBezTo>
                    <a:cubicBezTo>
                      <a:pt x="2172" y="153"/>
                      <a:pt x="2173" y="152"/>
                      <a:pt x="2175" y="152"/>
                    </a:cubicBezTo>
                    <a:cubicBezTo>
                      <a:pt x="2185" y="151"/>
                      <a:pt x="2195" y="153"/>
                      <a:pt x="2204" y="158"/>
                    </a:cubicBezTo>
                    <a:cubicBezTo>
                      <a:pt x="2205" y="158"/>
                      <a:pt x="2205" y="159"/>
                      <a:pt x="2207" y="159"/>
                    </a:cubicBezTo>
                    <a:cubicBezTo>
                      <a:pt x="2207" y="154"/>
                      <a:pt x="2207" y="148"/>
                      <a:pt x="2207" y="142"/>
                    </a:cubicBezTo>
                    <a:cubicBezTo>
                      <a:pt x="2207" y="141"/>
                      <a:pt x="2207" y="141"/>
                      <a:pt x="2206" y="140"/>
                    </a:cubicBezTo>
                    <a:cubicBezTo>
                      <a:pt x="2205" y="140"/>
                      <a:pt x="2204" y="140"/>
                      <a:pt x="2203" y="139"/>
                    </a:cubicBezTo>
                    <a:cubicBezTo>
                      <a:pt x="2194" y="136"/>
                      <a:pt x="2184" y="135"/>
                      <a:pt x="2175" y="136"/>
                    </a:cubicBezTo>
                    <a:cubicBezTo>
                      <a:pt x="2166" y="137"/>
                      <a:pt x="2158" y="140"/>
                      <a:pt x="2151" y="146"/>
                    </a:cubicBezTo>
                    <a:cubicBezTo>
                      <a:pt x="2136" y="158"/>
                      <a:pt x="2136" y="185"/>
                      <a:pt x="2154" y="196"/>
                    </a:cubicBezTo>
                    <a:cubicBezTo>
                      <a:pt x="2158" y="199"/>
                      <a:pt x="2163" y="202"/>
                      <a:pt x="2168" y="204"/>
                    </a:cubicBezTo>
                    <a:cubicBezTo>
                      <a:pt x="2174" y="207"/>
                      <a:pt x="2181" y="210"/>
                      <a:pt x="2186" y="214"/>
                    </a:cubicBezTo>
                    <a:cubicBezTo>
                      <a:pt x="2192" y="217"/>
                      <a:pt x="2194" y="223"/>
                      <a:pt x="2193" y="229"/>
                    </a:cubicBezTo>
                    <a:cubicBezTo>
                      <a:pt x="2192" y="235"/>
                      <a:pt x="2188" y="239"/>
                      <a:pt x="2182" y="241"/>
                    </a:cubicBezTo>
                    <a:cubicBezTo>
                      <a:pt x="2181" y="241"/>
                      <a:pt x="2180" y="241"/>
                      <a:pt x="2179" y="242"/>
                    </a:cubicBezTo>
                    <a:cubicBezTo>
                      <a:pt x="2166" y="244"/>
                      <a:pt x="2154" y="241"/>
                      <a:pt x="2143" y="234"/>
                    </a:cubicBezTo>
                    <a:cubicBezTo>
                      <a:pt x="2142" y="233"/>
                      <a:pt x="2142" y="232"/>
                      <a:pt x="2140" y="232"/>
                    </a:cubicBezTo>
                    <a:cubicBezTo>
                      <a:pt x="2140" y="232"/>
                      <a:pt x="2140" y="232"/>
                      <a:pt x="2140" y="232"/>
                    </a:cubicBezTo>
                    <a:close/>
                    <a:moveTo>
                      <a:pt x="900" y="251"/>
                    </a:moveTo>
                    <a:cubicBezTo>
                      <a:pt x="900" y="252"/>
                      <a:pt x="901" y="252"/>
                      <a:pt x="901" y="252"/>
                    </a:cubicBezTo>
                    <a:cubicBezTo>
                      <a:pt x="903" y="253"/>
                      <a:pt x="905" y="254"/>
                      <a:pt x="908" y="255"/>
                    </a:cubicBezTo>
                    <a:cubicBezTo>
                      <a:pt x="918" y="259"/>
                      <a:pt x="929" y="259"/>
                      <a:pt x="939" y="258"/>
                    </a:cubicBezTo>
                    <a:cubicBezTo>
                      <a:pt x="947" y="257"/>
                      <a:pt x="954" y="254"/>
                      <a:pt x="960" y="249"/>
                    </a:cubicBezTo>
                    <a:cubicBezTo>
                      <a:pt x="976" y="237"/>
                      <a:pt x="977" y="211"/>
                      <a:pt x="959" y="199"/>
                    </a:cubicBezTo>
                    <a:cubicBezTo>
                      <a:pt x="958" y="198"/>
                      <a:pt x="956" y="197"/>
                      <a:pt x="955" y="196"/>
                    </a:cubicBezTo>
                    <a:cubicBezTo>
                      <a:pt x="950" y="193"/>
                      <a:pt x="946" y="191"/>
                      <a:pt x="941" y="189"/>
                    </a:cubicBezTo>
                    <a:cubicBezTo>
                      <a:pt x="936" y="187"/>
                      <a:pt x="931" y="185"/>
                      <a:pt x="927" y="182"/>
                    </a:cubicBezTo>
                    <a:cubicBezTo>
                      <a:pt x="924" y="180"/>
                      <a:pt x="922" y="179"/>
                      <a:pt x="921" y="176"/>
                    </a:cubicBezTo>
                    <a:cubicBezTo>
                      <a:pt x="918" y="168"/>
                      <a:pt x="919" y="158"/>
                      <a:pt x="929" y="154"/>
                    </a:cubicBezTo>
                    <a:cubicBezTo>
                      <a:pt x="931" y="153"/>
                      <a:pt x="933" y="152"/>
                      <a:pt x="934" y="152"/>
                    </a:cubicBezTo>
                    <a:cubicBezTo>
                      <a:pt x="945" y="150"/>
                      <a:pt x="955" y="153"/>
                      <a:pt x="964" y="158"/>
                    </a:cubicBezTo>
                    <a:cubicBezTo>
                      <a:pt x="965" y="159"/>
                      <a:pt x="965" y="159"/>
                      <a:pt x="967" y="159"/>
                    </a:cubicBezTo>
                    <a:cubicBezTo>
                      <a:pt x="967" y="154"/>
                      <a:pt x="967" y="149"/>
                      <a:pt x="967" y="144"/>
                    </a:cubicBezTo>
                    <a:cubicBezTo>
                      <a:pt x="967" y="141"/>
                      <a:pt x="967" y="141"/>
                      <a:pt x="964" y="140"/>
                    </a:cubicBezTo>
                    <a:cubicBezTo>
                      <a:pt x="954" y="136"/>
                      <a:pt x="944" y="135"/>
                      <a:pt x="934" y="136"/>
                    </a:cubicBezTo>
                    <a:cubicBezTo>
                      <a:pt x="926" y="137"/>
                      <a:pt x="919" y="140"/>
                      <a:pt x="912" y="145"/>
                    </a:cubicBezTo>
                    <a:cubicBezTo>
                      <a:pt x="896" y="158"/>
                      <a:pt x="896" y="186"/>
                      <a:pt x="914" y="196"/>
                    </a:cubicBezTo>
                    <a:cubicBezTo>
                      <a:pt x="919" y="199"/>
                      <a:pt x="923" y="202"/>
                      <a:pt x="928" y="204"/>
                    </a:cubicBezTo>
                    <a:cubicBezTo>
                      <a:pt x="934" y="207"/>
                      <a:pt x="941" y="210"/>
                      <a:pt x="946" y="214"/>
                    </a:cubicBezTo>
                    <a:cubicBezTo>
                      <a:pt x="952" y="218"/>
                      <a:pt x="953" y="223"/>
                      <a:pt x="952" y="230"/>
                    </a:cubicBezTo>
                    <a:cubicBezTo>
                      <a:pt x="951" y="236"/>
                      <a:pt x="947" y="239"/>
                      <a:pt x="942" y="241"/>
                    </a:cubicBezTo>
                    <a:cubicBezTo>
                      <a:pt x="941" y="241"/>
                      <a:pt x="940" y="241"/>
                      <a:pt x="939" y="242"/>
                    </a:cubicBezTo>
                    <a:cubicBezTo>
                      <a:pt x="926" y="244"/>
                      <a:pt x="914" y="241"/>
                      <a:pt x="903" y="234"/>
                    </a:cubicBezTo>
                    <a:cubicBezTo>
                      <a:pt x="902" y="233"/>
                      <a:pt x="901" y="232"/>
                      <a:pt x="900" y="231"/>
                    </a:cubicBezTo>
                    <a:cubicBezTo>
                      <a:pt x="900" y="238"/>
                      <a:pt x="900" y="244"/>
                      <a:pt x="900" y="251"/>
                    </a:cubicBezTo>
                    <a:close/>
                    <a:moveTo>
                      <a:pt x="2127" y="143"/>
                    </a:moveTo>
                    <a:cubicBezTo>
                      <a:pt x="2127" y="142"/>
                      <a:pt x="2127" y="141"/>
                      <a:pt x="2126" y="141"/>
                    </a:cubicBezTo>
                    <a:cubicBezTo>
                      <a:pt x="2124" y="140"/>
                      <a:pt x="2122" y="139"/>
                      <a:pt x="2121" y="139"/>
                    </a:cubicBezTo>
                    <a:cubicBezTo>
                      <a:pt x="2110" y="135"/>
                      <a:pt x="2100" y="135"/>
                      <a:pt x="2089" y="136"/>
                    </a:cubicBezTo>
                    <a:cubicBezTo>
                      <a:pt x="2069" y="139"/>
                      <a:pt x="2055" y="149"/>
                      <a:pt x="2046" y="167"/>
                    </a:cubicBezTo>
                    <a:cubicBezTo>
                      <a:pt x="2037" y="185"/>
                      <a:pt x="2036" y="204"/>
                      <a:pt x="2043" y="223"/>
                    </a:cubicBezTo>
                    <a:cubicBezTo>
                      <a:pt x="2048" y="239"/>
                      <a:pt x="2059" y="250"/>
                      <a:pt x="2075" y="255"/>
                    </a:cubicBezTo>
                    <a:cubicBezTo>
                      <a:pt x="2085" y="259"/>
                      <a:pt x="2095" y="259"/>
                      <a:pt x="2106" y="258"/>
                    </a:cubicBezTo>
                    <a:cubicBezTo>
                      <a:pt x="2112" y="257"/>
                      <a:pt x="2119" y="255"/>
                      <a:pt x="2124" y="252"/>
                    </a:cubicBezTo>
                    <a:cubicBezTo>
                      <a:pt x="2126" y="251"/>
                      <a:pt x="2127" y="250"/>
                      <a:pt x="2127" y="248"/>
                    </a:cubicBezTo>
                    <a:cubicBezTo>
                      <a:pt x="2127" y="244"/>
                      <a:pt x="2127" y="239"/>
                      <a:pt x="2127" y="235"/>
                    </a:cubicBezTo>
                    <a:cubicBezTo>
                      <a:pt x="2127" y="234"/>
                      <a:pt x="2127" y="234"/>
                      <a:pt x="2126" y="233"/>
                    </a:cubicBezTo>
                    <a:cubicBezTo>
                      <a:pt x="2125" y="233"/>
                      <a:pt x="2125" y="234"/>
                      <a:pt x="2124" y="234"/>
                    </a:cubicBezTo>
                    <a:cubicBezTo>
                      <a:pt x="2115" y="240"/>
                      <a:pt x="2105" y="243"/>
                      <a:pt x="2094" y="242"/>
                    </a:cubicBezTo>
                    <a:cubicBezTo>
                      <a:pt x="2078" y="241"/>
                      <a:pt x="2067" y="233"/>
                      <a:pt x="2061" y="218"/>
                    </a:cubicBezTo>
                    <a:cubicBezTo>
                      <a:pt x="2056" y="205"/>
                      <a:pt x="2057" y="191"/>
                      <a:pt x="2062" y="177"/>
                    </a:cubicBezTo>
                    <a:cubicBezTo>
                      <a:pt x="2067" y="164"/>
                      <a:pt x="2076" y="155"/>
                      <a:pt x="2090" y="152"/>
                    </a:cubicBezTo>
                    <a:cubicBezTo>
                      <a:pt x="2102" y="150"/>
                      <a:pt x="2113" y="152"/>
                      <a:pt x="2124" y="159"/>
                    </a:cubicBezTo>
                    <a:cubicBezTo>
                      <a:pt x="2125" y="159"/>
                      <a:pt x="2125" y="160"/>
                      <a:pt x="2127" y="160"/>
                    </a:cubicBezTo>
                    <a:cubicBezTo>
                      <a:pt x="2127" y="154"/>
                      <a:pt x="2127" y="149"/>
                      <a:pt x="2127" y="143"/>
                    </a:cubicBezTo>
                    <a:close/>
                    <a:moveTo>
                      <a:pt x="684" y="234"/>
                    </a:moveTo>
                    <a:cubicBezTo>
                      <a:pt x="675" y="240"/>
                      <a:pt x="665" y="243"/>
                      <a:pt x="654" y="242"/>
                    </a:cubicBezTo>
                    <a:cubicBezTo>
                      <a:pt x="639" y="241"/>
                      <a:pt x="628" y="234"/>
                      <a:pt x="622" y="220"/>
                    </a:cubicBezTo>
                    <a:cubicBezTo>
                      <a:pt x="615" y="205"/>
                      <a:pt x="616" y="189"/>
                      <a:pt x="623" y="174"/>
                    </a:cubicBezTo>
                    <a:cubicBezTo>
                      <a:pt x="628" y="162"/>
                      <a:pt x="638" y="154"/>
                      <a:pt x="651" y="152"/>
                    </a:cubicBezTo>
                    <a:cubicBezTo>
                      <a:pt x="663" y="150"/>
                      <a:pt x="673" y="153"/>
                      <a:pt x="683" y="159"/>
                    </a:cubicBezTo>
                    <a:cubicBezTo>
                      <a:pt x="684" y="159"/>
                      <a:pt x="685" y="160"/>
                      <a:pt x="687" y="160"/>
                    </a:cubicBezTo>
                    <a:cubicBezTo>
                      <a:pt x="687" y="156"/>
                      <a:pt x="687" y="151"/>
                      <a:pt x="687" y="146"/>
                    </a:cubicBezTo>
                    <a:cubicBezTo>
                      <a:pt x="687" y="141"/>
                      <a:pt x="687" y="141"/>
                      <a:pt x="682" y="139"/>
                    </a:cubicBezTo>
                    <a:cubicBezTo>
                      <a:pt x="671" y="135"/>
                      <a:pt x="660" y="135"/>
                      <a:pt x="649" y="136"/>
                    </a:cubicBezTo>
                    <a:cubicBezTo>
                      <a:pt x="629" y="139"/>
                      <a:pt x="615" y="149"/>
                      <a:pt x="606" y="166"/>
                    </a:cubicBezTo>
                    <a:cubicBezTo>
                      <a:pt x="596" y="185"/>
                      <a:pt x="595" y="205"/>
                      <a:pt x="603" y="225"/>
                    </a:cubicBezTo>
                    <a:cubicBezTo>
                      <a:pt x="609" y="241"/>
                      <a:pt x="621" y="251"/>
                      <a:pt x="637" y="256"/>
                    </a:cubicBezTo>
                    <a:cubicBezTo>
                      <a:pt x="647" y="259"/>
                      <a:pt x="658" y="259"/>
                      <a:pt x="669" y="257"/>
                    </a:cubicBezTo>
                    <a:cubicBezTo>
                      <a:pt x="674" y="256"/>
                      <a:pt x="680" y="254"/>
                      <a:pt x="685" y="251"/>
                    </a:cubicBezTo>
                    <a:cubicBezTo>
                      <a:pt x="686" y="251"/>
                      <a:pt x="686" y="250"/>
                      <a:pt x="686" y="249"/>
                    </a:cubicBezTo>
                    <a:cubicBezTo>
                      <a:pt x="686" y="244"/>
                      <a:pt x="686" y="238"/>
                      <a:pt x="686" y="233"/>
                    </a:cubicBezTo>
                    <a:cubicBezTo>
                      <a:pt x="685" y="233"/>
                      <a:pt x="685" y="234"/>
                      <a:pt x="684" y="234"/>
                    </a:cubicBezTo>
                    <a:close/>
                    <a:moveTo>
                      <a:pt x="769" y="139"/>
                    </a:moveTo>
                    <a:cubicBezTo>
                      <a:pt x="769" y="138"/>
                      <a:pt x="768" y="137"/>
                      <a:pt x="767" y="137"/>
                    </a:cubicBezTo>
                    <a:cubicBezTo>
                      <a:pt x="756" y="135"/>
                      <a:pt x="746" y="136"/>
                      <a:pt x="738" y="144"/>
                    </a:cubicBezTo>
                    <a:cubicBezTo>
                      <a:pt x="733" y="149"/>
                      <a:pt x="730" y="154"/>
                      <a:pt x="728" y="159"/>
                    </a:cubicBezTo>
                    <a:cubicBezTo>
                      <a:pt x="728" y="160"/>
                      <a:pt x="728" y="161"/>
                      <a:pt x="727" y="162"/>
                    </a:cubicBezTo>
                    <a:cubicBezTo>
                      <a:pt x="727" y="155"/>
                      <a:pt x="727" y="148"/>
                      <a:pt x="727" y="142"/>
                    </a:cubicBezTo>
                    <a:cubicBezTo>
                      <a:pt x="727" y="138"/>
                      <a:pt x="727" y="138"/>
                      <a:pt x="723" y="138"/>
                    </a:cubicBezTo>
                    <a:cubicBezTo>
                      <a:pt x="719" y="138"/>
                      <a:pt x="715" y="138"/>
                      <a:pt x="711" y="138"/>
                    </a:cubicBezTo>
                    <a:cubicBezTo>
                      <a:pt x="707" y="138"/>
                      <a:pt x="708" y="138"/>
                      <a:pt x="708" y="142"/>
                    </a:cubicBezTo>
                    <a:cubicBezTo>
                      <a:pt x="708" y="179"/>
                      <a:pt x="708" y="215"/>
                      <a:pt x="708" y="252"/>
                    </a:cubicBezTo>
                    <a:cubicBezTo>
                      <a:pt x="708" y="252"/>
                      <a:pt x="708" y="253"/>
                      <a:pt x="708" y="253"/>
                    </a:cubicBezTo>
                    <a:cubicBezTo>
                      <a:pt x="708" y="256"/>
                      <a:pt x="708" y="256"/>
                      <a:pt x="710" y="256"/>
                    </a:cubicBezTo>
                    <a:cubicBezTo>
                      <a:pt x="713" y="256"/>
                      <a:pt x="717" y="256"/>
                      <a:pt x="720" y="256"/>
                    </a:cubicBezTo>
                    <a:cubicBezTo>
                      <a:pt x="722" y="256"/>
                      <a:pt x="723" y="256"/>
                      <a:pt x="725" y="256"/>
                    </a:cubicBezTo>
                    <a:cubicBezTo>
                      <a:pt x="726" y="256"/>
                      <a:pt x="727" y="255"/>
                      <a:pt x="727" y="254"/>
                    </a:cubicBezTo>
                    <a:cubicBezTo>
                      <a:pt x="726" y="253"/>
                      <a:pt x="727" y="252"/>
                      <a:pt x="727" y="252"/>
                    </a:cubicBezTo>
                    <a:cubicBezTo>
                      <a:pt x="727" y="233"/>
                      <a:pt x="727" y="214"/>
                      <a:pt x="727" y="195"/>
                    </a:cubicBezTo>
                    <a:cubicBezTo>
                      <a:pt x="727" y="191"/>
                      <a:pt x="727" y="186"/>
                      <a:pt x="728" y="182"/>
                    </a:cubicBezTo>
                    <a:cubicBezTo>
                      <a:pt x="729" y="174"/>
                      <a:pt x="732" y="167"/>
                      <a:pt x="737" y="162"/>
                    </a:cubicBezTo>
                    <a:cubicBezTo>
                      <a:pt x="741" y="157"/>
                      <a:pt x="747" y="154"/>
                      <a:pt x="753" y="154"/>
                    </a:cubicBezTo>
                    <a:cubicBezTo>
                      <a:pt x="758" y="153"/>
                      <a:pt x="764" y="154"/>
                      <a:pt x="769" y="157"/>
                    </a:cubicBezTo>
                    <a:cubicBezTo>
                      <a:pt x="769" y="151"/>
                      <a:pt x="769" y="145"/>
                      <a:pt x="769" y="139"/>
                    </a:cubicBezTo>
                    <a:close/>
                    <a:moveTo>
                      <a:pt x="576" y="158"/>
                    </a:moveTo>
                    <a:cubicBezTo>
                      <a:pt x="576" y="152"/>
                      <a:pt x="576" y="146"/>
                      <a:pt x="576" y="141"/>
                    </a:cubicBezTo>
                    <a:cubicBezTo>
                      <a:pt x="576" y="138"/>
                      <a:pt x="576" y="138"/>
                      <a:pt x="573" y="138"/>
                    </a:cubicBezTo>
                    <a:cubicBezTo>
                      <a:pt x="569" y="138"/>
                      <a:pt x="565" y="138"/>
                      <a:pt x="560" y="138"/>
                    </a:cubicBezTo>
                    <a:cubicBezTo>
                      <a:pt x="557" y="138"/>
                      <a:pt x="557" y="138"/>
                      <a:pt x="557" y="141"/>
                    </a:cubicBezTo>
                    <a:cubicBezTo>
                      <a:pt x="557" y="141"/>
                      <a:pt x="557" y="141"/>
                      <a:pt x="557" y="142"/>
                    </a:cubicBezTo>
                    <a:cubicBezTo>
                      <a:pt x="557" y="179"/>
                      <a:pt x="557" y="215"/>
                      <a:pt x="557" y="252"/>
                    </a:cubicBezTo>
                    <a:cubicBezTo>
                      <a:pt x="557" y="253"/>
                      <a:pt x="557" y="254"/>
                      <a:pt x="557" y="254"/>
                    </a:cubicBezTo>
                    <a:cubicBezTo>
                      <a:pt x="557" y="255"/>
                      <a:pt x="558" y="256"/>
                      <a:pt x="559" y="256"/>
                    </a:cubicBezTo>
                    <a:cubicBezTo>
                      <a:pt x="564" y="256"/>
                      <a:pt x="569" y="256"/>
                      <a:pt x="575" y="256"/>
                    </a:cubicBezTo>
                    <a:cubicBezTo>
                      <a:pt x="576" y="256"/>
                      <a:pt x="576" y="255"/>
                      <a:pt x="576" y="254"/>
                    </a:cubicBezTo>
                    <a:cubicBezTo>
                      <a:pt x="576" y="254"/>
                      <a:pt x="576" y="253"/>
                      <a:pt x="576" y="252"/>
                    </a:cubicBezTo>
                    <a:cubicBezTo>
                      <a:pt x="576" y="234"/>
                      <a:pt x="576" y="216"/>
                      <a:pt x="576" y="197"/>
                    </a:cubicBezTo>
                    <a:cubicBezTo>
                      <a:pt x="576" y="184"/>
                      <a:pt x="576" y="171"/>
                      <a:pt x="576" y="158"/>
                    </a:cubicBezTo>
                    <a:close/>
                    <a:moveTo>
                      <a:pt x="2013" y="256"/>
                    </a:moveTo>
                    <a:cubicBezTo>
                      <a:pt x="2017" y="256"/>
                      <a:pt x="2017" y="256"/>
                      <a:pt x="2017" y="252"/>
                    </a:cubicBezTo>
                    <a:cubicBezTo>
                      <a:pt x="2017" y="215"/>
                      <a:pt x="2017" y="179"/>
                      <a:pt x="2017" y="142"/>
                    </a:cubicBezTo>
                    <a:cubicBezTo>
                      <a:pt x="2017" y="141"/>
                      <a:pt x="2017" y="141"/>
                      <a:pt x="2017" y="140"/>
                    </a:cubicBezTo>
                    <a:cubicBezTo>
                      <a:pt x="2017" y="139"/>
                      <a:pt x="2016" y="138"/>
                      <a:pt x="2015" y="138"/>
                    </a:cubicBezTo>
                    <a:cubicBezTo>
                      <a:pt x="2010" y="138"/>
                      <a:pt x="2006" y="138"/>
                      <a:pt x="2002" y="138"/>
                    </a:cubicBezTo>
                    <a:cubicBezTo>
                      <a:pt x="1997" y="138"/>
                      <a:pt x="1998" y="137"/>
                      <a:pt x="1998" y="142"/>
                    </a:cubicBezTo>
                    <a:cubicBezTo>
                      <a:pt x="1998" y="179"/>
                      <a:pt x="1998" y="215"/>
                      <a:pt x="1998" y="252"/>
                    </a:cubicBezTo>
                    <a:cubicBezTo>
                      <a:pt x="1998" y="253"/>
                      <a:pt x="1998" y="254"/>
                      <a:pt x="1998" y="256"/>
                    </a:cubicBezTo>
                    <a:cubicBezTo>
                      <a:pt x="2003" y="256"/>
                      <a:pt x="2008" y="256"/>
                      <a:pt x="2013" y="256"/>
                    </a:cubicBezTo>
                    <a:close/>
                    <a:moveTo>
                      <a:pt x="1995" y="100"/>
                    </a:moveTo>
                    <a:cubicBezTo>
                      <a:pt x="1995" y="107"/>
                      <a:pt x="2000" y="112"/>
                      <a:pt x="2008" y="112"/>
                    </a:cubicBezTo>
                    <a:cubicBezTo>
                      <a:pt x="2015" y="112"/>
                      <a:pt x="2020" y="107"/>
                      <a:pt x="2020" y="100"/>
                    </a:cubicBezTo>
                    <a:cubicBezTo>
                      <a:pt x="2020" y="93"/>
                      <a:pt x="2015" y="87"/>
                      <a:pt x="2008" y="87"/>
                    </a:cubicBezTo>
                    <a:cubicBezTo>
                      <a:pt x="2001" y="87"/>
                      <a:pt x="1995" y="93"/>
                      <a:pt x="1995" y="100"/>
                    </a:cubicBezTo>
                    <a:close/>
                    <a:moveTo>
                      <a:pt x="555" y="100"/>
                    </a:moveTo>
                    <a:cubicBezTo>
                      <a:pt x="555" y="107"/>
                      <a:pt x="560" y="112"/>
                      <a:pt x="567" y="112"/>
                    </a:cubicBezTo>
                    <a:cubicBezTo>
                      <a:pt x="574" y="112"/>
                      <a:pt x="580" y="107"/>
                      <a:pt x="580" y="100"/>
                    </a:cubicBezTo>
                    <a:cubicBezTo>
                      <a:pt x="580" y="93"/>
                      <a:pt x="574" y="87"/>
                      <a:pt x="567" y="87"/>
                    </a:cubicBezTo>
                    <a:cubicBezTo>
                      <a:pt x="560" y="87"/>
                      <a:pt x="555" y="93"/>
                      <a:pt x="555" y="100"/>
                    </a:cubicBezTo>
                    <a:close/>
                    <a:moveTo>
                      <a:pt x="12" y="250"/>
                    </a:moveTo>
                    <a:cubicBezTo>
                      <a:pt x="12" y="250"/>
                      <a:pt x="12" y="250"/>
                      <a:pt x="12" y="250"/>
                    </a:cubicBezTo>
                    <a:cubicBezTo>
                      <a:pt x="16" y="249"/>
                      <a:pt x="19" y="248"/>
                      <a:pt x="22" y="246"/>
                    </a:cubicBezTo>
                    <a:cubicBezTo>
                      <a:pt x="22" y="246"/>
                      <a:pt x="21" y="246"/>
                      <a:pt x="21" y="245"/>
                    </a:cubicBezTo>
                    <a:cubicBezTo>
                      <a:pt x="18" y="246"/>
                      <a:pt x="15" y="248"/>
                      <a:pt x="12" y="250"/>
                    </a:cubicBezTo>
                    <a:cubicBezTo>
                      <a:pt x="12" y="250"/>
                      <a:pt x="12" y="250"/>
                      <a:pt x="12" y="250"/>
                    </a:cubicBezTo>
                    <a:close/>
                    <a:moveTo>
                      <a:pt x="22" y="240"/>
                    </a:moveTo>
                    <a:cubicBezTo>
                      <a:pt x="21" y="241"/>
                      <a:pt x="21" y="241"/>
                      <a:pt x="20" y="242"/>
                    </a:cubicBezTo>
                    <a:cubicBezTo>
                      <a:pt x="20" y="242"/>
                      <a:pt x="20" y="242"/>
                      <a:pt x="21" y="242"/>
                    </a:cubicBezTo>
                    <a:cubicBezTo>
                      <a:pt x="22" y="242"/>
                      <a:pt x="22" y="242"/>
                      <a:pt x="23" y="241"/>
                    </a:cubicBezTo>
                    <a:cubicBezTo>
                      <a:pt x="22" y="241"/>
                      <a:pt x="22" y="241"/>
                      <a:pt x="22" y="240"/>
                    </a:cubicBezTo>
                    <a:close/>
                    <a:moveTo>
                      <a:pt x="6" y="253"/>
                    </a:moveTo>
                    <a:cubicBezTo>
                      <a:pt x="6" y="253"/>
                      <a:pt x="6" y="253"/>
                      <a:pt x="6" y="253"/>
                    </a:cubicBezTo>
                    <a:cubicBezTo>
                      <a:pt x="6" y="253"/>
                      <a:pt x="6" y="253"/>
                      <a:pt x="6" y="253"/>
                    </a:cubicBezTo>
                    <a:cubicBezTo>
                      <a:pt x="6" y="252"/>
                      <a:pt x="6" y="252"/>
                      <a:pt x="6" y="252"/>
                    </a:cubicBezTo>
                    <a:cubicBezTo>
                      <a:pt x="6" y="252"/>
                      <a:pt x="5" y="252"/>
                      <a:pt x="5" y="252"/>
                    </a:cubicBezTo>
                    <a:cubicBezTo>
                      <a:pt x="4" y="253"/>
                      <a:pt x="3" y="254"/>
                      <a:pt x="2" y="255"/>
                    </a:cubicBezTo>
                    <a:cubicBezTo>
                      <a:pt x="3" y="255"/>
                      <a:pt x="4" y="255"/>
                      <a:pt x="5" y="254"/>
                    </a:cubicBezTo>
                    <a:cubicBezTo>
                      <a:pt x="5" y="253"/>
                      <a:pt x="6" y="253"/>
                      <a:pt x="6" y="253"/>
                    </a:cubicBezTo>
                    <a:close/>
                    <a:moveTo>
                      <a:pt x="17" y="243"/>
                    </a:moveTo>
                    <a:cubicBezTo>
                      <a:pt x="16" y="244"/>
                      <a:pt x="15" y="245"/>
                      <a:pt x="14" y="246"/>
                    </a:cubicBezTo>
                    <a:cubicBezTo>
                      <a:pt x="14" y="246"/>
                      <a:pt x="14" y="246"/>
                      <a:pt x="14" y="246"/>
                    </a:cubicBezTo>
                    <a:cubicBezTo>
                      <a:pt x="14" y="246"/>
                      <a:pt x="14" y="246"/>
                      <a:pt x="14" y="246"/>
                    </a:cubicBezTo>
                    <a:cubicBezTo>
                      <a:pt x="15" y="246"/>
                      <a:pt x="17" y="245"/>
                      <a:pt x="18" y="244"/>
                    </a:cubicBezTo>
                    <a:cubicBezTo>
                      <a:pt x="18" y="244"/>
                      <a:pt x="17" y="244"/>
                      <a:pt x="17" y="243"/>
                    </a:cubicBezTo>
                    <a:close/>
                    <a:moveTo>
                      <a:pt x="20" y="243"/>
                    </a:moveTo>
                    <a:cubicBezTo>
                      <a:pt x="20" y="243"/>
                      <a:pt x="21" y="242"/>
                      <a:pt x="21" y="242"/>
                    </a:cubicBezTo>
                    <a:cubicBezTo>
                      <a:pt x="21" y="242"/>
                      <a:pt x="21" y="242"/>
                      <a:pt x="21" y="242"/>
                    </a:cubicBezTo>
                    <a:cubicBezTo>
                      <a:pt x="21" y="242"/>
                      <a:pt x="20" y="242"/>
                      <a:pt x="20" y="242"/>
                    </a:cubicBezTo>
                    <a:cubicBezTo>
                      <a:pt x="19" y="242"/>
                      <a:pt x="18" y="243"/>
                      <a:pt x="17" y="243"/>
                    </a:cubicBezTo>
                    <a:cubicBezTo>
                      <a:pt x="17" y="244"/>
                      <a:pt x="18" y="244"/>
                      <a:pt x="18" y="244"/>
                    </a:cubicBezTo>
                    <a:cubicBezTo>
                      <a:pt x="19" y="244"/>
                      <a:pt x="19" y="243"/>
                      <a:pt x="20" y="243"/>
                    </a:cubicBezTo>
                    <a:close/>
                    <a:moveTo>
                      <a:pt x="10" y="249"/>
                    </a:moveTo>
                    <a:cubicBezTo>
                      <a:pt x="10" y="249"/>
                      <a:pt x="10" y="249"/>
                      <a:pt x="10" y="248"/>
                    </a:cubicBezTo>
                    <a:cubicBezTo>
                      <a:pt x="9" y="249"/>
                      <a:pt x="8" y="249"/>
                      <a:pt x="8" y="250"/>
                    </a:cubicBezTo>
                    <a:cubicBezTo>
                      <a:pt x="9" y="250"/>
                      <a:pt x="9" y="250"/>
                      <a:pt x="10" y="249"/>
                    </a:cubicBezTo>
                    <a:cubicBezTo>
                      <a:pt x="10" y="249"/>
                      <a:pt x="10" y="249"/>
                      <a:pt x="10" y="249"/>
                    </a:cubicBezTo>
                    <a:close/>
                    <a:moveTo>
                      <a:pt x="7" y="250"/>
                    </a:moveTo>
                    <a:cubicBezTo>
                      <a:pt x="7" y="251"/>
                      <a:pt x="6" y="251"/>
                      <a:pt x="6" y="252"/>
                    </a:cubicBezTo>
                    <a:cubicBezTo>
                      <a:pt x="6" y="252"/>
                      <a:pt x="6" y="252"/>
                      <a:pt x="6" y="252"/>
                    </a:cubicBezTo>
                    <a:cubicBezTo>
                      <a:pt x="6" y="252"/>
                      <a:pt x="6" y="252"/>
                      <a:pt x="6" y="252"/>
                    </a:cubicBezTo>
                    <a:cubicBezTo>
                      <a:pt x="7" y="252"/>
                      <a:pt x="7" y="252"/>
                      <a:pt x="7" y="252"/>
                    </a:cubicBezTo>
                    <a:cubicBezTo>
                      <a:pt x="7" y="252"/>
                      <a:pt x="7" y="251"/>
                      <a:pt x="7" y="251"/>
                    </a:cubicBezTo>
                    <a:cubicBezTo>
                      <a:pt x="8" y="251"/>
                      <a:pt x="8" y="250"/>
                      <a:pt x="7" y="250"/>
                    </a:cubicBezTo>
                    <a:close/>
                    <a:moveTo>
                      <a:pt x="14" y="246"/>
                    </a:moveTo>
                    <a:cubicBezTo>
                      <a:pt x="14" y="246"/>
                      <a:pt x="14" y="246"/>
                      <a:pt x="13" y="246"/>
                    </a:cubicBezTo>
                    <a:cubicBezTo>
                      <a:pt x="13" y="246"/>
                      <a:pt x="12" y="246"/>
                      <a:pt x="12" y="247"/>
                    </a:cubicBezTo>
                    <a:cubicBezTo>
                      <a:pt x="12" y="247"/>
                      <a:pt x="12" y="247"/>
                      <a:pt x="12" y="247"/>
                    </a:cubicBezTo>
                    <a:cubicBezTo>
                      <a:pt x="12" y="247"/>
                      <a:pt x="12" y="247"/>
                      <a:pt x="12" y="248"/>
                    </a:cubicBezTo>
                    <a:cubicBezTo>
                      <a:pt x="13" y="247"/>
                      <a:pt x="13" y="247"/>
                      <a:pt x="13" y="247"/>
                    </a:cubicBezTo>
                    <a:cubicBezTo>
                      <a:pt x="14" y="247"/>
                      <a:pt x="14" y="247"/>
                      <a:pt x="14" y="246"/>
                    </a:cubicBezTo>
                    <a:close/>
                    <a:moveTo>
                      <a:pt x="12" y="247"/>
                    </a:moveTo>
                    <a:cubicBezTo>
                      <a:pt x="11" y="247"/>
                      <a:pt x="11" y="248"/>
                      <a:pt x="10" y="248"/>
                    </a:cubicBezTo>
                    <a:cubicBezTo>
                      <a:pt x="10" y="248"/>
                      <a:pt x="10" y="248"/>
                      <a:pt x="10" y="248"/>
                    </a:cubicBezTo>
                    <a:cubicBezTo>
                      <a:pt x="10" y="249"/>
                      <a:pt x="10" y="249"/>
                      <a:pt x="10" y="249"/>
                    </a:cubicBezTo>
                    <a:cubicBezTo>
                      <a:pt x="11" y="249"/>
                      <a:pt x="11" y="248"/>
                      <a:pt x="12" y="248"/>
                    </a:cubicBezTo>
                    <a:cubicBezTo>
                      <a:pt x="12" y="248"/>
                      <a:pt x="12" y="247"/>
                      <a:pt x="12" y="247"/>
                    </a:cubicBezTo>
                    <a:close/>
                    <a:moveTo>
                      <a:pt x="10" y="251"/>
                    </a:moveTo>
                    <a:cubicBezTo>
                      <a:pt x="10" y="251"/>
                      <a:pt x="11" y="251"/>
                      <a:pt x="11" y="251"/>
                    </a:cubicBezTo>
                    <a:cubicBezTo>
                      <a:pt x="12" y="251"/>
                      <a:pt x="12" y="251"/>
                      <a:pt x="12" y="250"/>
                    </a:cubicBezTo>
                    <a:cubicBezTo>
                      <a:pt x="12" y="250"/>
                      <a:pt x="12" y="250"/>
                      <a:pt x="12" y="250"/>
                    </a:cubicBezTo>
                    <a:cubicBezTo>
                      <a:pt x="11" y="250"/>
                      <a:pt x="11" y="250"/>
                      <a:pt x="10" y="251"/>
                    </a:cubicBezTo>
                    <a:close/>
                    <a:moveTo>
                      <a:pt x="9" y="251"/>
                    </a:moveTo>
                    <a:cubicBezTo>
                      <a:pt x="9" y="251"/>
                      <a:pt x="9" y="251"/>
                      <a:pt x="9" y="251"/>
                    </a:cubicBezTo>
                    <a:cubicBezTo>
                      <a:pt x="9" y="252"/>
                      <a:pt x="9" y="252"/>
                      <a:pt x="9" y="252"/>
                    </a:cubicBezTo>
                    <a:cubicBezTo>
                      <a:pt x="10" y="252"/>
                      <a:pt x="11" y="251"/>
                      <a:pt x="11" y="251"/>
                    </a:cubicBezTo>
                    <a:cubicBezTo>
                      <a:pt x="11" y="251"/>
                      <a:pt x="10" y="251"/>
                      <a:pt x="10" y="251"/>
                    </a:cubicBezTo>
                    <a:cubicBezTo>
                      <a:pt x="10" y="251"/>
                      <a:pt x="9" y="251"/>
                      <a:pt x="9" y="251"/>
                    </a:cubicBezTo>
                    <a:close/>
                    <a:moveTo>
                      <a:pt x="7" y="252"/>
                    </a:moveTo>
                    <a:cubicBezTo>
                      <a:pt x="7" y="252"/>
                      <a:pt x="7" y="253"/>
                      <a:pt x="7" y="253"/>
                    </a:cubicBezTo>
                    <a:cubicBezTo>
                      <a:pt x="8" y="253"/>
                      <a:pt x="8" y="252"/>
                      <a:pt x="9" y="252"/>
                    </a:cubicBezTo>
                    <a:cubicBezTo>
                      <a:pt x="9" y="252"/>
                      <a:pt x="9" y="252"/>
                      <a:pt x="9" y="252"/>
                    </a:cubicBezTo>
                    <a:cubicBezTo>
                      <a:pt x="9" y="252"/>
                      <a:pt x="9" y="252"/>
                      <a:pt x="9" y="251"/>
                    </a:cubicBezTo>
                    <a:cubicBezTo>
                      <a:pt x="8" y="252"/>
                      <a:pt x="8" y="252"/>
                      <a:pt x="7" y="252"/>
                    </a:cubicBezTo>
                    <a:cubicBezTo>
                      <a:pt x="7" y="252"/>
                      <a:pt x="7" y="252"/>
                      <a:pt x="7" y="252"/>
                    </a:cubicBezTo>
                    <a:close/>
                    <a:moveTo>
                      <a:pt x="7" y="252"/>
                    </a:moveTo>
                    <a:cubicBezTo>
                      <a:pt x="7" y="252"/>
                      <a:pt x="7" y="252"/>
                      <a:pt x="7" y="252"/>
                    </a:cubicBezTo>
                    <a:cubicBezTo>
                      <a:pt x="7" y="252"/>
                      <a:pt x="6" y="252"/>
                      <a:pt x="6" y="253"/>
                    </a:cubicBezTo>
                    <a:cubicBezTo>
                      <a:pt x="6" y="253"/>
                      <a:pt x="6" y="253"/>
                      <a:pt x="6" y="253"/>
                    </a:cubicBezTo>
                    <a:cubicBezTo>
                      <a:pt x="7" y="253"/>
                      <a:pt x="7" y="253"/>
                      <a:pt x="7" y="253"/>
                    </a:cubicBezTo>
                    <a:cubicBezTo>
                      <a:pt x="7" y="252"/>
                      <a:pt x="7" y="252"/>
                      <a:pt x="7" y="252"/>
                    </a:cubicBezTo>
                    <a:cubicBezTo>
                      <a:pt x="7" y="252"/>
                      <a:pt x="7" y="252"/>
                      <a:pt x="7" y="252"/>
                    </a:cubicBezTo>
                    <a:close/>
                    <a:moveTo>
                      <a:pt x="6" y="253"/>
                    </a:moveTo>
                    <a:cubicBezTo>
                      <a:pt x="6" y="253"/>
                      <a:pt x="5" y="253"/>
                      <a:pt x="5" y="254"/>
                    </a:cubicBezTo>
                    <a:cubicBezTo>
                      <a:pt x="5" y="254"/>
                      <a:pt x="6" y="254"/>
                      <a:pt x="6" y="253"/>
                    </a:cubicBezTo>
                    <a:close/>
                    <a:moveTo>
                      <a:pt x="14" y="246"/>
                    </a:moveTo>
                    <a:cubicBezTo>
                      <a:pt x="14" y="246"/>
                      <a:pt x="14" y="246"/>
                      <a:pt x="14" y="246"/>
                    </a:cubicBezTo>
                    <a:cubicBezTo>
                      <a:pt x="14" y="246"/>
                      <a:pt x="14" y="246"/>
                      <a:pt x="13" y="246"/>
                    </a:cubicBezTo>
                    <a:cubicBezTo>
                      <a:pt x="13" y="246"/>
                      <a:pt x="13" y="246"/>
                      <a:pt x="13" y="247"/>
                    </a:cubicBezTo>
                    <a:cubicBezTo>
                      <a:pt x="14" y="247"/>
                      <a:pt x="14" y="246"/>
                      <a:pt x="14" y="246"/>
                    </a:cubicBezTo>
                    <a:close/>
                    <a:moveTo>
                      <a:pt x="12" y="248"/>
                    </a:moveTo>
                    <a:cubicBezTo>
                      <a:pt x="12" y="247"/>
                      <a:pt x="12" y="247"/>
                      <a:pt x="12" y="247"/>
                    </a:cubicBezTo>
                    <a:cubicBezTo>
                      <a:pt x="12" y="247"/>
                      <a:pt x="12" y="247"/>
                      <a:pt x="12" y="247"/>
                    </a:cubicBezTo>
                    <a:cubicBezTo>
                      <a:pt x="12" y="247"/>
                      <a:pt x="12" y="248"/>
                      <a:pt x="12" y="248"/>
                    </a:cubicBezTo>
                    <a:cubicBezTo>
                      <a:pt x="12" y="248"/>
                      <a:pt x="12" y="248"/>
                      <a:pt x="12" y="248"/>
                    </a:cubicBezTo>
                    <a:close/>
                    <a:moveTo>
                      <a:pt x="10" y="248"/>
                    </a:moveTo>
                    <a:cubicBezTo>
                      <a:pt x="10" y="249"/>
                      <a:pt x="10" y="249"/>
                      <a:pt x="10" y="249"/>
                    </a:cubicBezTo>
                    <a:cubicBezTo>
                      <a:pt x="10" y="249"/>
                      <a:pt x="10" y="249"/>
                      <a:pt x="10" y="249"/>
                    </a:cubicBezTo>
                    <a:cubicBezTo>
                      <a:pt x="10" y="249"/>
                      <a:pt x="10" y="248"/>
                      <a:pt x="10" y="248"/>
                    </a:cubicBezTo>
                    <a:cubicBezTo>
                      <a:pt x="10" y="248"/>
                      <a:pt x="10" y="248"/>
                      <a:pt x="10" y="248"/>
                    </a:cubicBezTo>
                    <a:close/>
                    <a:moveTo>
                      <a:pt x="8" y="250"/>
                    </a:moveTo>
                    <a:cubicBezTo>
                      <a:pt x="8" y="250"/>
                      <a:pt x="8" y="250"/>
                      <a:pt x="7" y="250"/>
                    </a:cubicBezTo>
                    <a:cubicBezTo>
                      <a:pt x="7" y="250"/>
                      <a:pt x="7" y="251"/>
                      <a:pt x="7" y="251"/>
                    </a:cubicBezTo>
                    <a:cubicBezTo>
                      <a:pt x="8" y="251"/>
                      <a:pt x="8" y="251"/>
                      <a:pt x="8" y="250"/>
                    </a:cubicBezTo>
                    <a:close/>
                    <a:moveTo>
                      <a:pt x="9" y="252"/>
                    </a:moveTo>
                    <a:cubicBezTo>
                      <a:pt x="9" y="252"/>
                      <a:pt x="9" y="251"/>
                      <a:pt x="9" y="251"/>
                    </a:cubicBezTo>
                    <a:cubicBezTo>
                      <a:pt x="9" y="251"/>
                      <a:pt x="9" y="251"/>
                      <a:pt x="9" y="251"/>
                    </a:cubicBezTo>
                    <a:cubicBezTo>
                      <a:pt x="9" y="252"/>
                      <a:pt x="9" y="252"/>
                      <a:pt x="9" y="252"/>
                    </a:cubicBezTo>
                    <a:cubicBezTo>
                      <a:pt x="9" y="252"/>
                      <a:pt x="9" y="252"/>
                      <a:pt x="9" y="252"/>
                    </a:cubicBezTo>
                    <a:close/>
                    <a:moveTo>
                      <a:pt x="6" y="252"/>
                    </a:moveTo>
                    <a:cubicBezTo>
                      <a:pt x="6" y="252"/>
                      <a:pt x="6" y="252"/>
                      <a:pt x="6" y="252"/>
                    </a:cubicBezTo>
                    <a:cubicBezTo>
                      <a:pt x="6" y="252"/>
                      <a:pt x="6" y="252"/>
                      <a:pt x="6" y="252"/>
                    </a:cubicBezTo>
                    <a:cubicBezTo>
                      <a:pt x="5" y="252"/>
                      <a:pt x="5" y="252"/>
                      <a:pt x="5" y="252"/>
                    </a:cubicBezTo>
                    <a:cubicBezTo>
                      <a:pt x="5" y="252"/>
                      <a:pt x="5" y="252"/>
                      <a:pt x="5" y="253"/>
                    </a:cubicBezTo>
                    <a:cubicBezTo>
                      <a:pt x="6" y="253"/>
                      <a:pt x="6" y="252"/>
                      <a:pt x="6" y="252"/>
                    </a:cubicBezTo>
                    <a:close/>
                    <a:moveTo>
                      <a:pt x="21" y="242"/>
                    </a:moveTo>
                    <a:cubicBezTo>
                      <a:pt x="21" y="242"/>
                      <a:pt x="20" y="243"/>
                      <a:pt x="20" y="243"/>
                    </a:cubicBezTo>
                    <a:cubicBezTo>
                      <a:pt x="20" y="243"/>
                      <a:pt x="21" y="243"/>
                      <a:pt x="21" y="242"/>
                    </a:cubicBezTo>
                    <a:close/>
                    <a:moveTo>
                      <a:pt x="6" y="253"/>
                    </a:moveTo>
                    <a:cubicBezTo>
                      <a:pt x="6" y="252"/>
                      <a:pt x="7" y="252"/>
                      <a:pt x="7" y="252"/>
                    </a:cubicBezTo>
                    <a:cubicBezTo>
                      <a:pt x="6" y="252"/>
                      <a:pt x="6" y="252"/>
                      <a:pt x="6" y="252"/>
                    </a:cubicBezTo>
                    <a:cubicBezTo>
                      <a:pt x="6" y="252"/>
                      <a:pt x="5" y="252"/>
                      <a:pt x="5" y="253"/>
                    </a:cubicBezTo>
                    <a:cubicBezTo>
                      <a:pt x="6" y="253"/>
                      <a:pt x="6" y="253"/>
                      <a:pt x="6" y="253"/>
                    </a:cubicBezTo>
                    <a:close/>
                    <a:moveTo>
                      <a:pt x="1433" y="197"/>
                    </a:moveTo>
                    <a:cubicBezTo>
                      <a:pt x="1425" y="224"/>
                      <a:pt x="1408" y="241"/>
                      <a:pt x="1383" y="250"/>
                    </a:cubicBezTo>
                    <a:cubicBezTo>
                      <a:pt x="1372" y="254"/>
                      <a:pt x="1361" y="256"/>
                      <a:pt x="1350" y="256"/>
                    </a:cubicBezTo>
                    <a:cubicBezTo>
                      <a:pt x="1335" y="256"/>
                      <a:pt x="1321" y="256"/>
                      <a:pt x="1307" y="256"/>
                    </a:cubicBezTo>
                    <a:cubicBezTo>
                      <a:pt x="1306" y="256"/>
                      <a:pt x="1306" y="256"/>
                      <a:pt x="1305" y="256"/>
                    </a:cubicBezTo>
                    <a:cubicBezTo>
                      <a:pt x="1304" y="256"/>
                      <a:pt x="1304" y="255"/>
                      <a:pt x="1304" y="254"/>
                    </a:cubicBezTo>
                    <a:cubicBezTo>
                      <a:pt x="1304" y="253"/>
                      <a:pt x="1304" y="253"/>
                      <a:pt x="1304" y="252"/>
                    </a:cubicBezTo>
                    <a:cubicBezTo>
                      <a:pt x="1304" y="226"/>
                      <a:pt x="1304" y="199"/>
                      <a:pt x="1304" y="173"/>
                    </a:cubicBezTo>
                    <a:cubicBezTo>
                      <a:pt x="1304" y="147"/>
                      <a:pt x="1304" y="122"/>
                      <a:pt x="1304" y="96"/>
                    </a:cubicBezTo>
                    <a:cubicBezTo>
                      <a:pt x="1304" y="95"/>
                      <a:pt x="1304" y="94"/>
                      <a:pt x="1304" y="94"/>
                    </a:cubicBezTo>
                    <a:cubicBezTo>
                      <a:pt x="1304" y="91"/>
                      <a:pt x="1304" y="91"/>
                      <a:pt x="1307" y="91"/>
                    </a:cubicBezTo>
                    <a:cubicBezTo>
                      <a:pt x="1322" y="91"/>
                      <a:pt x="1338" y="91"/>
                      <a:pt x="1353" y="91"/>
                    </a:cubicBezTo>
                    <a:cubicBezTo>
                      <a:pt x="1366" y="92"/>
                      <a:pt x="1378" y="93"/>
                      <a:pt x="1390" y="97"/>
                    </a:cubicBezTo>
                    <a:cubicBezTo>
                      <a:pt x="1412" y="105"/>
                      <a:pt x="1426" y="120"/>
                      <a:pt x="1432" y="142"/>
                    </a:cubicBezTo>
                    <a:cubicBezTo>
                      <a:pt x="1437" y="160"/>
                      <a:pt x="1438" y="179"/>
                      <a:pt x="1433" y="197"/>
                    </a:cubicBezTo>
                    <a:close/>
                    <a:moveTo>
                      <a:pt x="1412" y="147"/>
                    </a:moveTo>
                    <a:cubicBezTo>
                      <a:pt x="1408" y="131"/>
                      <a:pt x="1397" y="120"/>
                      <a:pt x="1381" y="114"/>
                    </a:cubicBezTo>
                    <a:cubicBezTo>
                      <a:pt x="1372" y="110"/>
                      <a:pt x="1363" y="109"/>
                      <a:pt x="1353" y="109"/>
                    </a:cubicBezTo>
                    <a:cubicBezTo>
                      <a:pt x="1344" y="109"/>
                      <a:pt x="1335" y="109"/>
                      <a:pt x="1326" y="109"/>
                    </a:cubicBezTo>
                    <a:cubicBezTo>
                      <a:pt x="1325" y="109"/>
                      <a:pt x="1325" y="109"/>
                      <a:pt x="1325" y="109"/>
                    </a:cubicBezTo>
                    <a:cubicBezTo>
                      <a:pt x="1324" y="109"/>
                      <a:pt x="1323" y="109"/>
                      <a:pt x="1323" y="110"/>
                    </a:cubicBezTo>
                    <a:cubicBezTo>
                      <a:pt x="1323" y="111"/>
                      <a:pt x="1323" y="112"/>
                      <a:pt x="1323" y="112"/>
                    </a:cubicBezTo>
                    <a:cubicBezTo>
                      <a:pt x="1323" y="133"/>
                      <a:pt x="1323" y="153"/>
                      <a:pt x="1323" y="173"/>
                    </a:cubicBezTo>
                    <a:cubicBezTo>
                      <a:pt x="1323" y="194"/>
                      <a:pt x="1323" y="215"/>
                      <a:pt x="1323" y="235"/>
                    </a:cubicBezTo>
                    <a:cubicBezTo>
                      <a:pt x="1323" y="238"/>
                      <a:pt x="1323" y="238"/>
                      <a:pt x="1326" y="238"/>
                    </a:cubicBezTo>
                    <a:cubicBezTo>
                      <a:pt x="1333" y="238"/>
                      <a:pt x="1339" y="238"/>
                      <a:pt x="1346" y="238"/>
                    </a:cubicBezTo>
                    <a:cubicBezTo>
                      <a:pt x="1354" y="238"/>
                      <a:pt x="1363" y="238"/>
                      <a:pt x="1371" y="236"/>
                    </a:cubicBezTo>
                    <a:cubicBezTo>
                      <a:pt x="1391" y="230"/>
                      <a:pt x="1406" y="218"/>
                      <a:pt x="1412" y="198"/>
                    </a:cubicBezTo>
                    <a:cubicBezTo>
                      <a:pt x="1417" y="181"/>
                      <a:pt x="1417" y="164"/>
                      <a:pt x="1412" y="147"/>
                    </a:cubicBezTo>
                    <a:close/>
                    <a:moveTo>
                      <a:pt x="1772" y="256"/>
                    </a:moveTo>
                    <a:cubicBezTo>
                      <a:pt x="1769" y="256"/>
                      <a:pt x="1765" y="256"/>
                      <a:pt x="1762" y="256"/>
                    </a:cubicBezTo>
                    <a:cubicBezTo>
                      <a:pt x="1760" y="256"/>
                      <a:pt x="1757" y="256"/>
                      <a:pt x="1756" y="255"/>
                    </a:cubicBezTo>
                    <a:cubicBezTo>
                      <a:pt x="1755" y="254"/>
                      <a:pt x="1756" y="251"/>
                      <a:pt x="1756" y="249"/>
                    </a:cubicBezTo>
                    <a:cubicBezTo>
                      <a:pt x="1756" y="245"/>
                      <a:pt x="1756" y="242"/>
                      <a:pt x="1756" y="238"/>
                    </a:cubicBezTo>
                    <a:cubicBezTo>
                      <a:pt x="1754" y="238"/>
                      <a:pt x="1754" y="239"/>
                      <a:pt x="1754" y="240"/>
                    </a:cubicBezTo>
                    <a:cubicBezTo>
                      <a:pt x="1749" y="248"/>
                      <a:pt x="1742" y="254"/>
                      <a:pt x="1733" y="256"/>
                    </a:cubicBezTo>
                    <a:cubicBezTo>
                      <a:pt x="1723" y="260"/>
                      <a:pt x="1713" y="259"/>
                      <a:pt x="1703" y="256"/>
                    </a:cubicBezTo>
                    <a:cubicBezTo>
                      <a:pt x="1690" y="251"/>
                      <a:pt x="1682" y="240"/>
                      <a:pt x="1682" y="226"/>
                    </a:cubicBezTo>
                    <a:cubicBezTo>
                      <a:pt x="1682" y="222"/>
                      <a:pt x="1682" y="217"/>
                      <a:pt x="1683" y="213"/>
                    </a:cubicBezTo>
                    <a:cubicBezTo>
                      <a:pt x="1685" y="203"/>
                      <a:pt x="1692" y="196"/>
                      <a:pt x="1701" y="192"/>
                    </a:cubicBezTo>
                    <a:cubicBezTo>
                      <a:pt x="1707" y="189"/>
                      <a:pt x="1714" y="187"/>
                      <a:pt x="1721" y="186"/>
                    </a:cubicBezTo>
                    <a:cubicBezTo>
                      <a:pt x="1731" y="185"/>
                      <a:pt x="1742" y="183"/>
                      <a:pt x="1752" y="182"/>
                    </a:cubicBezTo>
                    <a:cubicBezTo>
                      <a:pt x="1756" y="181"/>
                      <a:pt x="1756" y="181"/>
                      <a:pt x="1755" y="178"/>
                    </a:cubicBezTo>
                    <a:cubicBezTo>
                      <a:pt x="1755" y="175"/>
                      <a:pt x="1755" y="172"/>
                      <a:pt x="1754" y="168"/>
                    </a:cubicBezTo>
                    <a:cubicBezTo>
                      <a:pt x="1751" y="157"/>
                      <a:pt x="1744" y="152"/>
                      <a:pt x="1732" y="152"/>
                    </a:cubicBezTo>
                    <a:cubicBezTo>
                      <a:pt x="1719" y="151"/>
                      <a:pt x="1707" y="155"/>
                      <a:pt x="1696" y="164"/>
                    </a:cubicBezTo>
                    <a:cubicBezTo>
                      <a:pt x="1695" y="164"/>
                      <a:pt x="1695" y="165"/>
                      <a:pt x="1693" y="165"/>
                    </a:cubicBezTo>
                    <a:cubicBezTo>
                      <a:pt x="1693" y="159"/>
                      <a:pt x="1693" y="154"/>
                      <a:pt x="1693" y="148"/>
                    </a:cubicBezTo>
                    <a:cubicBezTo>
                      <a:pt x="1693" y="147"/>
                      <a:pt x="1694" y="146"/>
                      <a:pt x="1695" y="145"/>
                    </a:cubicBezTo>
                    <a:cubicBezTo>
                      <a:pt x="1696" y="145"/>
                      <a:pt x="1697" y="144"/>
                      <a:pt x="1699" y="143"/>
                    </a:cubicBezTo>
                    <a:cubicBezTo>
                      <a:pt x="1711" y="138"/>
                      <a:pt x="1724" y="135"/>
                      <a:pt x="1738" y="136"/>
                    </a:cubicBezTo>
                    <a:cubicBezTo>
                      <a:pt x="1742" y="136"/>
                      <a:pt x="1746" y="137"/>
                      <a:pt x="1750" y="138"/>
                    </a:cubicBezTo>
                    <a:cubicBezTo>
                      <a:pt x="1763" y="142"/>
                      <a:pt x="1770" y="151"/>
                      <a:pt x="1773" y="163"/>
                    </a:cubicBezTo>
                    <a:cubicBezTo>
                      <a:pt x="1774" y="169"/>
                      <a:pt x="1774" y="175"/>
                      <a:pt x="1774" y="181"/>
                    </a:cubicBezTo>
                    <a:cubicBezTo>
                      <a:pt x="1775" y="205"/>
                      <a:pt x="1775" y="229"/>
                      <a:pt x="1775" y="253"/>
                    </a:cubicBezTo>
                    <a:cubicBezTo>
                      <a:pt x="1775" y="256"/>
                      <a:pt x="1775" y="256"/>
                      <a:pt x="1772" y="256"/>
                    </a:cubicBezTo>
                    <a:close/>
                    <a:moveTo>
                      <a:pt x="1756" y="204"/>
                    </a:moveTo>
                    <a:cubicBezTo>
                      <a:pt x="1756" y="202"/>
                      <a:pt x="1756" y="200"/>
                      <a:pt x="1756" y="199"/>
                    </a:cubicBezTo>
                    <a:cubicBezTo>
                      <a:pt x="1756" y="196"/>
                      <a:pt x="1756" y="196"/>
                      <a:pt x="1753" y="197"/>
                    </a:cubicBezTo>
                    <a:cubicBezTo>
                      <a:pt x="1753" y="197"/>
                      <a:pt x="1753" y="197"/>
                      <a:pt x="1753" y="197"/>
                    </a:cubicBezTo>
                    <a:cubicBezTo>
                      <a:pt x="1746" y="198"/>
                      <a:pt x="1739" y="199"/>
                      <a:pt x="1732" y="200"/>
                    </a:cubicBezTo>
                    <a:cubicBezTo>
                      <a:pt x="1726" y="201"/>
                      <a:pt x="1720" y="201"/>
                      <a:pt x="1714" y="203"/>
                    </a:cubicBezTo>
                    <a:cubicBezTo>
                      <a:pt x="1706" y="206"/>
                      <a:pt x="1702" y="211"/>
                      <a:pt x="1701" y="219"/>
                    </a:cubicBezTo>
                    <a:cubicBezTo>
                      <a:pt x="1700" y="231"/>
                      <a:pt x="1706" y="239"/>
                      <a:pt x="1717" y="242"/>
                    </a:cubicBezTo>
                    <a:cubicBezTo>
                      <a:pt x="1736" y="246"/>
                      <a:pt x="1749" y="234"/>
                      <a:pt x="1753" y="221"/>
                    </a:cubicBezTo>
                    <a:cubicBezTo>
                      <a:pt x="1755" y="216"/>
                      <a:pt x="1756" y="210"/>
                      <a:pt x="1756" y="204"/>
                    </a:cubicBezTo>
                    <a:close/>
                    <a:moveTo>
                      <a:pt x="1099" y="203"/>
                    </a:moveTo>
                    <a:cubicBezTo>
                      <a:pt x="1098" y="211"/>
                      <a:pt x="1097" y="219"/>
                      <a:pt x="1093" y="226"/>
                    </a:cubicBezTo>
                    <a:cubicBezTo>
                      <a:pt x="1084" y="245"/>
                      <a:pt x="1070" y="256"/>
                      <a:pt x="1049" y="258"/>
                    </a:cubicBezTo>
                    <a:cubicBezTo>
                      <a:pt x="1040" y="259"/>
                      <a:pt x="1031" y="259"/>
                      <a:pt x="1022" y="256"/>
                    </a:cubicBezTo>
                    <a:cubicBezTo>
                      <a:pt x="1005" y="251"/>
                      <a:pt x="994" y="240"/>
                      <a:pt x="988" y="224"/>
                    </a:cubicBezTo>
                    <a:cubicBezTo>
                      <a:pt x="981" y="205"/>
                      <a:pt x="982" y="186"/>
                      <a:pt x="990" y="167"/>
                    </a:cubicBezTo>
                    <a:cubicBezTo>
                      <a:pt x="997" y="150"/>
                      <a:pt x="1010" y="140"/>
                      <a:pt x="1028" y="137"/>
                    </a:cubicBezTo>
                    <a:cubicBezTo>
                      <a:pt x="1033" y="136"/>
                      <a:pt x="1038" y="135"/>
                      <a:pt x="1044" y="135"/>
                    </a:cubicBezTo>
                    <a:cubicBezTo>
                      <a:pt x="1051" y="135"/>
                      <a:pt x="1059" y="136"/>
                      <a:pt x="1067" y="140"/>
                    </a:cubicBezTo>
                    <a:cubicBezTo>
                      <a:pt x="1081" y="145"/>
                      <a:pt x="1090" y="156"/>
                      <a:pt x="1095" y="170"/>
                    </a:cubicBezTo>
                    <a:cubicBezTo>
                      <a:pt x="1099" y="180"/>
                      <a:pt x="1100" y="192"/>
                      <a:pt x="1099" y="203"/>
                    </a:cubicBezTo>
                    <a:close/>
                    <a:moveTo>
                      <a:pt x="1079" y="189"/>
                    </a:moveTo>
                    <a:cubicBezTo>
                      <a:pt x="1079" y="183"/>
                      <a:pt x="1078" y="178"/>
                      <a:pt x="1075" y="172"/>
                    </a:cubicBezTo>
                    <a:cubicBezTo>
                      <a:pt x="1071" y="162"/>
                      <a:pt x="1064" y="156"/>
                      <a:pt x="1053" y="153"/>
                    </a:cubicBezTo>
                    <a:cubicBezTo>
                      <a:pt x="1049" y="152"/>
                      <a:pt x="1044" y="151"/>
                      <a:pt x="1039" y="152"/>
                    </a:cubicBezTo>
                    <a:cubicBezTo>
                      <a:pt x="1023" y="152"/>
                      <a:pt x="1011" y="161"/>
                      <a:pt x="1006" y="177"/>
                    </a:cubicBezTo>
                    <a:cubicBezTo>
                      <a:pt x="1004" y="183"/>
                      <a:pt x="1003" y="190"/>
                      <a:pt x="1003" y="198"/>
                    </a:cubicBezTo>
                    <a:cubicBezTo>
                      <a:pt x="1003" y="201"/>
                      <a:pt x="1003" y="205"/>
                      <a:pt x="1004" y="208"/>
                    </a:cubicBezTo>
                    <a:cubicBezTo>
                      <a:pt x="1004" y="210"/>
                      <a:pt x="1004" y="212"/>
                      <a:pt x="1005" y="214"/>
                    </a:cubicBezTo>
                    <a:cubicBezTo>
                      <a:pt x="1009" y="227"/>
                      <a:pt x="1016" y="237"/>
                      <a:pt x="1030" y="241"/>
                    </a:cubicBezTo>
                    <a:cubicBezTo>
                      <a:pt x="1035" y="243"/>
                      <a:pt x="1042" y="243"/>
                      <a:pt x="1048" y="242"/>
                    </a:cubicBezTo>
                    <a:cubicBezTo>
                      <a:pt x="1060" y="241"/>
                      <a:pt x="1069" y="235"/>
                      <a:pt x="1075" y="223"/>
                    </a:cubicBezTo>
                    <a:cubicBezTo>
                      <a:pt x="1076" y="221"/>
                      <a:pt x="1077" y="219"/>
                      <a:pt x="1077" y="217"/>
                    </a:cubicBezTo>
                    <a:cubicBezTo>
                      <a:pt x="1080" y="208"/>
                      <a:pt x="1080" y="198"/>
                      <a:pt x="1079" y="189"/>
                    </a:cubicBezTo>
                    <a:close/>
                    <a:moveTo>
                      <a:pt x="886" y="195"/>
                    </a:moveTo>
                    <a:cubicBezTo>
                      <a:pt x="886" y="206"/>
                      <a:pt x="885" y="218"/>
                      <a:pt x="879" y="228"/>
                    </a:cubicBezTo>
                    <a:cubicBezTo>
                      <a:pt x="870" y="246"/>
                      <a:pt x="855" y="256"/>
                      <a:pt x="836" y="258"/>
                    </a:cubicBezTo>
                    <a:cubicBezTo>
                      <a:pt x="826" y="259"/>
                      <a:pt x="817" y="259"/>
                      <a:pt x="808" y="256"/>
                    </a:cubicBezTo>
                    <a:cubicBezTo>
                      <a:pt x="791" y="251"/>
                      <a:pt x="780" y="239"/>
                      <a:pt x="774" y="223"/>
                    </a:cubicBezTo>
                    <a:cubicBezTo>
                      <a:pt x="768" y="205"/>
                      <a:pt x="769" y="186"/>
                      <a:pt x="776" y="169"/>
                    </a:cubicBezTo>
                    <a:cubicBezTo>
                      <a:pt x="784" y="150"/>
                      <a:pt x="798" y="139"/>
                      <a:pt x="819" y="136"/>
                    </a:cubicBezTo>
                    <a:cubicBezTo>
                      <a:pt x="828" y="135"/>
                      <a:pt x="837" y="135"/>
                      <a:pt x="846" y="137"/>
                    </a:cubicBezTo>
                    <a:cubicBezTo>
                      <a:pt x="865" y="142"/>
                      <a:pt x="876" y="154"/>
                      <a:pt x="882" y="172"/>
                    </a:cubicBezTo>
                    <a:cubicBezTo>
                      <a:pt x="885" y="179"/>
                      <a:pt x="886" y="186"/>
                      <a:pt x="886" y="195"/>
                    </a:cubicBezTo>
                    <a:close/>
                    <a:moveTo>
                      <a:pt x="867" y="198"/>
                    </a:moveTo>
                    <a:cubicBezTo>
                      <a:pt x="867" y="190"/>
                      <a:pt x="866" y="183"/>
                      <a:pt x="864" y="176"/>
                    </a:cubicBezTo>
                    <a:cubicBezTo>
                      <a:pt x="860" y="164"/>
                      <a:pt x="852" y="156"/>
                      <a:pt x="840" y="153"/>
                    </a:cubicBezTo>
                    <a:cubicBezTo>
                      <a:pt x="836" y="152"/>
                      <a:pt x="831" y="151"/>
                      <a:pt x="827" y="152"/>
                    </a:cubicBezTo>
                    <a:cubicBezTo>
                      <a:pt x="811" y="152"/>
                      <a:pt x="799" y="161"/>
                      <a:pt x="793" y="176"/>
                    </a:cubicBezTo>
                    <a:cubicBezTo>
                      <a:pt x="788" y="189"/>
                      <a:pt x="788" y="203"/>
                      <a:pt x="793" y="217"/>
                    </a:cubicBezTo>
                    <a:cubicBezTo>
                      <a:pt x="796" y="229"/>
                      <a:pt x="804" y="237"/>
                      <a:pt x="816" y="241"/>
                    </a:cubicBezTo>
                    <a:cubicBezTo>
                      <a:pt x="822" y="242"/>
                      <a:pt x="827" y="243"/>
                      <a:pt x="833" y="242"/>
                    </a:cubicBezTo>
                    <a:cubicBezTo>
                      <a:pt x="847" y="241"/>
                      <a:pt x="857" y="234"/>
                      <a:pt x="862" y="221"/>
                    </a:cubicBezTo>
                    <a:cubicBezTo>
                      <a:pt x="866" y="214"/>
                      <a:pt x="867" y="205"/>
                      <a:pt x="867" y="198"/>
                    </a:cubicBezTo>
                    <a:close/>
                  </a:path>
                </a:pathLst>
              </a:custGeom>
              <a:solidFill>
                <a:schemeClr val="bg1"/>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sz="1800" kern="0">
                  <a:solidFill>
                    <a:prstClr val="black"/>
                  </a:solidFill>
                </a:endParaRPr>
              </a:p>
            </p:txBody>
          </p:sp>
          <p:sp>
            <p:nvSpPr>
              <p:cNvPr id="109" name="Freeform 26"/>
              <p:cNvSpPr>
                <a:spLocks noChangeAspect="1" noEditPoints="1"/>
              </p:cNvSpPr>
              <p:nvPr/>
            </p:nvSpPr>
            <p:spPr bwMode="black">
              <a:xfrm>
                <a:off x="1962380" y="2610463"/>
                <a:ext cx="999521" cy="220466"/>
              </a:xfrm>
              <a:custGeom>
                <a:avLst/>
                <a:gdLst>
                  <a:gd name="T0" fmla="*/ 1225 w 3933"/>
                  <a:gd name="T1" fmla="*/ 701 h 865"/>
                  <a:gd name="T2" fmla="*/ 1013 w 3933"/>
                  <a:gd name="T3" fmla="*/ 295 h 865"/>
                  <a:gd name="T4" fmla="*/ 1442 w 3933"/>
                  <a:gd name="T5" fmla="*/ 291 h 865"/>
                  <a:gd name="T6" fmla="*/ 1229 w 3933"/>
                  <a:gd name="T7" fmla="*/ 220 h 865"/>
                  <a:gd name="T8" fmla="*/ 1068 w 3933"/>
                  <a:gd name="T9" fmla="*/ 545 h 865"/>
                  <a:gd name="T10" fmla="*/ 1409 w 3933"/>
                  <a:gd name="T11" fmla="*/ 435 h 865"/>
                  <a:gd name="T12" fmla="*/ 1633 w 3933"/>
                  <a:gd name="T13" fmla="*/ 322 h 865"/>
                  <a:gd name="T14" fmla="*/ 1633 w 3933"/>
                  <a:gd name="T15" fmla="*/ 692 h 865"/>
                  <a:gd name="T16" fmla="*/ 1511 w 3933"/>
                  <a:gd name="T17" fmla="*/ 322 h 865"/>
                  <a:gd name="T18" fmla="*/ 1692 w 3933"/>
                  <a:gd name="T19" fmla="*/ 136 h 865"/>
                  <a:gd name="T20" fmla="*/ 1899 w 3933"/>
                  <a:gd name="T21" fmla="*/ 186 h 865"/>
                  <a:gd name="T22" fmla="*/ 1924 w 3933"/>
                  <a:gd name="T23" fmla="*/ 372 h 865"/>
                  <a:gd name="T24" fmla="*/ 1777 w 3933"/>
                  <a:gd name="T25" fmla="*/ 372 h 865"/>
                  <a:gd name="T26" fmla="*/ 1777 w 3933"/>
                  <a:gd name="T27" fmla="*/ 262 h 865"/>
                  <a:gd name="T28" fmla="*/ 1938 w 3933"/>
                  <a:gd name="T29" fmla="*/ 196 h 865"/>
                  <a:gd name="T30" fmla="*/ 1981 w 3933"/>
                  <a:gd name="T31" fmla="*/ 217 h 865"/>
                  <a:gd name="T32" fmla="*/ 2037 w 3933"/>
                  <a:gd name="T33" fmla="*/ 162 h 865"/>
                  <a:gd name="T34" fmla="*/ 1978 w 3933"/>
                  <a:gd name="T35" fmla="*/ 322 h 865"/>
                  <a:gd name="T36" fmla="*/ 2275 w 3933"/>
                  <a:gd name="T37" fmla="*/ 701 h 865"/>
                  <a:gd name="T38" fmla="*/ 2151 w 3933"/>
                  <a:gd name="T39" fmla="*/ 369 h 865"/>
                  <a:gd name="T40" fmla="*/ 2289 w 3933"/>
                  <a:gd name="T41" fmla="*/ 364 h 865"/>
                  <a:gd name="T42" fmla="*/ 2285 w 3933"/>
                  <a:gd name="T43" fmla="*/ 651 h 865"/>
                  <a:gd name="T44" fmla="*/ 2480 w 3933"/>
                  <a:gd name="T45" fmla="*/ 522 h 865"/>
                  <a:gd name="T46" fmla="*/ 2716 w 3933"/>
                  <a:gd name="T47" fmla="*/ 666 h 865"/>
                  <a:gd name="T48" fmla="*/ 2441 w 3933"/>
                  <a:gd name="T49" fmla="*/ 408 h 865"/>
                  <a:gd name="T50" fmla="*/ 2742 w 3933"/>
                  <a:gd name="T51" fmla="*/ 491 h 865"/>
                  <a:gd name="T52" fmla="*/ 2588 w 3933"/>
                  <a:gd name="T53" fmla="*/ 364 h 865"/>
                  <a:gd name="T54" fmla="*/ 3193 w 3933"/>
                  <a:gd name="T55" fmla="*/ 546 h 865"/>
                  <a:gd name="T56" fmla="*/ 2892 w 3933"/>
                  <a:gd name="T57" fmla="*/ 610 h 865"/>
                  <a:gd name="T58" fmla="*/ 2987 w 3933"/>
                  <a:gd name="T59" fmla="*/ 449 h 865"/>
                  <a:gd name="T60" fmla="*/ 3113 w 3933"/>
                  <a:gd name="T61" fmla="*/ 304 h 865"/>
                  <a:gd name="T62" fmla="*/ 3030 w 3933"/>
                  <a:gd name="T63" fmla="*/ 165 h 865"/>
                  <a:gd name="T64" fmla="*/ 3070 w 3933"/>
                  <a:gd name="T65" fmla="*/ 422 h 865"/>
                  <a:gd name="T66" fmla="*/ 3563 w 3933"/>
                  <a:gd name="T67" fmla="*/ 617 h 865"/>
                  <a:gd name="T68" fmla="*/ 3254 w 3933"/>
                  <a:gd name="T69" fmla="*/ 464 h 865"/>
                  <a:gd name="T70" fmla="*/ 3552 w 3933"/>
                  <a:gd name="T71" fmla="*/ 180 h 865"/>
                  <a:gd name="T72" fmla="*/ 3316 w 3933"/>
                  <a:gd name="T73" fmla="*/ 441 h 865"/>
                  <a:gd name="T74" fmla="*/ 3584 w 3933"/>
                  <a:gd name="T75" fmla="*/ 528 h 865"/>
                  <a:gd name="T76" fmla="*/ 3349 w 3933"/>
                  <a:gd name="T77" fmla="*/ 449 h 865"/>
                  <a:gd name="T78" fmla="*/ 3495 w 3933"/>
                  <a:gd name="T79" fmla="*/ 619 h 865"/>
                  <a:gd name="T80" fmla="*/ 3749 w 3933"/>
                  <a:gd name="T81" fmla="*/ 701 h 865"/>
                  <a:gd name="T82" fmla="*/ 3838 w 3933"/>
                  <a:gd name="T83" fmla="*/ 620 h 865"/>
                  <a:gd name="T84" fmla="*/ 3651 w 3933"/>
                  <a:gd name="T85" fmla="*/ 434 h 865"/>
                  <a:gd name="T86" fmla="*/ 3721 w 3933"/>
                  <a:gd name="T87" fmla="*/ 227 h 865"/>
                  <a:gd name="T88" fmla="*/ 3933 w 3933"/>
                  <a:gd name="T89" fmla="*/ 534 h 865"/>
                  <a:gd name="T90" fmla="*/ 464 w 3933"/>
                  <a:gd name="T91" fmla="*/ 0 h 865"/>
                  <a:gd name="T92" fmla="*/ 158 w 3933"/>
                  <a:gd name="T93" fmla="*/ 632 h 865"/>
                  <a:gd name="T94" fmla="*/ 1 w 3933"/>
                  <a:gd name="T95" fmla="*/ 694 h 865"/>
                  <a:gd name="T96" fmla="*/ 722 w 3933"/>
                  <a:gd name="T97" fmla="*/ 793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933" h="865">
                    <a:moveTo>
                      <a:pt x="1472" y="427"/>
                    </a:moveTo>
                    <a:cubicBezTo>
                      <a:pt x="1472" y="482"/>
                      <a:pt x="1462" y="530"/>
                      <a:pt x="1442" y="572"/>
                    </a:cubicBezTo>
                    <a:cubicBezTo>
                      <a:pt x="1422" y="613"/>
                      <a:pt x="1393" y="645"/>
                      <a:pt x="1355" y="668"/>
                    </a:cubicBezTo>
                    <a:cubicBezTo>
                      <a:pt x="1318" y="690"/>
                      <a:pt x="1274" y="701"/>
                      <a:pt x="1225" y="701"/>
                    </a:cubicBezTo>
                    <a:cubicBezTo>
                      <a:pt x="1177" y="701"/>
                      <a:pt x="1135" y="691"/>
                      <a:pt x="1098" y="669"/>
                    </a:cubicBezTo>
                    <a:cubicBezTo>
                      <a:pt x="1061" y="647"/>
                      <a:pt x="1033" y="616"/>
                      <a:pt x="1012" y="576"/>
                    </a:cubicBezTo>
                    <a:cubicBezTo>
                      <a:pt x="992" y="536"/>
                      <a:pt x="982" y="490"/>
                      <a:pt x="982" y="439"/>
                    </a:cubicBezTo>
                    <a:cubicBezTo>
                      <a:pt x="982" y="384"/>
                      <a:pt x="992" y="336"/>
                      <a:pt x="1013" y="295"/>
                    </a:cubicBezTo>
                    <a:cubicBezTo>
                      <a:pt x="1033" y="253"/>
                      <a:pt x="1063" y="221"/>
                      <a:pt x="1101" y="199"/>
                    </a:cubicBezTo>
                    <a:cubicBezTo>
                      <a:pt x="1139" y="176"/>
                      <a:pt x="1184" y="165"/>
                      <a:pt x="1234" y="165"/>
                    </a:cubicBezTo>
                    <a:cubicBezTo>
                      <a:pt x="1280" y="165"/>
                      <a:pt x="1321" y="176"/>
                      <a:pt x="1358" y="198"/>
                    </a:cubicBezTo>
                    <a:cubicBezTo>
                      <a:pt x="1394" y="220"/>
                      <a:pt x="1423" y="251"/>
                      <a:pt x="1442" y="291"/>
                    </a:cubicBezTo>
                    <a:cubicBezTo>
                      <a:pt x="1462" y="330"/>
                      <a:pt x="1472" y="376"/>
                      <a:pt x="1472" y="427"/>
                    </a:cubicBezTo>
                    <a:close/>
                    <a:moveTo>
                      <a:pt x="1409" y="435"/>
                    </a:moveTo>
                    <a:cubicBezTo>
                      <a:pt x="1409" y="367"/>
                      <a:pt x="1393" y="314"/>
                      <a:pt x="1361" y="276"/>
                    </a:cubicBezTo>
                    <a:cubicBezTo>
                      <a:pt x="1330" y="239"/>
                      <a:pt x="1286" y="220"/>
                      <a:pt x="1229" y="220"/>
                    </a:cubicBezTo>
                    <a:cubicBezTo>
                      <a:pt x="1194" y="220"/>
                      <a:pt x="1162" y="229"/>
                      <a:pt x="1134" y="247"/>
                    </a:cubicBezTo>
                    <a:cubicBezTo>
                      <a:pt x="1106" y="265"/>
                      <a:pt x="1084" y="290"/>
                      <a:pt x="1069" y="323"/>
                    </a:cubicBezTo>
                    <a:cubicBezTo>
                      <a:pt x="1053" y="356"/>
                      <a:pt x="1046" y="393"/>
                      <a:pt x="1046" y="434"/>
                    </a:cubicBezTo>
                    <a:cubicBezTo>
                      <a:pt x="1046" y="475"/>
                      <a:pt x="1053" y="512"/>
                      <a:pt x="1068" y="545"/>
                    </a:cubicBezTo>
                    <a:cubicBezTo>
                      <a:pt x="1083" y="577"/>
                      <a:pt x="1104" y="602"/>
                      <a:pt x="1131" y="620"/>
                    </a:cubicBezTo>
                    <a:cubicBezTo>
                      <a:pt x="1159" y="638"/>
                      <a:pt x="1190" y="646"/>
                      <a:pt x="1225" y="646"/>
                    </a:cubicBezTo>
                    <a:cubicBezTo>
                      <a:pt x="1282" y="646"/>
                      <a:pt x="1327" y="628"/>
                      <a:pt x="1360" y="590"/>
                    </a:cubicBezTo>
                    <a:cubicBezTo>
                      <a:pt x="1392" y="552"/>
                      <a:pt x="1409" y="501"/>
                      <a:pt x="1409" y="435"/>
                    </a:cubicBezTo>
                    <a:close/>
                    <a:moveTo>
                      <a:pt x="1735" y="196"/>
                    </a:moveTo>
                    <a:cubicBezTo>
                      <a:pt x="1723" y="190"/>
                      <a:pt x="1710" y="186"/>
                      <a:pt x="1695" y="186"/>
                    </a:cubicBezTo>
                    <a:cubicBezTo>
                      <a:pt x="1654" y="186"/>
                      <a:pt x="1633" y="213"/>
                      <a:pt x="1633" y="265"/>
                    </a:cubicBezTo>
                    <a:cubicBezTo>
                      <a:pt x="1633" y="322"/>
                      <a:pt x="1633" y="322"/>
                      <a:pt x="1633" y="322"/>
                    </a:cubicBezTo>
                    <a:cubicBezTo>
                      <a:pt x="1720" y="322"/>
                      <a:pt x="1720" y="322"/>
                      <a:pt x="1720" y="322"/>
                    </a:cubicBezTo>
                    <a:cubicBezTo>
                      <a:pt x="1720" y="372"/>
                      <a:pt x="1720" y="372"/>
                      <a:pt x="1720" y="372"/>
                    </a:cubicBezTo>
                    <a:cubicBezTo>
                      <a:pt x="1633" y="372"/>
                      <a:pt x="1633" y="372"/>
                      <a:pt x="1633" y="372"/>
                    </a:cubicBezTo>
                    <a:cubicBezTo>
                      <a:pt x="1633" y="692"/>
                      <a:pt x="1633" y="692"/>
                      <a:pt x="1633" y="692"/>
                    </a:cubicBezTo>
                    <a:cubicBezTo>
                      <a:pt x="1574" y="692"/>
                      <a:pt x="1574" y="692"/>
                      <a:pt x="1574" y="692"/>
                    </a:cubicBezTo>
                    <a:cubicBezTo>
                      <a:pt x="1574" y="372"/>
                      <a:pt x="1574" y="372"/>
                      <a:pt x="1574" y="372"/>
                    </a:cubicBezTo>
                    <a:cubicBezTo>
                      <a:pt x="1511" y="372"/>
                      <a:pt x="1511" y="372"/>
                      <a:pt x="1511" y="372"/>
                    </a:cubicBezTo>
                    <a:cubicBezTo>
                      <a:pt x="1511" y="322"/>
                      <a:pt x="1511" y="322"/>
                      <a:pt x="1511" y="322"/>
                    </a:cubicBezTo>
                    <a:cubicBezTo>
                      <a:pt x="1574" y="322"/>
                      <a:pt x="1574" y="322"/>
                      <a:pt x="1574" y="322"/>
                    </a:cubicBezTo>
                    <a:cubicBezTo>
                      <a:pt x="1574" y="262"/>
                      <a:pt x="1574" y="262"/>
                      <a:pt x="1574" y="262"/>
                    </a:cubicBezTo>
                    <a:cubicBezTo>
                      <a:pt x="1574" y="224"/>
                      <a:pt x="1585" y="194"/>
                      <a:pt x="1607" y="171"/>
                    </a:cubicBezTo>
                    <a:cubicBezTo>
                      <a:pt x="1629" y="148"/>
                      <a:pt x="1657" y="136"/>
                      <a:pt x="1692" y="136"/>
                    </a:cubicBezTo>
                    <a:cubicBezTo>
                      <a:pt x="1710" y="136"/>
                      <a:pt x="1724" y="138"/>
                      <a:pt x="1735" y="143"/>
                    </a:cubicBezTo>
                    <a:lnTo>
                      <a:pt x="1735" y="196"/>
                    </a:lnTo>
                    <a:close/>
                    <a:moveTo>
                      <a:pt x="1938" y="196"/>
                    </a:moveTo>
                    <a:cubicBezTo>
                      <a:pt x="1927" y="190"/>
                      <a:pt x="1914" y="186"/>
                      <a:pt x="1899" y="186"/>
                    </a:cubicBezTo>
                    <a:cubicBezTo>
                      <a:pt x="1858" y="186"/>
                      <a:pt x="1837" y="213"/>
                      <a:pt x="1837" y="265"/>
                    </a:cubicBezTo>
                    <a:cubicBezTo>
                      <a:pt x="1837" y="322"/>
                      <a:pt x="1837" y="322"/>
                      <a:pt x="1837" y="322"/>
                    </a:cubicBezTo>
                    <a:cubicBezTo>
                      <a:pt x="1924" y="322"/>
                      <a:pt x="1924" y="322"/>
                      <a:pt x="1924" y="322"/>
                    </a:cubicBezTo>
                    <a:cubicBezTo>
                      <a:pt x="1924" y="372"/>
                      <a:pt x="1924" y="372"/>
                      <a:pt x="1924" y="372"/>
                    </a:cubicBezTo>
                    <a:cubicBezTo>
                      <a:pt x="1837" y="372"/>
                      <a:pt x="1837" y="372"/>
                      <a:pt x="1837" y="372"/>
                    </a:cubicBezTo>
                    <a:cubicBezTo>
                      <a:pt x="1837" y="692"/>
                      <a:pt x="1837" y="692"/>
                      <a:pt x="1837" y="692"/>
                    </a:cubicBezTo>
                    <a:cubicBezTo>
                      <a:pt x="1777" y="692"/>
                      <a:pt x="1777" y="692"/>
                      <a:pt x="1777" y="692"/>
                    </a:cubicBezTo>
                    <a:cubicBezTo>
                      <a:pt x="1777" y="372"/>
                      <a:pt x="1777" y="372"/>
                      <a:pt x="1777" y="372"/>
                    </a:cubicBezTo>
                    <a:cubicBezTo>
                      <a:pt x="1715" y="372"/>
                      <a:pt x="1715" y="372"/>
                      <a:pt x="1715" y="372"/>
                    </a:cubicBezTo>
                    <a:cubicBezTo>
                      <a:pt x="1715" y="322"/>
                      <a:pt x="1715" y="322"/>
                      <a:pt x="1715" y="322"/>
                    </a:cubicBezTo>
                    <a:cubicBezTo>
                      <a:pt x="1777" y="322"/>
                      <a:pt x="1777" y="322"/>
                      <a:pt x="1777" y="322"/>
                    </a:cubicBezTo>
                    <a:cubicBezTo>
                      <a:pt x="1777" y="262"/>
                      <a:pt x="1777" y="262"/>
                      <a:pt x="1777" y="262"/>
                    </a:cubicBezTo>
                    <a:cubicBezTo>
                      <a:pt x="1777" y="224"/>
                      <a:pt x="1789" y="194"/>
                      <a:pt x="1811" y="171"/>
                    </a:cubicBezTo>
                    <a:cubicBezTo>
                      <a:pt x="1833" y="148"/>
                      <a:pt x="1861" y="136"/>
                      <a:pt x="1895" y="136"/>
                    </a:cubicBezTo>
                    <a:cubicBezTo>
                      <a:pt x="1913" y="136"/>
                      <a:pt x="1928" y="138"/>
                      <a:pt x="1938" y="143"/>
                    </a:cubicBezTo>
                    <a:lnTo>
                      <a:pt x="1938" y="196"/>
                    </a:lnTo>
                    <a:close/>
                    <a:moveTo>
                      <a:pt x="2048" y="189"/>
                    </a:moveTo>
                    <a:cubicBezTo>
                      <a:pt x="2048" y="200"/>
                      <a:pt x="2044" y="210"/>
                      <a:pt x="2036" y="217"/>
                    </a:cubicBezTo>
                    <a:cubicBezTo>
                      <a:pt x="2029" y="224"/>
                      <a:pt x="2019" y="228"/>
                      <a:pt x="2009" y="228"/>
                    </a:cubicBezTo>
                    <a:cubicBezTo>
                      <a:pt x="1998" y="228"/>
                      <a:pt x="1989" y="224"/>
                      <a:pt x="1981" y="217"/>
                    </a:cubicBezTo>
                    <a:cubicBezTo>
                      <a:pt x="1974" y="210"/>
                      <a:pt x="1970" y="201"/>
                      <a:pt x="1970" y="189"/>
                    </a:cubicBezTo>
                    <a:cubicBezTo>
                      <a:pt x="1970" y="179"/>
                      <a:pt x="1974" y="170"/>
                      <a:pt x="1981" y="162"/>
                    </a:cubicBezTo>
                    <a:cubicBezTo>
                      <a:pt x="1988" y="155"/>
                      <a:pt x="1998" y="151"/>
                      <a:pt x="2009" y="151"/>
                    </a:cubicBezTo>
                    <a:cubicBezTo>
                      <a:pt x="2020" y="151"/>
                      <a:pt x="2029" y="155"/>
                      <a:pt x="2037" y="162"/>
                    </a:cubicBezTo>
                    <a:cubicBezTo>
                      <a:pt x="2044" y="170"/>
                      <a:pt x="2048" y="179"/>
                      <a:pt x="2048" y="189"/>
                    </a:cubicBezTo>
                    <a:close/>
                    <a:moveTo>
                      <a:pt x="2038" y="692"/>
                    </a:moveTo>
                    <a:cubicBezTo>
                      <a:pt x="1978" y="692"/>
                      <a:pt x="1978" y="692"/>
                      <a:pt x="1978" y="692"/>
                    </a:cubicBezTo>
                    <a:cubicBezTo>
                      <a:pt x="1978" y="322"/>
                      <a:pt x="1978" y="322"/>
                      <a:pt x="1978" y="322"/>
                    </a:cubicBezTo>
                    <a:cubicBezTo>
                      <a:pt x="2038" y="322"/>
                      <a:pt x="2038" y="322"/>
                      <a:pt x="2038" y="322"/>
                    </a:cubicBezTo>
                    <a:lnTo>
                      <a:pt x="2038" y="692"/>
                    </a:lnTo>
                    <a:close/>
                    <a:moveTo>
                      <a:pt x="2376" y="675"/>
                    </a:moveTo>
                    <a:cubicBezTo>
                      <a:pt x="2348" y="693"/>
                      <a:pt x="2314" y="701"/>
                      <a:pt x="2275" y="701"/>
                    </a:cubicBezTo>
                    <a:cubicBezTo>
                      <a:pt x="2241" y="701"/>
                      <a:pt x="2211" y="694"/>
                      <a:pt x="2184" y="678"/>
                    </a:cubicBezTo>
                    <a:cubicBezTo>
                      <a:pt x="2157" y="663"/>
                      <a:pt x="2136" y="641"/>
                      <a:pt x="2121" y="612"/>
                    </a:cubicBezTo>
                    <a:cubicBezTo>
                      <a:pt x="2106" y="584"/>
                      <a:pt x="2099" y="552"/>
                      <a:pt x="2099" y="516"/>
                    </a:cubicBezTo>
                    <a:cubicBezTo>
                      <a:pt x="2099" y="455"/>
                      <a:pt x="2116" y="406"/>
                      <a:pt x="2151" y="369"/>
                    </a:cubicBezTo>
                    <a:cubicBezTo>
                      <a:pt x="2186" y="332"/>
                      <a:pt x="2233" y="313"/>
                      <a:pt x="2291" y="313"/>
                    </a:cubicBezTo>
                    <a:cubicBezTo>
                      <a:pt x="2324" y="313"/>
                      <a:pt x="2352" y="319"/>
                      <a:pt x="2377" y="332"/>
                    </a:cubicBezTo>
                    <a:cubicBezTo>
                      <a:pt x="2377" y="393"/>
                      <a:pt x="2377" y="393"/>
                      <a:pt x="2377" y="393"/>
                    </a:cubicBezTo>
                    <a:cubicBezTo>
                      <a:pt x="2349" y="373"/>
                      <a:pt x="2320" y="364"/>
                      <a:pt x="2289" y="364"/>
                    </a:cubicBezTo>
                    <a:cubicBezTo>
                      <a:pt x="2250" y="364"/>
                      <a:pt x="2219" y="377"/>
                      <a:pt x="2195" y="405"/>
                    </a:cubicBezTo>
                    <a:cubicBezTo>
                      <a:pt x="2171" y="432"/>
                      <a:pt x="2159" y="467"/>
                      <a:pt x="2159" y="511"/>
                    </a:cubicBezTo>
                    <a:cubicBezTo>
                      <a:pt x="2159" y="554"/>
                      <a:pt x="2171" y="588"/>
                      <a:pt x="2193" y="613"/>
                    </a:cubicBezTo>
                    <a:cubicBezTo>
                      <a:pt x="2216" y="638"/>
                      <a:pt x="2247" y="651"/>
                      <a:pt x="2285" y="651"/>
                    </a:cubicBezTo>
                    <a:cubicBezTo>
                      <a:pt x="2317" y="651"/>
                      <a:pt x="2348" y="640"/>
                      <a:pt x="2376" y="619"/>
                    </a:cubicBezTo>
                    <a:lnTo>
                      <a:pt x="2376" y="675"/>
                    </a:lnTo>
                    <a:close/>
                    <a:moveTo>
                      <a:pt x="2742" y="522"/>
                    </a:moveTo>
                    <a:cubicBezTo>
                      <a:pt x="2480" y="522"/>
                      <a:pt x="2480" y="522"/>
                      <a:pt x="2480" y="522"/>
                    </a:cubicBezTo>
                    <a:cubicBezTo>
                      <a:pt x="2481" y="564"/>
                      <a:pt x="2492" y="596"/>
                      <a:pt x="2513" y="618"/>
                    </a:cubicBezTo>
                    <a:cubicBezTo>
                      <a:pt x="2534" y="640"/>
                      <a:pt x="2564" y="651"/>
                      <a:pt x="2601" y="651"/>
                    </a:cubicBezTo>
                    <a:cubicBezTo>
                      <a:pt x="2643" y="651"/>
                      <a:pt x="2681" y="637"/>
                      <a:pt x="2716" y="610"/>
                    </a:cubicBezTo>
                    <a:cubicBezTo>
                      <a:pt x="2716" y="666"/>
                      <a:pt x="2716" y="666"/>
                      <a:pt x="2716" y="666"/>
                    </a:cubicBezTo>
                    <a:cubicBezTo>
                      <a:pt x="2683" y="689"/>
                      <a:pt x="2640" y="701"/>
                      <a:pt x="2587" y="701"/>
                    </a:cubicBezTo>
                    <a:cubicBezTo>
                      <a:pt x="2534" y="701"/>
                      <a:pt x="2493" y="684"/>
                      <a:pt x="2463" y="650"/>
                    </a:cubicBezTo>
                    <a:cubicBezTo>
                      <a:pt x="2433" y="616"/>
                      <a:pt x="2419" y="569"/>
                      <a:pt x="2419" y="509"/>
                    </a:cubicBezTo>
                    <a:cubicBezTo>
                      <a:pt x="2419" y="472"/>
                      <a:pt x="2426" y="439"/>
                      <a:pt x="2441" y="408"/>
                    </a:cubicBezTo>
                    <a:cubicBezTo>
                      <a:pt x="2456" y="378"/>
                      <a:pt x="2476" y="355"/>
                      <a:pt x="2502" y="338"/>
                    </a:cubicBezTo>
                    <a:cubicBezTo>
                      <a:pt x="2528" y="321"/>
                      <a:pt x="2557" y="313"/>
                      <a:pt x="2589" y="313"/>
                    </a:cubicBezTo>
                    <a:cubicBezTo>
                      <a:pt x="2637" y="313"/>
                      <a:pt x="2674" y="329"/>
                      <a:pt x="2701" y="360"/>
                    </a:cubicBezTo>
                    <a:cubicBezTo>
                      <a:pt x="2728" y="391"/>
                      <a:pt x="2742" y="435"/>
                      <a:pt x="2742" y="491"/>
                    </a:cubicBezTo>
                    <a:lnTo>
                      <a:pt x="2742" y="522"/>
                    </a:lnTo>
                    <a:close/>
                    <a:moveTo>
                      <a:pt x="2681" y="472"/>
                    </a:moveTo>
                    <a:cubicBezTo>
                      <a:pt x="2680" y="438"/>
                      <a:pt x="2672" y="411"/>
                      <a:pt x="2656" y="392"/>
                    </a:cubicBezTo>
                    <a:cubicBezTo>
                      <a:pt x="2640" y="373"/>
                      <a:pt x="2617" y="364"/>
                      <a:pt x="2588" y="364"/>
                    </a:cubicBezTo>
                    <a:cubicBezTo>
                      <a:pt x="2561" y="364"/>
                      <a:pt x="2537" y="374"/>
                      <a:pt x="2518" y="393"/>
                    </a:cubicBezTo>
                    <a:cubicBezTo>
                      <a:pt x="2498" y="413"/>
                      <a:pt x="2486" y="439"/>
                      <a:pt x="2481" y="472"/>
                    </a:cubicBezTo>
                    <a:lnTo>
                      <a:pt x="2681" y="472"/>
                    </a:lnTo>
                    <a:close/>
                    <a:moveTo>
                      <a:pt x="3193" y="546"/>
                    </a:moveTo>
                    <a:cubicBezTo>
                      <a:pt x="3193" y="592"/>
                      <a:pt x="3176" y="630"/>
                      <a:pt x="3142" y="659"/>
                    </a:cubicBezTo>
                    <a:cubicBezTo>
                      <a:pt x="3109" y="687"/>
                      <a:pt x="3065" y="701"/>
                      <a:pt x="3010" y="701"/>
                    </a:cubicBezTo>
                    <a:cubicBezTo>
                      <a:pt x="2961" y="701"/>
                      <a:pt x="2922" y="692"/>
                      <a:pt x="2892" y="673"/>
                    </a:cubicBezTo>
                    <a:cubicBezTo>
                      <a:pt x="2892" y="610"/>
                      <a:pt x="2892" y="610"/>
                      <a:pt x="2892" y="610"/>
                    </a:cubicBezTo>
                    <a:cubicBezTo>
                      <a:pt x="2927" y="637"/>
                      <a:pt x="2967" y="651"/>
                      <a:pt x="3013" y="651"/>
                    </a:cubicBezTo>
                    <a:cubicBezTo>
                      <a:pt x="3049" y="651"/>
                      <a:pt x="3078" y="642"/>
                      <a:pt x="3100" y="624"/>
                    </a:cubicBezTo>
                    <a:cubicBezTo>
                      <a:pt x="3121" y="606"/>
                      <a:pt x="3132" y="582"/>
                      <a:pt x="3132" y="551"/>
                    </a:cubicBezTo>
                    <a:cubicBezTo>
                      <a:pt x="3132" y="483"/>
                      <a:pt x="3084" y="449"/>
                      <a:pt x="2987" y="449"/>
                    </a:cubicBezTo>
                    <a:cubicBezTo>
                      <a:pt x="2944" y="449"/>
                      <a:pt x="2944" y="449"/>
                      <a:pt x="2944" y="449"/>
                    </a:cubicBezTo>
                    <a:cubicBezTo>
                      <a:pt x="2944" y="399"/>
                      <a:pt x="2944" y="399"/>
                      <a:pt x="2944" y="399"/>
                    </a:cubicBezTo>
                    <a:cubicBezTo>
                      <a:pt x="2985" y="399"/>
                      <a:pt x="2985" y="399"/>
                      <a:pt x="2985" y="399"/>
                    </a:cubicBezTo>
                    <a:cubicBezTo>
                      <a:pt x="3070" y="399"/>
                      <a:pt x="3113" y="367"/>
                      <a:pt x="3113" y="304"/>
                    </a:cubicBezTo>
                    <a:cubicBezTo>
                      <a:pt x="3113" y="245"/>
                      <a:pt x="3081" y="215"/>
                      <a:pt x="3015" y="215"/>
                    </a:cubicBezTo>
                    <a:cubicBezTo>
                      <a:pt x="2979" y="215"/>
                      <a:pt x="2944" y="228"/>
                      <a:pt x="2912" y="252"/>
                    </a:cubicBezTo>
                    <a:cubicBezTo>
                      <a:pt x="2912" y="195"/>
                      <a:pt x="2912" y="195"/>
                      <a:pt x="2912" y="195"/>
                    </a:cubicBezTo>
                    <a:cubicBezTo>
                      <a:pt x="2945" y="175"/>
                      <a:pt x="2985" y="165"/>
                      <a:pt x="3030" y="165"/>
                    </a:cubicBezTo>
                    <a:cubicBezTo>
                      <a:pt x="3073" y="165"/>
                      <a:pt x="3108" y="176"/>
                      <a:pt x="3134" y="199"/>
                    </a:cubicBezTo>
                    <a:cubicBezTo>
                      <a:pt x="3161" y="222"/>
                      <a:pt x="3174" y="252"/>
                      <a:pt x="3174" y="289"/>
                    </a:cubicBezTo>
                    <a:cubicBezTo>
                      <a:pt x="3174" y="357"/>
                      <a:pt x="3139" y="401"/>
                      <a:pt x="3070" y="420"/>
                    </a:cubicBezTo>
                    <a:cubicBezTo>
                      <a:pt x="3070" y="422"/>
                      <a:pt x="3070" y="422"/>
                      <a:pt x="3070" y="422"/>
                    </a:cubicBezTo>
                    <a:cubicBezTo>
                      <a:pt x="3107" y="426"/>
                      <a:pt x="3137" y="439"/>
                      <a:pt x="3159" y="462"/>
                    </a:cubicBezTo>
                    <a:cubicBezTo>
                      <a:pt x="3181" y="484"/>
                      <a:pt x="3193" y="512"/>
                      <a:pt x="3193" y="546"/>
                    </a:cubicBezTo>
                    <a:close/>
                    <a:moveTo>
                      <a:pt x="3584" y="528"/>
                    </a:moveTo>
                    <a:cubicBezTo>
                      <a:pt x="3584" y="561"/>
                      <a:pt x="3577" y="590"/>
                      <a:pt x="3563" y="617"/>
                    </a:cubicBezTo>
                    <a:cubicBezTo>
                      <a:pt x="3548" y="644"/>
                      <a:pt x="3529" y="665"/>
                      <a:pt x="3504" y="679"/>
                    </a:cubicBezTo>
                    <a:cubicBezTo>
                      <a:pt x="3479" y="694"/>
                      <a:pt x="3451" y="701"/>
                      <a:pt x="3421" y="701"/>
                    </a:cubicBezTo>
                    <a:cubicBezTo>
                      <a:pt x="3369" y="701"/>
                      <a:pt x="3328" y="681"/>
                      <a:pt x="3299" y="639"/>
                    </a:cubicBezTo>
                    <a:cubicBezTo>
                      <a:pt x="3269" y="597"/>
                      <a:pt x="3254" y="539"/>
                      <a:pt x="3254" y="464"/>
                    </a:cubicBezTo>
                    <a:cubicBezTo>
                      <a:pt x="3254" y="405"/>
                      <a:pt x="3263" y="352"/>
                      <a:pt x="3280" y="307"/>
                    </a:cubicBezTo>
                    <a:cubicBezTo>
                      <a:pt x="3298" y="262"/>
                      <a:pt x="3323" y="227"/>
                      <a:pt x="3355" y="202"/>
                    </a:cubicBezTo>
                    <a:cubicBezTo>
                      <a:pt x="3387" y="177"/>
                      <a:pt x="3424" y="165"/>
                      <a:pt x="3466" y="165"/>
                    </a:cubicBezTo>
                    <a:cubicBezTo>
                      <a:pt x="3502" y="165"/>
                      <a:pt x="3530" y="170"/>
                      <a:pt x="3552" y="180"/>
                    </a:cubicBezTo>
                    <a:cubicBezTo>
                      <a:pt x="3552" y="236"/>
                      <a:pt x="3552" y="236"/>
                      <a:pt x="3552" y="236"/>
                    </a:cubicBezTo>
                    <a:cubicBezTo>
                      <a:pt x="3525" y="222"/>
                      <a:pt x="3497" y="215"/>
                      <a:pt x="3467" y="215"/>
                    </a:cubicBezTo>
                    <a:cubicBezTo>
                      <a:pt x="3421" y="215"/>
                      <a:pt x="3385" y="236"/>
                      <a:pt x="3357" y="277"/>
                    </a:cubicBezTo>
                    <a:cubicBezTo>
                      <a:pt x="3330" y="318"/>
                      <a:pt x="3316" y="373"/>
                      <a:pt x="3316" y="441"/>
                    </a:cubicBezTo>
                    <a:cubicBezTo>
                      <a:pt x="3317" y="441"/>
                      <a:pt x="3317" y="441"/>
                      <a:pt x="3317" y="441"/>
                    </a:cubicBezTo>
                    <a:cubicBezTo>
                      <a:pt x="3341" y="392"/>
                      <a:pt x="3380" y="368"/>
                      <a:pt x="3435" y="368"/>
                    </a:cubicBezTo>
                    <a:cubicBezTo>
                      <a:pt x="3480" y="368"/>
                      <a:pt x="3516" y="383"/>
                      <a:pt x="3543" y="412"/>
                    </a:cubicBezTo>
                    <a:cubicBezTo>
                      <a:pt x="3570" y="441"/>
                      <a:pt x="3584" y="480"/>
                      <a:pt x="3584" y="528"/>
                    </a:cubicBezTo>
                    <a:close/>
                    <a:moveTo>
                      <a:pt x="3523" y="535"/>
                    </a:moveTo>
                    <a:cubicBezTo>
                      <a:pt x="3523" y="499"/>
                      <a:pt x="3514" y="471"/>
                      <a:pt x="3496" y="450"/>
                    </a:cubicBezTo>
                    <a:cubicBezTo>
                      <a:pt x="3479" y="429"/>
                      <a:pt x="3454" y="418"/>
                      <a:pt x="3422" y="418"/>
                    </a:cubicBezTo>
                    <a:cubicBezTo>
                      <a:pt x="3393" y="418"/>
                      <a:pt x="3369" y="428"/>
                      <a:pt x="3349" y="449"/>
                    </a:cubicBezTo>
                    <a:cubicBezTo>
                      <a:pt x="3329" y="469"/>
                      <a:pt x="3319" y="494"/>
                      <a:pt x="3319" y="523"/>
                    </a:cubicBezTo>
                    <a:cubicBezTo>
                      <a:pt x="3319" y="559"/>
                      <a:pt x="3329" y="590"/>
                      <a:pt x="3349" y="614"/>
                    </a:cubicBezTo>
                    <a:cubicBezTo>
                      <a:pt x="3368" y="639"/>
                      <a:pt x="3393" y="651"/>
                      <a:pt x="3423" y="651"/>
                    </a:cubicBezTo>
                    <a:cubicBezTo>
                      <a:pt x="3453" y="651"/>
                      <a:pt x="3477" y="640"/>
                      <a:pt x="3495" y="619"/>
                    </a:cubicBezTo>
                    <a:cubicBezTo>
                      <a:pt x="3514" y="597"/>
                      <a:pt x="3523" y="570"/>
                      <a:pt x="3523" y="535"/>
                    </a:cubicBezTo>
                    <a:close/>
                    <a:moveTo>
                      <a:pt x="3933" y="534"/>
                    </a:moveTo>
                    <a:cubicBezTo>
                      <a:pt x="3933" y="584"/>
                      <a:pt x="3916" y="625"/>
                      <a:pt x="3883" y="655"/>
                    </a:cubicBezTo>
                    <a:cubicBezTo>
                      <a:pt x="3849" y="686"/>
                      <a:pt x="3805" y="701"/>
                      <a:pt x="3749" y="701"/>
                    </a:cubicBezTo>
                    <a:cubicBezTo>
                      <a:pt x="3701" y="701"/>
                      <a:pt x="3665" y="694"/>
                      <a:pt x="3642" y="680"/>
                    </a:cubicBezTo>
                    <a:cubicBezTo>
                      <a:pt x="3642" y="617"/>
                      <a:pt x="3642" y="617"/>
                      <a:pt x="3642" y="617"/>
                    </a:cubicBezTo>
                    <a:cubicBezTo>
                      <a:pt x="3677" y="639"/>
                      <a:pt x="3713" y="651"/>
                      <a:pt x="3750" y="651"/>
                    </a:cubicBezTo>
                    <a:cubicBezTo>
                      <a:pt x="3786" y="651"/>
                      <a:pt x="3816" y="641"/>
                      <a:pt x="3838" y="620"/>
                    </a:cubicBezTo>
                    <a:cubicBezTo>
                      <a:pt x="3861" y="600"/>
                      <a:pt x="3872" y="572"/>
                      <a:pt x="3872" y="538"/>
                    </a:cubicBezTo>
                    <a:cubicBezTo>
                      <a:pt x="3872" y="504"/>
                      <a:pt x="3861" y="477"/>
                      <a:pt x="3838" y="458"/>
                    </a:cubicBezTo>
                    <a:cubicBezTo>
                      <a:pt x="3815" y="439"/>
                      <a:pt x="3782" y="429"/>
                      <a:pt x="3739" y="429"/>
                    </a:cubicBezTo>
                    <a:cubicBezTo>
                      <a:pt x="3705" y="429"/>
                      <a:pt x="3676" y="431"/>
                      <a:pt x="3651" y="434"/>
                    </a:cubicBezTo>
                    <a:cubicBezTo>
                      <a:pt x="3669" y="174"/>
                      <a:pt x="3669" y="174"/>
                      <a:pt x="3669" y="174"/>
                    </a:cubicBezTo>
                    <a:cubicBezTo>
                      <a:pt x="3909" y="174"/>
                      <a:pt x="3909" y="174"/>
                      <a:pt x="3909" y="174"/>
                    </a:cubicBezTo>
                    <a:cubicBezTo>
                      <a:pt x="3909" y="227"/>
                      <a:pt x="3909" y="227"/>
                      <a:pt x="3909" y="227"/>
                    </a:cubicBezTo>
                    <a:cubicBezTo>
                      <a:pt x="3721" y="227"/>
                      <a:pt x="3721" y="227"/>
                      <a:pt x="3721" y="227"/>
                    </a:cubicBezTo>
                    <a:cubicBezTo>
                      <a:pt x="3710" y="380"/>
                      <a:pt x="3710" y="380"/>
                      <a:pt x="3710" y="380"/>
                    </a:cubicBezTo>
                    <a:cubicBezTo>
                      <a:pt x="3758" y="378"/>
                      <a:pt x="3758" y="378"/>
                      <a:pt x="3758" y="378"/>
                    </a:cubicBezTo>
                    <a:cubicBezTo>
                      <a:pt x="3812" y="378"/>
                      <a:pt x="3854" y="391"/>
                      <a:pt x="3886" y="419"/>
                    </a:cubicBezTo>
                    <a:cubicBezTo>
                      <a:pt x="3917" y="446"/>
                      <a:pt x="3933" y="484"/>
                      <a:pt x="3933" y="534"/>
                    </a:cubicBezTo>
                    <a:close/>
                    <a:moveTo>
                      <a:pt x="722" y="793"/>
                    </a:moveTo>
                    <a:cubicBezTo>
                      <a:pt x="722" y="793"/>
                      <a:pt x="722" y="793"/>
                      <a:pt x="722" y="793"/>
                    </a:cubicBezTo>
                    <a:cubicBezTo>
                      <a:pt x="722" y="74"/>
                      <a:pt x="722" y="74"/>
                      <a:pt x="722" y="74"/>
                    </a:cubicBezTo>
                    <a:cubicBezTo>
                      <a:pt x="464" y="0"/>
                      <a:pt x="464" y="0"/>
                      <a:pt x="464" y="0"/>
                    </a:cubicBezTo>
                    <a:cubicBezTo>
                      <a:pt x="2" y="174"/>
                      <a:pt x="2" y="174"/>
                      <a:pt x="2"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1" y="694"/>
                      <a:pt x="1" y="694"/>
                      <a:pt x="1" y="694"/>
                    </a:cubicBezTo>
                    <a:cubicBezTo>
                      <a:pt x="464" y="865"/>
                      <a:pt x="464" y="865"/>
                      <a:pt x="464" y="865"/>
                    </a:cubicBezTo>
                    <a:cubicBezTo>
                      <a:pt x="464" y="865"/>
                      <a:pt x="464" y="865"/>
                      <a:pt x="464" y="865"/>
                    </a:cubicBezTo>
                    <a:cubicBezTo>
                      <a:pt x="722" y="794"/>
                      <a:pt x="722" y="794"/>
                      <a:pt x="722" y="794"/>
                    </a:cubicBezTo>
                    <a:cubicBezTo>
                      <a:pt x="722" y="793"/>
                      <a:pt x="722" y="793"/>
                      <a:pt x="722" y="793"/>
                    </a:cubicBezTo>
                    <a:close/>
                  </a:path>
                </a:pathLst>
              </a:custGeom>
              <a:solidFill>
                <a:schemeClr val="bg1"/>
              </a:solidFill>
              <a:ln>
                <a:noFill/>
              </a:ln>
            </p:spPr>
            <p:txBody>
              <a:bodyPr vert="horz" wrap="square" lIns="89618" tIns="44809" rIns="89618" bIns="44809" numCol="1" anchor="t" anchorCtr="0" compatLnSpc="1">
                <a:prstTxWarp prst="textNoShape">
                  <a:avLst/>
                </a:prstTxWarp>
              </a:bodyPr>
              <a:lstStyle/>
              <a:p>
                <a:pPr defTabSz="914191">
                  <a:defRPr/>
                </a:pPr>
                <a:endParaRPr lang="en-US" sz="1764" kern="0">
                  <a:solidFill>
                    <a:srgbClr val="505050"/>
                  </a:solidFill>
                </a:endParaRPr>
              </a:p>
            </p:txBody>
          </p:sp>
          <p:grpSp>
            <p:nvGrpSpPr>
              <p:cNvPr id="110" name="Group 25"/>
              <p:cNvGrpSpPr>
                <a:grpSpLocks noChangeAspect="1"/>
              </p:cNvGrpSpPr>
              <p:nvPr/>
            </p:nvGrpSpPr>
            <p:grpSpPr bwMode="auto">
              <a:xfrm>
                <a:off x="463940" y="2653554"/>
                <a:ext cx="1160019" cy="140576"/>
                <a:chOff x="-1699" y="1488"/>
                <a:chExt cx="11074" cy="1342"/>
              </a:xfrm>
              <a:solidFill>
                <a:schemeClr val="accent6"/>
              </a:solidFill>
            </p:grpSpPr>
            <p:sp>
              <p:nvSpPr>
                <p:cNvPr id="111" name="Freeform 26"/>
                <p:cNvSpPr>
                  <a:spLocks/>
                </p:cNvSpPr>
                <p:nvPr/>
              </p:nvSpPr>
              <p:spPr bwMode="auto">
                <a:xfrm>
                  <a:off x="-1699" y="1578"/>
                  <a:ext cx="1250" cy="1231"/>
                </a:xfrm>
                <a:custGeom>
                  <a:avLst/>
                  <a:gdLst>
                    <a:gd name="T0" fmla="*/ 1250 w 1250"/>
                    <a:gd name="T1" fmla="*/ 1231 h 1231"/>
                    <a:gd name="T2" fmla="*/ 1109 w 1250"/>
                    <a:gd name="T3" fmla="*/ 1231 h 1231"/>
                    <a:gd name="T4" fmla="*/ 1109 w 1250"/>
                    <a:gd name="T5" fmla="*/ 228 h 1231"/>
                    <a:gd name="T6" fmla="*/ 1104 w 1250"/>
                    <a:gd name="T7" fmla="*/ 228 h 1231"/>
                    <a:gd name="T8" fmla="*/ 662 w 1250"/>
                    <a:gd name="T9" fmla="*/ 1231 h 1231"/>
                    <a:gd name="T10" fmla="*/ 591 w 1250"/>
                    <a:gd name="T11" fmla="*/ 1231 h 1231"/>
                    <a:gd name="T12" fmla="*/ 142 w 1250"/>
                    <a:gd name="T13" fmla="*/ 223 h 1231"/>
                    <a:gd name="T14" fmla="*/ 139 w 1250"/>
                    <a:gd name="T15" fmla="*/ 223 h 1231"/>
                    <a:gd name="T16" fmla="*/ 139 w 1250"/>
                    <a:gd name="T17" fmla="*/ 1231 h 1231"/>
                    <a:gd name="T18" fmla="*/ 0 w 1250"/>
                    <a:gd name="T19" fmla="*/ 1231 h 1231"/>
                    <a:gd name="T20" fmla="*/ 0 w 1250"/>
                    <a:gd name="T21" fmla="*/ 0 h 1231"/>
                    <a:gd name="T22" fmla="*/ 191 w 1250"/>
                    <a:gd name="T23" fmla="*/ 0 h 1231"/>
                    <a:gd name="T24" fmla="*/ 622 w 1250"/>
                    <a:gd name="T25" fmla="*/ 986 h 1231"/>
                    <a:gd name="T26" fmla="*/ 629 w 1250"/>
                    <a:gd name="T27" fmla="*/ 986 h 1231"/>
                    <a:gd name="T28" fmla="*/ 1071 w 1250"/>
                    <a:gd name="T29" fmla="*/ 0 h 1231"/>
                    <a:gd name="T30" fmla="*/ 1250 w 1250"/>
                    <a:gd name="T31" fmla="*/ 0 h 1231"/>
                    <a:gd name="T32" fmla="*/ 1250 w 1250"/>
                    <a:gd name="T33" fmla="*/ 1231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0" h="1231">
                      <a:moveTo>
                        <a:pt x="1250" y="1231"/>
                      </a:moveTo>
                      <a:lnTo>
                        <a:pt x="1109" y="1231"/>
                      </a:lnTo>
                      <a:lnTo>
                        <a:pt x="1109" y="228"/>
                      </a:lnTo>
                      <a:lnTo>
                        <a:pt x="1104" y="228"/>
                      </a:lnTo>
                      <a:lnTo>
                        <a:pt x="662" y="1231"/>
                      </a:lnTo>
                      <a:lnTo>
                        <a:pt x="591" y="1231"/>
                      </a:lnTo>
                      <a:lnTo>
                        <a:pt x="142" y="223"/>
                      </a:lnTo>
                      <a:lnTo>
                        <a:pt x="139" y="223"/>
                      </a:lnTo>
                      <a:lnTo>
                        <a:pt x="139" y="1231"/>
                      </a:lnTo>
                      <a:lnTo>
                        <a:pt x="0" y="1231"/>
                      </a:lnTo>
                      <a:lnTo>
                        <a:pt x="0" y="0"/>
                      </a:lnTo>
                      <a:lnTo>
                        <a:pt x="191" y="0"/>
                      </a:lnTo>
                      <a:lnTo>
                        <a:pt x="622" y="986"/>
                      </a:lnTo>
                      <a:lnTo>
                        <a:pt x="629" y="986"/>
                      </a:lnTo>
                      <a:lnTo>
                        <a:pt x="1071" y="0"/>
                      </a:lnTo>
                      <a:lnTo>
                        <a:pt x="1250" y="0"/>
                      </a:lnTo>
                      <a:lnTo>
                        <a:pt x="1250" y="123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sp>
              <p:nvSpPr>
                <p:cNvPr id="112" name="Freeform 27"/>
                <p:cNvSpPr>
                  <a:spLocks noEditPoints="1"/>
                </p:cNvSpPr>
                <p:nvPr/>
              </p:nvSpPr>
              <p:spPr bwMode="auto">
                <a:xfrm>
                  <a:off x="-222" y="1523"/>
                  <a:ext cx="185" cy="1286"/>
                </a:xfrm>
                <a:custGeom>
                  <a:avLst/>
                  <a:gdLst>
                    <a:gd name="T0" fmla="*/ 78 w 78"/>
                    <a:gd name="T1" fmla="*/ 38 h 541"/>
                    <a:gd name="T2" fmla="*/ 67 w 78"/>
                    <a:gd name="T3" fmla="*/ 66 h 541"/>
                    <a:gd name="T4" fmla="*/ 39 w 78"/>
                    <a:gd name="T5" fmla="*/ 77 h 541"/>
                    <a:gd name="T6" fmla="*/ 12 w 78"/>
                    <a:gd name="T7" fmla="*/ 66 h 541"/>
                    <a:gd name="T8" fmla="*/ 0 w 78"/>
                    <a:gd name="T9" fmla="*/ 38 h 541"/>
                    <a:gd name="T10" fmla="*/ 11 w 78"/>
                    <a:gd name="T11" fmla="*/ 11 h 541"/>
                    <a:gd name="T12" fmla="*/ 39 w 78"/>
                    <a:gd name="T13" fmla="*/ 0 h 541"/>
                    <a:gd name="T14" fmla="*/ 67 w 78"/>
                    <a:gd name="T15" fmla="*/ 11 h 541"/>
                    <a:gd name="T16" fmla="*/ 78 w 78"/>
                    <a:gd name="T17" fmla="*/ 38 h 541"/>
                    <a:gd name="T18" fmla="*/ 68 w 78"/>
                    <a:gd name="T19" fmla="*/ 541 h 541"/>
                    <a:gd name="T20" fmla="*/ 9 w 78"/>
                    <a:gd name="T21" fmla="*/ 541 h 541"/>
                    <a:gd name="T22" fmla="*/ 9 w 78"/>
                    <a:gd name="T23" fmla="*/ 171 h 541"/>
                    <a:gd name="T24" fmla="*/ 68 w 78"/>
                    <a:gd name="T25" fmla="*/ 171 h 541"/>
                    <a:gd name="T26" fmla="*/ 68 w 78"/>
                    <a:gd name="T27" fmla="*/ 541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41">
                      <a:moveTo>
                        <a:pt x="78" y="38"/>
                      </a:moveTo>
                      <a:cubicBezTo>
                        <a:pt x="78" y="49"/>
                        <a:pt x="74" y="59"/>
                        <a:pt x="67" y="66"/>
                      </a:cubicBezTo>
                      <a:cubicBezTo>
                        <a:pt x="59" y="73"/>
                        <a:pt x="50" y="77"/>
                        <a:pt x="39" y="77"/>
                      </a:cubicBezTo>
                      <a:cubicBezTo>
                        <a:pt x="28" y="77"/>
                        <a:pt x="19" y="73"/>
                        <a:pt x="12" y="66"/>
                      </a:cubicBezTo>
                      <a:cubicBezTo>
                        <a:pt x="4" y="59"/>
                        <a:pt x="0" y="50"/>
                        <a:pt x="0" y="38"/>
                      </a:cubicBezTo>
                      <a:cubicBezTo>
                        <a:pt x="0" y="28"/>
                        <a:pt x="4" y="19"/>
                        <a:pt x="11" y="11"/>
                      </a:cubicBezTo>
                      <a:cubicBezTo>
                        <a:pt x="19" y="4"/>
                        <a:pt x="28" y="0"/>
                        <a:pt x="39" y="0"/>
                      </a:cubicBezTo>
                      <a:cubicBezTo>
                        <a:pt x="50" y="0"/>
                        <a:pt x="59" y="4"/>
                        <a:pt x="67" y="11"/>
                      </a:cubicBezTo>
                      <a:cubicBezTo>
                        <a:pt x="74" y="19"/>
                        <a:pt x="78" y="28"/>
                        <a:pt x="78" y="38"/>
                      </a:cubicBezTo>
                      <a:close/>
                      <a:moveTo>
                        <a:pt x="68" y="541"/>
                      </a:moveTo>
                      <a:cubicBezTo>
                        <a:pt x="9" y="541"/>
                        <a:pt x="9" y="541"/>
                        <a:pt x="9" y="541"/>
                      </a:cubicBezTo>
                      <a:cubicBezTo>
                        <a:pt x="9" y="171"/>
                        <a:pt x="9" y="171"/>
                        <a:pt x="9" y="171"/>
                      </a:cubicBezTo>
                      <a:cubicBezTo>
                        <a:pt x="68" y="171"/>
                        <a:pt x="68" y="171"/>
                        <a:pt x="68" y="171"/>
                      </a:cubicBezTo>
                      <a:lnTo>
                        <a:pt x="68" y="5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sp>
              <p:nvSpPr>
                <p:cNvPr id="113" name="Freeform 28"/>
                <p:cNvSpPr>
                  <a:spLocks/>
                </p:cNvSpPr>
                <p:nvPr/>
              </p:nvSpPr>
              <p:spPr bwMode="auto">
                <a:xfrm>
                  <a:off x="100" y="1908"/>
                  <a:ext cx="659" cy="922"/>
                </a:xfrm>
                <a:custGeom>
                  <a:avLst/>
                  <a:gdLst>
                    <a:gd name="T0" fmla="*/ 278 w 279"/>
                    <a:gd name="T1" fmla="*/ 362 h 388"/>
                    <a:gd name="T2" fmla="*/ 176 w 279"/>
                    <a:gd name="T3" fmla="*/ 388 h 388"/>
                    <a:gd name="T4" fmla="*/ 85 w 279"/>
                    <a:gd name="T5" fmla="*/ 365 h 388"/>
                    <a:gd name="T6" fmla="*/ 23 w 279"/>
                    <a:gd name="T7" fmla="*/ 299 h 388"/>
                    <a:gd name="T8" fmla="*/ 0 w 279"/>
                    <a:gd name="T9" fmla="*/ 203 h 388"/>
                    <a:gd name="T10" fmla="*/ 53 w 279"/>
                    <a:gd name="T11" fmla="*/ 56 h 388"/>
                    <a:gd name="T12" fmla="*/ 193 w 279"/>
                    <a:gd name="T13" fmla="*/ 0 h 388"/>
                    <a:gd name="T14" fmla="*/ 279 w 279"/>
                    <a:gd name="T15" fmla="*/ 19 h 388"/>
                    <a:gd name="T16" fmla="*/ 279 w 279"/>
                    <a:gd name="T17" fmla="*/ 80 h 388"/>
                    <a:gd name="T18" fmla="*/ 191 w 279"/>
                    <a:gd name="T19" fmla="*/ 51 h 388"/>
                    <a:gd name="T20" fmla="*/ 97 w 279"/>
                    <a:gd name="T21" fmla="*/ 92 h 388"/>
                    <a:gd name="T22" fmla="*/ 61 w 279"/>
                    <a:gd name="T23" fmla="*/ 198 h 388"/>
                    <a:gd name="T24" fmla="*/ 95 w 279"/>
                    <a:gd name="T25" fmla="*/ 300 h 388"/>
                    <a:gd name="T26" fmla="*/ 187 w 279"/>
                    <a:gd name="T27" fmla="*/ 338 h 388"/>
                    <a:gd name="T28" fmla="*/ 278 w 279"/>
                    <a:gd name="T29" fmla="*/ 306 h 388"/>
                    <a:gd name="T30" fmla="*/ 278 w 279"/>
                    <a:gd name="T31" fmla="*/ 36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9" h="388">
                      <a:moveTo>
                        <a:pt x="278" y="362"/>
                      </a:moveTo>
                      <a:cubicBezTo>
                        <a:pt x="249" y="380"/>
                        <a:pt x="215" y="388"/>
                        <a:pt x="176" y="388"/>
                      </a:cubicBezTo>
                      <a:cubicBezTo>
                        <a:pt x="143" y="388"/>
                        <a:pt x="112" y="381"/>
                        <a:pt x="85" y="365"/>
                      </a:cubicBezTo>
                      <a:cubicBezTo>
                        <a:pt x="59" y="349"/>
                        <a:pt x="38" y="327"/>
                        <a:pt x="23" y="299"/>
                      </a:cubicBezTo>
                      <a:cubicBezTo>
                        <a:pt x="8" y="271"/>
                        <a:pt x="0" y="239"/>
                        <a:pt x="0" y="203"/>
                      </a:cubicBezTo>
                      <a:cubicBezTo>
                        <a:pt x="0" y="142"/>
                        <a:pt x="18" y="93"/>
                        <a:pt x="53" y="56"/>
                      </a:cubicBezTo>
                      <a:cubicBezTo>
                        <a:pt x="88" y="19"/>
                        <a:pt x="135" y="0"/>
                        <a:pt x="193" y="0"/>
                      </a:cubicBezTo>
                      <a:cubicBezTo>
                        <a:pt x="225" y="0"/>
                        <a:pt x="254" y="6"/>
                        <a:pt x="279" y="19"/>
                      </a:cubicBezTo>
                      <a:cubicBezTo>
                        <a:pt x="279" y="80"/>
                        <a:pt x="279" y="80"/>
                        <a:pt x="279" y="80"/>
                      </a:cubicBezTo>
                      <a:cubicBezTo>
                        <a:pt x="251" y="60"/>
                        <a:pt x="222" y="51"/>
                        <a:pt x="191" y="51"/>
                      </a:cubicBezTo>
                      <a:cubicBezTo>
                        <a:pt x="152" y="51"/>
                        <a:pt x="121" y="64"/>
                        <a:pt x="97" y="92"/>
                      </a:cubicBezTo>
                      <a:cubicBezTo>
                        <a:pt x="73" y="119"/>
                        <a:pt x="61" y="154"/>
                        <a:pt x="61" y="198"/>
                      </a:cubicBezTo>
                      <a:cubicBezTo>
                        <a:pt x="61" y="241"/>
                        <a:pt x="72" y="275"/>
                        <a:pt x="95" y="300"/>
                      </a:cubicBezTo>
                      <a:cubicBezTo>
                        <a:pt x="118" y="325"/>
                        <a:pt x="149" y="338"/>
                        <a:pt x="187" y="338"/>
                      </a:cubicBezTo>
                      <a:cubicBezTo>
                        <a:pt x="219" y="338"/>
                        <a:pt x="250" y="327"/>
                        <a:pt x="278" y="306"/>
                      </a:cubicBezTo>
                      <a:lnTo>
                        <a:pt x="278" y="36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sp>
              <p:nvSpPr>
                <p:cNvPr id="114" name="Freeform 29"/>
                <p:cNvSpPr>
                  <a:spLocks/>
                </p:cNvSpPr>
                <p:nvPr/>
              </p:nvSpPr>
              <p:spPr bwMode="auto">
                <a:xfrm>
                  <a:off x="913" y="1913"/>
                  <a:ext cx="456" cy="896"/>
                </a:xfrm>
                <a:custGeom>
                  <a:avLst/>
                  <a:gdLst>
                    <a:gd name="T0" fmla="*/ 193 w 193"/>
                    <a:gd name="T1" fmla="*/ 67 h 377"/>
                    <a:gd name="T2" fmla="*/ 148 w 193"/>
                    <a:gd name="T3" fmla="*/ 55 h 377"/>
                    <a:gd name="T4" fmla="*/ 84 w 193"/>
                    <a:gd name="T5" fmla="*/ 92 h 377"/>
                    <a:gd name="T6" fmla="*/ 59 w 193"/>
                    <a:gd name="T7" fmla="*/ 189 h 377"/>
                    <a:gd name="T8" fmla="*/ 59 w 193"/>
                    <a:gd name="T9" fmla="*/ 377 h 377"/>
                    <a:gd name="T10" fmla="*/ 0 w 193"/>
                    <a:gd name="T11" fmla="*/ 377 h 377"/>
                    <a:gd name="T12" fmla="*/ 0 w 193"/>
                    <a:gd name="T13" fmla="*/ 7 h 377"/>
                    <a:gd name="T14" fmla="*/ 59 w 193"/>
                    <a:gd name="T15" fmla="*/ 7 h 377"/>
                    <a:gd name="T16" fmla="*/ 59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0" y="67"/>
                        <a:pt x="84" y="92"/>
                      </a:cubicBezTo>
                      <a:cubicBezTo>
                        <a:pt x="68" y="117"/>
                        <a:pt x="59" y="149"/>
                        <a:pt x="59" y="189"/>
                      </a:cubicBezTo>
                      <a:cubicBezTo>
                        <a:pt x="59" y="377"/>
                        <a:pt x="59" y="377"/>
                        <a:pt x="59" y="377"/>
                      </a:cubicBezTo>
                      <a:cubicBezTo>
                        <a:pt x="0" y="377"/>
                        <a:pt x="0" y="377"/>
                        <a:pt x="0" y="377"/>
                      </a:cubicBezTo>
                      <a:cubicBezTo>
                        <a:pt x="0" y="7"/>
                        <a:pt x="0" y="7"/>
                        <a:pt x="0" y="7"/>
                      </a:cubicBezTo>
                      <a:cubicBezTo>
                        <a:pt x="59" y="7"/>
                        <a:pt x="59" y="7"/>
                        <a:pt x="59" y="7"/>
                      </a:cubicBezTo>
                      <a:cubicBezTo>
                        <a:pt x="59" y="83"/>
                        <a:pt x="59" y="83"/>
                        <a:pt x="59"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sp>
              <p:nvSpPr>
                <p:cNvPr id="115" name="Freeform 30"/>
                <p:cNvSpPr>
                  <a:spLocks noEditPoints="1"/>
                </p:cNvSpPr>
                <p:nvPr/>
              </p:nvSpPr>
              <p:spPr bwMode="auto">
                <a:xfrm>
                  <a:off x="1376" y="1908"/>
                  <a:ext cx="863" cy="922"/>
                </a:xfrm>
                <a:custGeom>
                  <a:avLst/>
                  <a:gdLst>
                    <a:gd name="T0" fmla="*/ 365 w 365"/>
                    <a:gd name="T1" fmla="*/ 193 h 388"/>
                    <a:gd name="T2" fmla="*/ 315 w 365"/>
                    <a:gd name="T3" fmla="*/ 335 h 388"/>
                    <a:gd name="T4" fmla="*/ 181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1"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sp>
              <p:nvSpPr>
                <p:cNvPr id="116" name="Freeform 31"/>
                <p:cNvSpPr>
                  <a:spLocks/>
                </p:cNvSpPr>
                <p:nvPr/>
              </p:nvSpPr>
              <p:spPr bwMode="auto">
                <a:xfrm>
                  <a:off x="2341" y="1908"/>
                  <a:ext cx="536" cy="922"/>
                </a:xfrm>
                <a:custGeom>
                  <a:avLst/>
                  <a:gdLst>
                    <a:gd name="T0" fmla="*/ 227 w 227"/>
                    <a:gd name="T1" fmla="*/ 280 h 388"/>
                    <a:gd name="T2" fmla="*/ 190 w 227"/>
                    <a:gd name="T3" fmla="*/ 358 h 388"/>
                    <a:gd name="T4" fmla="*/ 92 w 227"/>
                    <a:gd name="T5" fmla="*/ 388 h 388"/>
                    <a:gd name="T6" fmla="*/ 0 w 227"/>
                    <a:gd name="T7" fmla="*/ 366 h 388"/>
                    <a:gd name="T8" fmla="*/ 0 w 227"/>
                    <a:gd name="T9" fmla="*/ 302 h 388"/>
                    <a:gd name="T10" fmla="*/ 96 w 227"/>
                    <a:gd name="T11" fmla="*/ 338 h 388"/>
                    <a:gd name="T12" fmla="*/ 167 w 227"/>
                    <a:gd name="T13" fmla="*/ 286 h 388"/>
                    <a:gd name="T14" fmla="*/ 153 w 227"/>
                    <a:gd name="T15" fmla="*/ 252 h 388"/>
                    <a:gd name="T16" fmla="*/ 90 w 227"/>
                    <a:gd name="T17" fmla="*/ 216 h 388"/>
                    <a:gd name="T18" fmla="*/ 21 w 227"/>
                    <a:gd name="T19" fmla="*/ 171 h 388"/>
                    <a:gd name="T20" fmla="*/ 1 w 227"/>
                    <a:gd name="T21" fmla="*/ 107 h 388"/>
                    <a:gd name="T22" fmla="*/ 38 w 227"/>
                    <a:gd name="T23" fmla="*/ 31 h 388"/>
                    <a:gd name="T24" fmla="*/ 131 w 227"/>
                    <a:gd name="T25" fmla="*/ 0 h 388"/>
                    <a:gd name="T26" fmla="*/ 210 w 227"/>
                    <a:gd name="T27" fmla="*/ 17 h 388"/>
                    <a:gd name="T28" fmla="*/ 210 w 227"/>
                    <a:gd name="T29" fmla="*/ 77 h 388"/>
                    <a:gd name="T30" fmla="*/ 126 w 227"/>
                    <a:gd name="T31" fmla="*/ 51 h 388"/>
                    <a:gd name="T32" fmla="*/ 79 w 227"/>
                    <a:gd name="T33" fmla="*/ 65 h 388"/>
                    <a:gd name="T34" fmla="*/ 61 w 227"/>
                    <a:gd name="T35" fmla="*/ 102 h 388"/>
                    <a:gd name="T36" fmla="*/ 75 w 227"/>
                    <a:gd name="T37" fmla="*/ 140 h 388"/>
                    <a:gd name="T38" fmla="*/ 132 w 227"/>
                    <a:gd name="T39" fmla="*/ 171 h 388"/>
                    <a:gd name="T40" fmla="*/ 206 w 227"/>
                    <a:gd name="T41" fmla="*/ 218 h 388"/>
                    <a:gd name="T42" fmla="*/ 227 w 227"/>
                    <a:gd name="T43" fmla="*/ 28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8">
                      <a:moveTo>
                        <a:pt x="227" y="280"/>
                      </a:moveTo>
                      <a:cubicBezTo>
                        <a:pt x="227" y="312"/>
                        <a:pt x="215" y="338"/>
                        <a:pt x="190" y="358"/>
                      </a:cubicBezTo>
                      <a:cubicBezTo>
                        <a:pt x="166" y="378"/>
                        <a:pt x="133" y="388"/>
                        <a:pt x="92" y="388"/>
                      </a:cubicBezTo>
                      <a:cubicBezTo>
                        <a:pt x="57" y="388"/>
                        <a:pt x="26" y="381"/>
                        <a:pt x="0" y="366"/>
                      </a:cubicBezTo>
                      <a:cubicBezTo>
                        <a:pt x="0" y="302"/>
                        <a:pt x="0" y="302"/>
                        <a:pt x="0" y="302"/>
                      </a:cubicBezTo>
                      <a:cubicBezTo>
                        <a:pt x="29" y="326"/>
                        <a:pt x="61" y="338"/>
                        <a:pt x="96" y="338"/>
                      </a:cubicBezTo>
                      <a:cubicBezTo>
                        <a:pt x="143" y="338"/>
                        <a:pt x="167" y="320"/>
                        <a:pt x="167" y="286"/>
                      </a:cubicBezTo>
                      <a:cubicBezTo>
                        <a:pt x="167" y="272"/>
                        <a:pt x="162" y="261"/>
                        <a:pt x="153" y="252"/>
                      </a:cubicBezTo>
                      <a:cubicBezTo>
                        <a:pt x="144" y="243"/>
                        <a:pt x="123" y="231"/>
                        <a:pt x="90" y="216"/>
                      </a:cubicBezTo>
                      <a:cubicBezTo>
                        <a:pt x="58" y="202"/>
                        <a:pt x="34" y="187"/>
                        <a:pt x="21" y="171"/>
                      </a:cubicBezTo>
                      <a:cubicBezTo>
                        <a:pt x="7" y="155"/>
                        <a:pt x="1" y="134"/>
                        <a:pt x="1" y="107"/>
                      </a:cubicBezTo>
                      <a:cubicBezTo>
                        <a:pt x="1" y="77"/>
                        <a:pt x="13" y="51"/>
                        <a:pt x="38" y="31"/>
                      </a:cubicBezTo>
                      <a:cubicBezTo>
                        <a:pt x="62" y="10"/>
                        <a:pt x="93" y="0"/>
                        <a:pt x="131" y="0"/>
                      </a:cubicBezTo>
                      <a:cubicBezTo>
                        <a:pt x="160" y="0"/>
                        <a:pt x="187" y="6"/>
                        <a:pt x="210" y="17"/>
                      </a:cubicBezTo>
                      <a:cubicBezTo>
                        <a:pt x="210" y="77"/>
                        <a:pt x="210" y="77"/>
                        <a:pt x="210" y="77"/>
                      </a:cubicBezTo>
                      <a:cubicBezTo>
                        <a:pt x="186" y="59"/>
                        <a:pt x="158" y="51"/>
                        <a:pt x="126" y="51"/>
                      </a:cubicBezTo>
                      <a:cubicBezTo>
                        <a:pt x="107" y="51"/>
                        <a:pt x="91" y="55"/>
                        <a:pt x="79" y="65"/>
                      </a:cubicBezTo>
                      <a:cubicBezTo>
                        <a:pt x="67" y="75"/>
                        <a:pt x="61" y="87"/>
                        <a:pt x="61" y="102"/>
                      </a:cubicBezTo>
                      <a:cubicBezTo>
                        <a:pt x="61" y="119"/>
                        <a:pt x="66" y="131"/>
                        <a:pt x="75" y="140"/>
                      </a:cubicBezTo>
                      <a:cubicBezTo>
                        <a:pt x="84" y="149"/>
                        <a:pt x="103" y="159"/>
                        <a:pt x="132" y="171"/>
                      </a:cubicBezTo>
                      <a:cubicBezTo>
                        <a:pt x="167" y="186"/>
                        <a:pt x="192" y="202"/>
                        <a:pt x="206" y="218"/>
                      </a:cubicBezTo>
                      <a:cubicBezTo>
                        <a:pt x="220" y="235"/>
                        <a:pt x="227" y="255"/>
                        <a:pt x="227" y="28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sp>
              <p:nvSpPr>
                <p:cNvPr id="117" name="Freeform 32"/>
                <p:cNvSpPr>
                  <a:spLocks noEditPoints="1"/>
                </p:cNvSpPr>
                <p:nvPr/>
              </p:nvSpPr>
              <p:spPr bwMode="auto">
                <a:xfrm>
                  <a:off x="2960" y="1908"/>
                  <a:ext cx="863" cy="922"/>
                </a:xfrm>
                <a:custGeom>
                  <a:avLst/>
                  <a:gdLst>
                    <a:gd name="T0" fmla="*/ 365 w 365"/>
                    <a:gd name="T1" fmla="*/ 193 h 388"/>
                    <a:gd name="T2" fmla="*/ 315 w 365"/>
                    <a:gd name="T3" fmla="*/ 335 h 388"/>
                    <a:gd name="T4" fmla="*/ 180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0"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sp>
              <p:nvSpPr>
                <p:cNvPr id="118" name="Freeform 33"/>
                <p:cNvSpPr>
                  <a:spLocks/>
                </p:cNvSpPr>
                <p:nvPr/>
              </p:nvSpPr>
              <p:spPr bwMode="auto">
                <a:xfrm>
                  <a:off x="3856" y="1488"/>
                  <a:ext cx="529" cy="1321"/>
                </a:xfrm>
                <a:custGeom>
                  <a:avLst/>
                  <a:gdLst>
                    <a:gd name="T0" fmla="*/ 224 w 224"/>
                    <a:gd name="T1" fmla="*/ 60 h 556"/>
                    <a:gd name="T2" fmla="*/ 184 w 224"/>
                    <a:gd name="T3" fmla="*/ 50 h 556"/>
                    <a:gd name="T4" fmla="*/ 122 w 224"/>
                    <a:gd name="T5" fmla="*/ 129 h 556"/>
                    <a:gd name="T6" fmla="*/ 122 w 224"/>
                    <a:gd name="T7" fmla="*/ 186 h 556"/>
                    <a:gd name="T8" fmla="*/ 209 w 224"/>
                    <a:gd name="T9" fmla="*/ 186 h 556"/>
                    <a:gd name="T10" fmla="*/ 209 w 224"/>
                    <a:gd name="T11" fmla="*/ 236 h 556"/>
                    <a:gd name="T12" fmla="*/ 122 w 224"/>
                    <a:gd name="T13" fmla="*/ 236 h 556"/>
                    <a:gd name="T14" fmla="*/ 122 w 224"/>
                    <a:gd name="T15" fmla="*/ 556 h 556"/>
                    <a:gd name="T16" fmla="*/ 63 w 224"/>
                    <a:gd name="T17" fmla="*/ 556 h 556"/>
                    <a:gd name="T18" fmla="*/ 63 w 224"/>
                    <a:gd name="T19" fmla="*/ 236 h 556"/>
                    <a:gd name="T20" fmla="*/ 0 w 224"/>
                    <a:gd name="T21" fmla="*/ 236 h 556"/>
                    <a:gd name="T22" fmla="*/ 0 w 224"/>
                    <a:gd name="T23" fmla="*/ 186 h 556"/>
                    <a:gd name="T24" fmla="*/ 63 w 224"/>
                    <a:gd name="T25" fmla="*/ 186 h 556"/>
                    <a:gd name="T26" fmla="*/ 63 w 224"/>
                    <a:gd name="T27" fmla="*/ 126 h 556"/>
                    <a:gd name="T28" fmla="*/ 96 w 224"/>
                    <a:gd name="T29" fmla="*/ 35 h 556"/>
                    <a:gd name="T30" fmla="*/ 181 w 224"/>
                    <a:gd name="T31" fmla="*/ 0 h 556"/>
                    <a:gd name="T32" fmla="*/ 224 w 224"/>
                    <a:gd name="T33" fmla="*/ 7 h 556"/>
                    <a:gd name="T34" fmla="*/ 224 w 224"/>
                    <a:gd name="T35" fmla="*/ 6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556">
                      <a:moveTo>
                        <a:pt x="224" y="60"/>
                      </a:moveTo>
                      <a:cubicBezTo>
                        <a:pt x="212" y="54"/>
                        <a:pt x="199" y="50"/>
                        <a:pt x="184" y="50"/>
                      </a:cubicBezTo>
                      <a:cubicBezTo>
                        <a:pt x="143" y="50"/>
                        <a:pt x="122" y="77"/>
                        <a:pt x="122" y="129"/>
                      </a:cubicBezTo>
                      <a:cubicBezTo>
                        <a:pt x="122" y="186"/>
                        <a:pt x="122" y="186"/>
                        <a:pt x="122" y="186"/>
                      </a:cubicBezTo>
                      <a:cubicBezTo>
                        <a:pt x="209" y="186"/>
                        <a:pt x="209" y="186"/>
                        <a:pt x="209" y="186"/>
                      </a:cubicBezTo>
                      <a:cubicBezTo>
                        <a:pt x="209" y="236"/>
                        <a:pt x="209" y="236"/>
                        <a:pt x="209" y="236"/>
                      </a:cubicBezTo>
                      <a:cubicBezTo>
                        <a:pt x="122" y="236"/>
                        <a:pt x="122" y="236"/>
                        <a:pt x="122" y="236"/>
                      </a:cubicBezTo>
                      <a:cubicBezTo>
                        <a:pt x="122" y="556"/>
                        <a:pt x="122" y="556"/>
                        <a:pt x="122" y="556"/>
                      </a:cubicBezTo>
                      <a:cubicBezTo>
                        <a:pt x="63" y="556"/>
                        <a:pt x="63" y="556"/>
                        <a:pt x="63" y="556"/>
                      </a:cubicBezTo>
                      <a:cubicBezTo>
                        <a:pt x="63" y="236"/>
                        <a:pt x="63" y="236"/>
                        <a:pt x="63" y="236"/>
                      </a:cubicBezTo>
                      <a:cubicBezTo>
                        <a:pt x="0" y="236"/>
                        <a:pt x="0" y="236"/>
                        <a:pt x="0" y="236"/>
                      </a:cubicBezTo>
                      <a:cubicBezTo>
                        <a:pt x="0" y="186"/>
                        <a:pt x="0" y="186"/>
                        <a:pt x="0" y="186"/>
                      </a:cubicBezTo>
                      <a:cubicBezTo>
                        <a:pt x="63" y="186"/>
                        <a:pt x="63" y="186"/>
                        <a:pt x="63" y="186"/>
                      </a:cubicBezTo>
                      <a:cubicBezTo>
                        <a:pt x="63" y="126"/>
                        <a:pt x="63" y="126"/>
                        <a:pt x="63" y="126"/>
                      </a:cubicBezTo>
                      <a:cubicBezTo>
                        <a:pt x="63" y="88"/>
                        <a:pt x="74" y="58"/>
                        <a:pt x="96" y="35"/>
                      </a:cubicBezTo>
                      <a:cubicBezTo>
                        <a:pt x="118" y="12"/>
                        <a:pt x="146" y="0"/>
                        <a:pt x="181" y="0"/>
                      </a:cubicBezTo>
                      <a:cubicBezTo>
                        <a:pt x="199" y="0"/>
                        <a:pt x="213" y="2"/>
                        <a:pt x="224" y="7"/>
                      </a:cubicBezTo>
                      <a:lnTo>
                        <a:pt x="224" y="6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sp>
              <p:nvSpPr>
                <p:cNvPr id="119" name="Freeform 34"/>
                <p:cNvSpPr>
                  <a:spLocks/>
                </p:cNvSpPr>
                <p:nvPr/>
              </p:nvSpPr>
              <p:spPr bwMode="auto">
                <a:xfrm>
                  <a:off x="4338" y="1668"/>
                  <a:ext cx="513" cy="1162"/>
                </a:xfrm>
                <a:custGeom>
                  <a:avLst/>
                  <a:gdLst>
                    <a:gd name="T0" fmla="*/ 217 w 217"/>
                    <a:gd name="T1" fmla="*/ 477 h 489"/>
                    <a:gd name="T2" fmla="*/ 161 w 217"/>
                    <a:gd name="T3" fmla="*/ 489 h 489"/>
                    <a:gd name="T4" fmla="*/ 64 w 217"/>
                    <a:gd name="T5" fmla="*/ 379 h 489"/>
                    <a:gd name="T6" fmla="*/ 64 w 217"/>
                    <a:gd name="T7" fmla="*/ 160 h 489"/>
                    <a:gd name="T8" fmla="*/ 0 w 217"/>
                    <a:gd name="T9" fmla="*/ 160 h 489"/>
                    <a:gd name="T10" fmla="*/ 0 w 217"/>
                    <a:gd name="T11" fmla="*/ 110 h 489"/>
                    <a:gd name="T12" fmla="*/ 64 w 217"/>
                    <a:gd name="T13" fmla="*/ 110 h 489"/>
                    <a:gd name="T14" fmla="*/ 64 w 217"/>
                    <a:gd name="T15" fmla="*/ 20 h 489"/>
                    <a:gd name="T16" fmla="*/ 123 w 217"/>
                    <a:gd name="T17" fmla="*/ 0 h 489"/>
                    <a:gd name="T18" fmla="*/ 123 w 217"/>
                    <a:gd name="T19" fmla="*/ 110 h 489"/>
                    <a:gd name="T20" fmla="*/ 217 w 217"/>
                    <a:gd name="T21" fmla="*/ 110 h 489"/>
                    <a:gd name="T22" fmla="*/ 217 w 217"/>
                    <a:gd name="T23" fmla="*/ 160 h 489"/>
                    <a:gd name="T24" fmla="*/ 123 w 217"/>
                    <a:gd name="T25" fmla="*/ 160 h 489"/>
                    <a:gd name="T26" fmla="*/ 123 w 217"/>
                    <a:gd name="T27" fmla="*/ 369 h 489"/>
                    <a:gd name="T28" fmla="*/ 136 w 217"/>
                    <a:gd name="T29" fmla="*/ 422 h 489"/>
                    <a:gd name="T30" fmla="*/ 178 w 217"/>
                    <a:gd name="T31" fmla="*/ 438 h 489"/>
                    <a:gd name="T32" fmla="*/ 217 w 217"/>
                    <a:gd name="T33" fmla="*/ 426 h 489"/>
                    <a:gd name="T34" fmla="*/ 217 w 217"/>
                    <a:gd name="T35" fmla="*/ 477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489">
                      <a:moveTo>
                        <a:pt x="217" y="477"/>
                      </a:moveTo>
                      <a:cubicBezTo>
                        <a:pt x="203" y="485"/>
                        <a:pt x="184" y="489"/>
                        <a:pt x="161" y="489"/>
                      </a:cubicBezTo>
                      <a:cubicBezTo>
                        <a:pt x="96" y="489"/>
                        <a:pt x="64" y="452"/>
                        <a:pt x="64" y="379"/>
                      </a:cubicBezTo>
                      <a:cubicBezTo>
                        <a:pt x="64" y="160"/>
                        <a:pt x="64" y="160"/>
                        <a:pt x="64" y="160"/>
                      </a:cubicBezTo>
                      <a:cubicBezTo>
                        <a:pt x="0" y="160"/>
                        <a:pt x="0" y="160"/>
                        <a:pt x="0" y="160"/>
                      </a:cubicBezTo>
                      <a:cubicBezTo>
                        <a:pt x="0" y="110"/>
                        <a:pt x="0" y="110"/>
                        <a:pt x="0" y="110"/>
                      </a:cubicBezTo>
                      <a:cubicBezTo>
                        <a:pt x="64" y="110"/>
                        <a:pt x="64" y="110"/>
                        <a:pt x="64" y="110"/>
                      </a:cubicBezTo>
                      <a:cubicBezTo>
                        <a:pt x="64" y="20"/>
                        <a:pt x="64" y="20"/>
                        <a:pt x="64" y="20"/>
                      </a:cubicBezTo>
                      <a:cubicBezTo>
                        <a:pt x="123" y="0"/>
                        <a:pt x="123" y="0"/>
                        <a:pt x="123" y="0"/>
                      </a:cubicBezTo>
                      <a:cubicBezTo>
                        <a:pt x="123" y="110"/>
                        <a:pt x="123" y="110"/>
                        <a:pt x="123" y="110"/>
                      </a:cubicBezTo>
                      <a:cubicBezTo>
                        <a:pt x="217" y="110"/>
                        <a:pt x="217" y="110"/>
                        <a:pt x="217" y="110"/>
                      </a:cubicBezTo>
                      <a:cubicBezTo>
                        <a:pt x="217" y="160"/>
                        <a:pt x="217" y="160"/>
                        <a:pt x="217" y="160"/>
                      </a:cubicBezTo>
                      <a:cubicBezTo>
                        <a:pt x="123" y="160"/>
                        <a:pt x="123" y="160"/>
                        <a:pt x="123" y="160"/>
                      </a:cubicBezTo>
                      <a:cubicBezTo>
                        <a:pt x="123" y="369"/>
                        <a:pt x="123" y="369"/>
                        <a:pt x="123" y="369"/>
                      </a:cubicBezTo>
                      <a:cubicBezTo>
                        <a:pt x="123" y="394"/>
                        <a:pt x="128" y="412"/>
                        <a:pt x="136" y="422"/>
                      </a:cubicBezTo>
                      <a:cubicBezTo>
                        <a:pt x="145" y="433"/>
                        <a:pt x="159" y="438"/>
                        <a:pt x="178" y="438"/>
                      </a:cubicBezTo>
                      <a:cubicBezTo>
                        <a:pt x="193" y="438"/>
                        <a:pt x="206" y="434"/>
                        <a:pt x="217" y="426"/>
                      </a:cubicBezTo>
                      <a:lnTo>
                        <a:pt x="217" y="47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sp>
              <p:nvSpPr>
                <p:cNvPr id="120" name="Freeform 35"/>
                <p:cNvSpPr>
                  <a:spLocks noEditPoints="1"/>
                </p:cNvSpPr>
                <p:nvPr/>
              </p:nvSpPr>
              <p:spPr bwMode="auto">
                <a:xfrm>
                  <a:off x="5212" y="1578"/>
                  <a:ext cx="1090" cy="1231"/>
                </a:xfrm>
                <a:custGeom>
                  <a:avLst/>
                  <a:gdLst>
                    <a:gd name="T0" fmla="*/ 1090 w 1090"/>
                    <a:gd name="T1" fmla="*/ 1231 h 1231"/>
                    <a:gd name="T2" fmla="*/ 932 w 1090"/>
                    <a:gd name="T3" fmla="*/ 1231 h 1231"/>
                    <a:gd name="T4" fmla="*/ 802 w 1090"/>
                    <a:gd name="T5" fmla="*/ 886 h 1231"/>
                    <a:gd name="T6" fmla="*/ 282 w 1090"/>
                    <a:gd name="T7" fmla="*/ 886 h 1231"/>
                    <a:gd name="T8" fmla="*/ 159 w 1090"/>
                    <a:gd name="T9" fmla="*/ 1231 h 1231"/>
                    <a:gd name="T10" fmla="*/ 0 w 1090"/>
                    <a:gd name="T11" fmla="*/ 1231 h 1231"/>
                    <a:gd name="T12" fmla="*/ 468 w 1090"/>
                    <a:gd name="T13" fmla="*/ 0 h 1231"/>
                    <a:gd name="T14" fmla="*/ 617 w 1090"/>
                    <a:gd name="T15" fmla="*/ 0 h 1231"/>
                    <a:gd name="T16" fmla="*/ 1090 w 1090"/>
                    <a:gd name="T17" fmla="*/ 1231 h 1231"/>
                    <a:gd name="T18" fmla="*/ 754 w 1090"/>
                    <a:gd name="T19" fmla="*/ 755 h 1231"/>
                    <a:gd name="T20" fmla="*/ 542 w 1090"/>
                    <a:gd name="T21" fmla="*/ 180 h 1231"/>
                    <a:gd name="T22" fmla="*/ 539 w 1090"/>
                    <a:gd name="T23" fmla="*/ 180 h 1231"/>
                    <a:gd name="T24" fmla="*/ 329 w 1090"/>
                    <a:gd name="T25" fmla="*/ 755 h 1231"/>
                    <a:gd name="T26" fmla="*/ 754 w 1090"/>
                    <a:gd name="T27" fmla="*/ 755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0" h="1231">
                      <a:moveTo>
                        <a:pt x="1090" y="1231"/>
                      </a:moveTo>
                      <a:lnTo>
                        <a:pt x="932" y="1231"/>
                      </a:lnTo>
                      <a:lnTo>
                        <a:pt x="802" y="886"/>
                      </a:lnTo>
                      <a:lnTo>
                        <a:pt x="282" y="886"/>
                      </a:lnTo>
                      <a:lnTo>
                        <a:pt x="159" y="1231"/>
                      </a:lnTo>
                      <a:lnTo>
                        <a:pt x="0" y="1231"/>
                      </a:lnTo>
                      <a:lnTo>
                        <a:pt x="468" y="0"/>
                      </a:lnTo>
                      <a:lnTo>
                        <a:pt x="617" y="0"/>
                      </a:lnTo>
                      <a:lnTo>
                        <a:pt x="1090" y="1231"/>
                      </a:lnTo>
                      <a:close/>
                      <a:moveTo>
                        <a:pt x="754" y="755"/>
                      </a:moveTo>
                      <a:lnTo>
                        <a:pt x="542" y="180"/>
                      </a:lnTo>
                      <a:lnTo>
                        <a:pt x="539" y="180"/>
                      </a:lnTo>
                      <a:lnTo>
                        <a:pt x="329" y="755"/>
                      </a:lnTo>
                      <a:lnTo>
                        <a:pt x="754" y="75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sp>
              <p:nvSpPr>
                <p:cNvPr id="121" name="Freeform 36"/>
                <p:cNvSpPr>
                  <a:spLocks/>
                </p:cNvSpPr>
                <p:nvPr/>
              </p:nvSpPr>
              <p:spPr bwMode="auto">
                <a:xfrm>
                  <a:off x="6363" y="1930"/>
                  <a:ext cx="726" cy="879"/>
                </a:xfrm>
                <a:custGeom>
                  <a:avLst/>
                  <a:gdLst>
                    <a:gd name="T0" fmla="*/ 726 w 726"/>
                    <a:gd name="T1" fmla="*/ 40 h 879"/>
                    <a:gd name="T2" fmla="*/ 206 w 726"/>
                    <a:gd name="T3" fmla="*/ 760 h 879"/>
                    <a:gd name="T4" fmla="*/ 719 w 726"/>
                    <a:gd name="T5" fmla="*/ 760 h 879"/>
                    <a:gd name="T6" fmla="*/ 719 w 726"/>
                    <a:gd name="T7" fmla="*/ 879 h 879"/>
                    <a:gd name="T8" fmla="*/ 0 w 726"/>
                    <a:gd name="T9" fmla="*/ 879 h 879"/>
                    <a:gd name="T10" fmla="*/ 0 w 726"/>
                    <a:gd name="T11" fmla="*/ 836 h 879"/>
                    <a:gd name="T12" fmla="*/ 518 w 726"/>
                    <a:gd name="T13" fmla="*/ 118 h 879"/>
                    <a:gd name="T14" fmla="*/ 50 w 726"/>
                    <a:gd name="T15" fmla="*/ 118 h 879"/>
                    <a:gd name="T16" fmla="*/ 50 w 726"/>
                    <a:gd name="T17" fmla="*/ 0 h 879"/>
                    <a:gd name="T18" fmla="*/ 726 w 726"/>
                    <a:gd name="T19" fmla="*/ 0 h 879"/>
                    <a:gd name="T20" fmla="*/ 726 w 726"/>
                    <a:gd name="T21" fmla="*/ 40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6" h="879">
                      <a:moveTo>
                        <a:pt x="726" y="40"/>
                      </a:moveTo>
                      <a:lnTo>
                        <a:pt x="206" y="760"/>
                      </a:lnTo>
                      <a:lnTo>
                        <a:pt x="719" y="760"/>
                      </a:lnTo>
                      <a:lnTo>
                        <a:pt x="719" y="879"/>
                      </a:lnTo>
                      <a:lnTo>
                        <a:pt x="0" y="879"/>
                      </a:lnTo>
                      <a:lnTo>
                        <a:pt x="0" y="836"/>
                      </a:lnTo>
                      <a:lnTo>
                        <a:pt x="518" y="118"/>
                      </a:lnTo>
                      <a:lnTo>
                        <a:pt x="50" y="118"/>
                      </a:lnTo>
                      <a:lnTo>
                        <a:pt x="50" y="0"/>
                      </a:lnTo>
                      <a:lnTo>
                        <a:pt x="726" y="0"/>
                      </a:lnTo>
                      <a:lnTo>
                        <a:pt x="726" y="4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sp>
              <p:nvSpPr>
                <p:cNvPr id="122" name="Freeform 37"/>
                <p:cNvSpPr>
                  <a:spLocks/>
                </p:cNvSpPr>
                <p:nvPr/>
              </p:nvSpPr>
              <p:spPr bwMode="auto">
                <a:xfrm>
                  <a:off x="7193" y="1930"/>
                  <a:ext cx="728" cy="900"/>
                </a:xfrm>
                <a:custGeom>
                  <a:avLst/>
                  <a:gdLst>
                    <a:gd name="T0" fmla="*/ 308 w 308"/>
                    <a:gd name="T1" fmla="*/ 370 h 379"/>
                    <a:gd name="T2" fmla="*/ 248 w 308"/>
                    <a:gd name="T3" fmla="*/ 370 h 379"/>
                    <a:gd name="T4" fmla="*/ 248 w 308"/>
                    <a:gd name="T5" fmla="*/ 312 h 379"/>
                    <a:gd name="T6" fmla="*/ 247 w 308"/>
                    <a:gd name="T7" fmla="*/ 312 h 379"/>
                    <a:gd name="T8" fmla="*/ 133 w 308"/>
                    <a:gd name="T9" fmla="*/ 379 h 379"/>
                    <a:gd name="T10" fmla="*/ 0 w 308"/>
                    <a:gd name="T11" fmla="*/ 221 h 379"/>
                    <a:gd name="T12" fmla="*/ 0 w 308"/>
                    <a:gd name="T13" fmla="*/ 0 h 379"/>
                    <a:gd name="T14" fmla="*/ 60 w 308"/>
                    <a:gd name="T15" fmla="*/ 0 h 379"/>
                    <a:gd name="T16" fmla="*/ 60 w 308"/>
                    <a:gd name="T17" fmla="*/ 212 h 379"/>
                    <a:gd name="T18" fmla="*/ 149 w 308"/>
                    <a:gd name="T19" fmla="*/ 329 h 379"/>
                    <a:gd name="T20" fmla="*/ 221 w 308"/>
                    <a:gd name="T21" fmla="*/ 297 h 379"/>
                    <a:gd name="T22" fmla="*/ 248 w 308"/>
                    <a:gd name="T23" fmla="*/ 213 h 379"/>
                    <a:gd name="T24" fmla="*/ 248 w 308"/>
                    <a:gd name="T25" fmla="*/ 0 h 379"/>
                    <a:gd name="T26" fmla="*/ 308 w 308"/>
                    <a:gd name="T27" fmla="*/ 0 h 379"/>
                    <a:gd name="T28" fmla="*/ 308 w 308"/>
                    <a:gd name="T29" fmla="*/ 37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8" h="379">
                      <a:moveTo>
                        <a:pt x="308" y="370"/>
                      </a:moveTo>
                      <a:cubicBezTo>
                        <a:pt x="248" y="370"/>
                        <a:pt x="248" y="370"/>
                        <a:pt x="248" y="370"/>
                      </a:cubicBezTo>
                      <a:cubicBezTo>
                        <a:pt x="248" y="312"/>
                        <a:pt x="248" y="312"/>
                        <a:pt x="248" y="312"/>
                      </a:cubicBezTo>
                      <a:cubicBezTo>
                        <a:pt x="247" y="312"/>
                        <a:pt x="247" y="312"/>
                        <a:pt x="247" y="312"/>
                      </a:cubicBezTo>
                      <a:cubicBezTo>
                        <a:pt x="222" y="357"/>
                        <a:pt x="184" y="379"/>
                        <a:pt x="133" y="379"/>
                      </a:cubicBezTo>
                      <a:cubicBezTo>
                        <a:pt x="45" y="379"/>
                        <a:pt x="0" y="327"/>
                        <a:pt x="0" y="221"/>
                      </a:cubicBezTo>
                      <a:cubicBezTo>
                        <a:pt x="0" y="0"/>
                        <a:pt x="0" y="0"/>
                        <a:pt x="0" y="0"/>
                      </a:cubicBezTo>
                      <a:cubicBezTo>
                        <a:pt x="60" y="0"/>
                        <a:pt x="60" y="0"/>
                        <a:pt x="60" y="0"/>
                      </a:cubicBezTo>
                      <a:cubicBezTo>
                        <a:pt x="60" y="212"/>
                        <a:pt x="60" y="212"/>
                        <a:pt x="60" y="212"/>
                      </a:cubicBezTo>
                      <a:cubicBezTo>
                        <a:pt x="60" y="290"/>
                        <a:pt x="90" y="329"/>
                        <a:pt x="149" y="329"/>
                      </a:cubicBezTo>
                      <a:cubicBezTo>
                        <a:pt x="179" y="329"/>
                        <a:pt x="203" y="318"/>
                        <a:pt x="221" y="297"/>
                      </a:cubicBezTo>
                      <a:cubicBezTo>
                        <a:pt x="239" y="275"/>
                        <a:pt x="248" y="248"/>
                        <a:pt x="248" y="213"/>
                      </a:cubicBezTo>
                      <a:cubicBezTo>
                        <a:pt x="248" y="0"/>
                        <a:pt x="248" y="0"/>
                        <a:pt x="248" y="0"/>
                      </a:cubicBezTo>
                      <a:cubicBezTo>
                        <a:pt x="308" y="0"/>
                        <a:pt x="308" y="0"/>
                        <a:pt x="308" y="0"/>
                      </a:cubicBezTo>
                      <a:lnTo>
                        <a:pt x="308" y="37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sp>
              <p:nvSpPr>
                <p:cNvPr id="123" name="Freeform 38"/>
                <p:cNvSpPr>
                  <a:spLocks/>
                </p:cNvSpPr>
                <p:nvPr/>
              </p:nvSpPr>
              <p:spPr bwMode="auto">
                <a:xfrm>
                  <a:off x="8148" y="1913"/>
                  <a:ext cx="456" cy="896"/>
                </a:xfrm>
                <a:custGeom>
                  <a:avLst/>
                  <a:gdLst>
                    <a:gd name="T0" fmla="*/ 193 w 193"/>
                    <a:gd name="T1" fmla="*/ 67 h 377"/>
                    <a:gd name="T2" fmla="*/ 148 w 193"/>
                    <a:gd name="T3" fmla="*/ 55 h 377"/>
                    <a:gd name="T4" fmla="*/ 84 w 193"/>
                    <a:gd name="T5" fmla="*/ 92 h 377"/>
                    <a:gd name="T6" fmla="*/ 60 w 193"/>
                    <a:gd name="T7" fmla="*/ 189 h 377"/>
                    <a:gd name="T8" fmla="*/ 60 w 193"/>
                    <a:gd name="T9" fmla="*/ 377 h 377"/>
                    <a:gd name="T10" fmla="*/ 0 w 193"/>
                    <a:gd name="T11" fmla="*/ 377 h 377"/>
                    <a:gd name="T12" fmla="*/ 0 w 193"/>
                    <a:gd name="T13" fmla="*/ 7 h 377"/>
                    <a:gd name="T14" fmla="*/ 60 w 193"/>
                    <a:gd name="T15" fmla="*/ 7 h 377"/>
                    <a:gd name="T16" fmla="*/ 60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1" y="67"/>
                        <a:pt x="84" y="92"/>
                      </a:cubicBezTo>
                      <a:cubicBezTo>
                        <a:pt x="68" y="117"/>
                        <a:pt x="60" y="149"/>
                        <a:pt x="60" y="189"/>
                      </a:cubicBezTo>
                      <a:cubicBezTo>
                        <a:pt x="60" y="377"/>
                        <a:pt x="60" y="377"/>
                        <a:pt x="60" y="377"/>
                      </a:cubicBezTo>
                      <a:cubicBezTo>
                        <a:pt x="0" y="377"/>
                        <a:pt x="0" y="377"/>
                        <a:pt x="0" y="377"/>
                      </a:cubicBezTo>
                      <a:cubicBezTo>
                        <a:pt x="0" y="7"/>
                        <a:pt x="0" y="7"/>
                        <a:pt x="0" y="7"/>
                      </a:cubicBezTo>
                      <a:cubicBezTo>
                        <a:pt x="60" y="7"/>
                        <a:pt x="60" y="7"/>
                        <a:pt x="60" y="7"/>
                      </a:cubicBezTo>
                      <a:cubicBezTo>
                        <a:pt x="60" y="83"/>
                        <a:pt x="60" y="83"/>
                        <a:pt x="60"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sp>
              <p:nvSpPr>
                <p:cNvPr id="124" name="Freeform 39"/>
                <p:cNvSpPr>
                  <a:spLocks noEditPoints="1"/>
                </p:cNvSpPr>
                <p:nvPr/>
              </p:nvSpPr>
              <p:spPr bwMode="auto">
                <a:xfrm>
                  <a:off x="8611" y="1908"/>
                  <a:ext cx="764" cy="922"/>
                </a:xfrm>
                <a:custGeom>
                  <a:avLst/>
                  <a:gdLst>
                    <a:gd name="T0" fmla="*/ 323 w 323"/>
                    <a:gd name="T1" fmla="*/ 209 h 388"/>
                    <a:gd name="T2" fmla="*/ 62 w 323"/>
                    <a:gd name="T3" fmla="*/ 209 h 388"/>
                    <a:gd name="T4" fmla="*/ 95 w 323"/>
                    <a:gd name="T5" fmla="*/ 305 h 388"/>
                    <a:gd name="T6" fmla="*/ 183 w 323"/>
                    <a:gd name="T7" fmla="*/ 338 h 388"/>
                    <a:gd name="T8" fmla="*/ 297 w 323"/>
                    <a:gd name="T9" fmla="*/ 297 h 388"/>
                    <a:gd name="T10" fmla="*/ 297 w 323"/>
                    <a:gd name="T11" fmla="*/ 353 h 388"/>
                    <a:gd name="T12" fmla="*/ 169 w 323"/>
                    <a:gd name="T13" fmla="*/ 388 h 388"/>
                    <a:gd name="T14" fmla="*/ 45 w 323"/>
                    <a:gd name="T15" fmla="*/ 337 h 388"/>
                    <a:gd name="T16" fmla="*/ 0 w 323"/>
                    <a:gd name="T17" fmla="*/ 196 h 388"/>
                    <a:gd name="T18" fmla="*/ 23 w 323"/>
                    <a:gd name="T19" fmla="*/ 95 h 388"/>
                    <a:gd name="T20" fmla="*/ 84 w 323"/>
                    <a:gd name="T21" fmla="*/ 25 h 388"/>
                    <a:gd name="T22" fmla="*/ 171 w 323"/>
                    <a:gd name="T23" fmla="*/ 0 h 388"/>
                    <a:gd name="T24" fmla="*/ 283 w 323"/>
                    <a:gd name="T25" fmla="*/ 47 h 388"/>
                    <a:gd name="T26" fmla="*/ 323 w 323"/>
                    <a:gd name="T27" fmla="*/ 178 h 388"/>
                    <a:gd name="T28" fmla="*/ 323 w 323"/>
                    <a:gd name="T29" fmla="*/ 209 h 388"/>
                    <a:gd name="T30" fmla="*/ 263 w 323"/>
                    <a:gd name="T31" fmla="*/ 159 h 388"/>
                    <a:gd name="T32" fmla="*/ 238 w 323"/>
                    <a:gd name="T33" fmla="*/ 79 h 388"/>
                    <a:gd name="T34" fmla="*/ 170 w 323"/>
                    <a:gd name="T35" fmla="*/ 51 h 388"/>
                    <a:gd name="T36" fmla="*/ 100 w 323"/>
                    <a:gd name="T37" fmla="*/ 80 h 388"/>
                    <a:gd name="T38" fmla="*/ 63 w 323"/>
                    <a:gd name="T39" fmla="*/ 159 h 388"/>
                    <a:gd name="T40" fmla="*/ 263 w 323"/>
                    <a:gd name="T41" fmla="*/ 159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3" h="388">
                      <a:moveTo>
                        <a:pt x="323" y="209"/>
                      </a:moveTo>
                      <a:cubicBezTo>
                        <a:pt x="62" y="209"/>
                        <a:pt x="62" y="209"/>
                        <a:pt x="62" y="209"/>
                      </a:cubicBezTo>
                      <a:cubicBezTo>
                        <a:pt x="63" y="251"/>
                        <a:pt x="74" y="283"/>
                        <a:pt x="95" y="305"/>
                      </a:cubicBezTo>
                      <a:cubicBezTo>
                        <a:pt x="116" y="327"/>
                        <a:pt x="145" y="338"/>
                        <a:pt x="183" y="338"/>
                      </a:cubicBezTo>
                      <a:cubicBezTo>
                        <a:pt x="225" y="338"/>
                        <a:pt x="263" y="324"/>
                        <a:pt x="297" y="297"/>
                      </a:cubicBezTo>
                      <a:cubicBezTo>
                        <a:pt x="297" y="353"/>
                        <a:pt x="297" y="353"/>
                        <a:pt x="297" y="353"/>
                      </a:cubicBezTo>
                      <a:cubicBezTo>
                        <a:pt x="265" y="376"/>
                        <a:pt x="222" y="388"/>
                        <a:pt x="169" y="388"/>
                      </a:cubicBezTo>
                      <a:cubicBezTo>
                        <a:pt x="116" y="388"/>
                        <a:pt x="75" y="371"/>
                        <a:pt x="45" y="337"/>
                      </a:cubicBezTo>
                      <a:cubicBezTo>
                        <a:pt x="15" y="303"/>
                        <a:pt x="0" y="256"/>
                        <a:pt x="0" y="196"/>
                      </a:cubicBezTo>
                      <a:cubicBezTo>
                        <a:pt x="0" y="159"/>
                        <a:pt x="8" y="125"/>
                        <a:pt x="23" y="95"/>
                      </a:cubicBezTo>
                      <a:cubicBezTo>
                        <a:pt x="38" y="65"/>
                        <a:pt x="58" y="42"/>
                        <a:pt x="84" y="25"/>
                      </a:cubicBezTo>
                      <a:cubicBezTo>
                        <a:pt x="110" y="8"/>
                        <a:pt x="139" y="0"/>
                        <a:pt x="171" y="0"/>
                      </a:cubicBezTo>
                      <a:cubicBezTo>
                        <a:pt x="219" y="0"/>
                        <a:pt x="256" y="16"/>
                        <a:pt x="283" y="47"/>
                      </a:cubicBezTo>
                      <a:cubicBezTo>
                        <a:pt x="310" y="78"/>
                        <a:pt x="323" y="122"/>
                        <a:pt x="323" y="178"/>
                      </a:cubicBezTo>
                      <a:lnTo>
                        <a:pt x="323" y="209"/>
                      </a:lnTo>
                      <a:close/>
                      <a:moveTo>
                        <a:pt x="263" y="159"/>
                      </a:moveTo>
                      <a:cubicBezTo>
                        <a:pt x="262" y="124"/>
                        <a:pt x="254" y="98"/>
                        <a:pt x="238" y="79"/>
                      </a:cubicBezTo>
                      <a:cubicBezTo>
                        <a:pt x="222" y="60"/>
                        <a:pt x="199" y="51"/>
                        <a:pt x="170" y="51"/>
                      </a:cubicBezTo>
                      <a:cubicBezTo>
                        <a:pt x="143" y="51"/>
                        <a:pt x="119" y="60"/>
                        <a:pt x="100" y="80"/>
                      </a:cubicBezTo>
                      <a:cubicBezTo>
                        <a:pt x="80" y="100"/>
                        <a:pt x="68" y="126"/>
                        <a:pt x="63" y="159"/>
                      </a:cubicBezTo>
                      <a:lnTo>
                        <a:pt x="263" y="15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grpSp>
        </p:grpSp>
        <p:grpSp>
          <p:nvGrpSpPr>
            <p:cNvPr id="125" name="Group 124"/>
            <p:cNvGrpSpPr/>
            <p:nvPr/>
          </p:nvGrpSpPr>
          <p:grpSpPr>
            <a:xfrm>
              <a:off x="502526" y="4263632"/>
              <a:ext cx="3790601" cy="811206"/>
              <a:chOff x="350126" y="4111232"/>
              <a:chExt cx="3790601" cy="811206"/>
            </a:xfrm>
          </p:grpSpPr>
          <p:pic>
            <p:nvPicPr>
              <p:cNvPr id="126" name="Picture 125"/>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427775" y="4664834"/>
                <a:ext cx="1104830" cy="200541"/>
              </a:xfrm>
              <a:prstGeom prst="rect">
                <a:avLst/>
              </a:prstGeom>
            </p:spPr>
          </p:pic>
          <p:pic>
            <p:nvPicPr>
              <p:cNvPr id="127" name="Picture 126"/>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3620229" y="4282463"/>
                <a:ext cx="520498" cy="142180"/>
              </a:xfrm>
              <a:prstGeom prst="rect">
                <a:avLst/>
              </a:prstGeom>
            </p:spPr>
          </p:pic>
          <p:pic>
            <p:nvPicPr>
              <p:cNvPr id="128" name="Picture 127"/>
              <p:cNvPicPr>
                <a:picLocks noChangeAspect="1"/>
              </p:cNvPicPr>
              <p:nvPr/>
            </p:nvPicPr>
            <p:blipFill rotWithShape="1">
              <a:blip r:embed="rId7" cstate="screen">
                <a:extLst>
                  <a:ext uri="{28A0092B-C50C-407E-A947-70E740481C1C}">
                    <a14:useLocalDpi xmlns:a14="http://schemas.microsoft.com/office/drawing/2010/main" val="0"/>
                  </a:ext>
                </a:extLst>
              </a:blip>
              <a:srcRect/>
              <a:stretch/>
            </p:blipFill>
            <p:spPr>
              <a:xfrm>
                <a:off x="1730077" y="4111232"/>
                <a:ext cx="791901" cy="361753"/>
              </a:xfrm>
              <a:prstGeom prst="rect">
                <a:avLst/>
              </a:prstGeom>
            </p:spPr>
          </p:pic>
          <p:pic>
            <p:nvPicPr>
              <p:cNvPr id="129" name="Picture 2"/>
              <p:cNvPicPr>
                <a:picLocks noChangeAspect="1" noChangeArrowheads="1"/>
              </p:cNvPicPr>
              <p:nvPr/>
            </p:nvPicPr>
            <p:blipFill>
              <a:blip r:embed="rId8">
                <a:extLst>
                  <a:ext uri="{28A0092B-C50C-407E-A947-70E740481C1C}">
                    <a14:useLocalDpi xmlns:a14="http://schemas.microsoft.com/office/drawing/2010/main" val="0"/>
                  </a:ext>
                </a:extLst>
              </a:blip>
              <a:stretch>
                <a:fillRect/>
              </a:stretch>
            </p:blipFill>
            <p:spPr bwMode="auto">
              <a:xfrm>
                <a:off x="350126" y="4128257"/>
                <a:ext cx="1270438" cy="440120"/>
              </a:xfrm>
              <a:prstGeom prst="rect">
                <a:avLst/>
              </a:prstGeom>
              <a:noFill/>
              <a:extLst>
                <a:ext uri="{909E8E84-426E-40DD-AFC4-6F175D3DCCD1}">
                  <a14:hiddenFill xmlns:a14="http://schemas.microsoft.com/office/drawing/2010/main">
                    <a:solidFill>
                      <a:srgbClr val="FFFFFF"/>
                    </a:solidFill>
                  </a14:hiddenFill>
                </a:ext>
              </a:extLst>
            </p:spPr>
          </p:pic>
          <p:grpSp>
            <p:nvGrpSpPr>
              <p:cNvPr id="130" name="Group 129"/>
              <p:cNvGrpSpPr/>
              <p:nvPr/>
            </p:nvGrpSpPr>
            <p:grpSpPr>
              <a:xfrm>
                <a:off x="1725225" y="4607122"/>
                <a:ext cx="1105742" cy="315316"/>
                <a:chOff x="10957261" y="3258670"/>
                <a:chExt cx="881667" cy="251419"/>
              </a:xfrm>
            </p:grpSpPr>
            <p:pic>
              <p:nvPicPr>
                <p:cNvPr id="141" name="Picture 140"/>
                <p:cNvPicPr>
                  <a:picLocks noChangeAspect="1"/>
                </p:cNvPicPr>
                <p:nvPr/>
              </p:nvPicPr>
              <p:blipFill rotWithShape="1">
                <a:blip r:embed="rId9" cstate="screen">
                  <a:clrChange>
                    <a:clrFrom>
                      <a:srgbClr val="FFFFFF"/>
                    </a:clrFrom>
                    <a:clrTo>
                      <a:srgbClr val="FFFFFF">
                        <a:alpha val="0"/>
                      </a:srgbClr>
                    </a:clrTo>
                  </a:clrChange>
                  <a:lum bright="51000"/>
                  <a:extLst>
                    <a:ext uri="{28A0092B-C50C-407E-A947-70E740481C1C}">
                      <a14:useLocalDpi xmlns:a14="http://schemas.microsoft.com/office/drawing/2010/main" val="0"/>
                    </a:ext>
                  </a:extLst>
                </a:blip>
                <a:srcRect/>
                <a:stretch/>
              </p:blipFill>
              <p:spPr>
                <a:xfrm>
                  <a:off x="10957261" y="3269634"/>
                  <a:ext cx="219488" cy="240455"/>
                </a:xfrm>
                <a:prstGeom prst="rect">
                  <a:avLst/>
                </a:prstGeom>
                <a:noFill/>
                <a:ln>
                  <a:noFill/>
                </a:ln>
              </p:spPr>
            </p:pic>
            <p:pic>
              <p:nvPicPr>
                <p:cNvPr id="142" name="Picture 141"/>
                <p:cNvPicPr>
                  <a:picLocks noChangeAspect="1"/>
                </p:cNvPicPr>
                <p:nvPr/>
              </p:nvPicPr>
              <p:blipFill rotWithShape="1">
                <a:blip r:embed="rId10" cstate="screen">
                  <a:extLst>
                    <a:ext uri="{28A0092B-C50C-407E-A947-70E740481C1C}">
                      <a14:useLocalDpi xmlns:a14="http://schemas.microsoft.com/office/drawing/2010/main" val="0"/>
                    </a:ext>
                  </a:extLst>
                </a:blip>
                <a:srcRect/>
                <a:stretch/>
              </p:blipFill>
              <p:spPr>
                <a:xfrm>
                  <a:off x="11176749" y="3258670"/>
                  <a:ext cx="662179" cy="251419"/>
                </a:xfrm>
                <a:prstGeom prst="rect">
                  <a:avLst/>
                </a:prstGeom>
                <a:noFill/>
                <a:ln>
                  <a:noFill/>
                </a:ln>
              </p:spPr>
            </p:pic>
          </p:grpSp>
          <p:grpSp>
            <p:nvGrpSpPr>
              <p:cNvPr id="131" name="Group 130"/>
              <p:cNvGrpSpPr/>
              <p:nvPr/>
            </p:nvGrpSpPr>
            <p:grpSpPr>
              <a:xfrm>
                <a:off x="3169172" y="4650424"/>
                <a:ext cx="734207" cy="237416"/>
                <a:chOff x="12136828" y="3259592"/>
                <a:chExt cx="585422" cy="189305"/>
              </a:xfrm>
            </p:grpSpPr>
            <p:pic>
              <p:nvPicPr>
                <p:cNvPr id="133" name="Picture 4" descr="http://tctechcrunch2011.files.wordpress.com/2012/11/twilio-logo-6a141664f35a78e9ac08eed627c2a859.png"/>
                <p:cNvPicPr>
                  <a:picLocks noChangeAspect="1" noChangeArrowheads="1"/>
                </p:cNvPicPr>
                <p:nvPr/>
              </p:nvPicPr>
              <p:blipFill rotWithShape="1">
                <a:blip r:embed="rId11" cstate="screen">
                  <a:extLst>
                    <a:ext uri="{28A0092B-C50C-407E-A947-70E740481C1C}">
                      <a14:useLocalDpi xmlns:a14="http://schemas.microsoft.com/office/drawing/2010/main" val="0"/>
                    </a:ext>
                  </a:extLst>
                </a:blip>
                <a:srcRect/>
                <a:stretch/>
              </p:blipFill>
              <p:spPr bwMode="auto">
                <a:xfrm>
                  <a:off x="12332326" y="3259592"/>
                  <a:ext cx="389924" cy="189305"/>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134" name="Group 133"/>
                <p:cNvGrpSpPr/>
                <p:nvPr/>
              </p:nvGrpSpPr>
              <p:grpSpPr>
                <a:xfrm>
                  <a:off x="12136828" y="3268957"/>
                  <a:ext cx="178831" cy="178830"/>
                  <a:chOff x="12136828" y="3639206"/>
                  <a:chExt cx="178831" cy="178830"/>
                </a:xfrm>
              </p:grpSpPr>
              <p:sp>
                <p:nvSpPr>
                  <p:cNvPr id="135" name="Freeform 134"/>
                  <p:cNvSpPr/>
                  <p:nvPr/>
                </p:nvSpPr>
                <p:spPr bwMode="auto">
                  <a:xfrm>
                    <a:off x="12136828" y="3639206"/>
                    <a:ext cx="178831" cy="178830"/>
                  </a:xfrm>
                  <a:custGeom>
                    <a:avLst/>
                    <a:gdLst>
                      <a:gd name="connsiteX0" fmla="*/ 89415 w 178830"/>
                      <a:gd name="connsiteY0" fmla="*/ 0 h 178830"/>
                      <a:gd name="connsiteX1" fmla="*/ 178830 w 178830"/>
                      <a:gd name="connsiteY1" fmla="*/ 89415 h 178830"/>
                      <a:gd name="connsiteX2" fmla="*/ 89415 w 178830"/>
                      <a:gd name="connsiteY2" fmla="*/ 178830 h 178830"/>
                      <a:gd name="connsiteX3" fmla="*/ 0 w 178830"/>
                      <a:gd name="connsiteY3" fmla="*/ 89415 h 178830"/>
                      <a:gd name="connsiteX4" fmla="*/ 89415 w 178830"/>
                      <a:gd name="connsiteY4" fmla="*/ 0 h 178830"/>
                      <a:gd name="connsiteX5" fmla="*/ 89415 w 178830"/>
                      <a:gd name="connsiteY5" fmla="*/ 25937 h 178830"/>
                      <a:gd name="connsiteX6" fmla="*/ 25937 w 178830"/>
                      <a:gd name="connsiteY6" fmla="*/ 89415 h 178830"/>
                      <a:gd name="connsiteX7" fmla="*/ 89415 w 178830"/>
                      <a:gd name="connsiteY7" fmla="*/ 152893 h 178830"/>
                      <a:gd name="connsiteX8" fmla="*/ 152893 w 178830"/>
                      <a:gd name="connsiteY8" fmla="*/ 89415 h 178830"/>
                      <a:gd name="connsiteX9" fmla="*/ 89415 w 178830"/>
                      <a:gd name="connsiteY9" fmla="*/ 25937 h 17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830" h="178830">
                        <a:moveTo>
                          <a:pt x="89415" y="0"/>
                        </a:moveTo>
                        <a:cubicBezTo>
                          <a:pt x="138798" y="0"/>
                          <a:pt x="178830" y="40032"/>
                          <a:pt x="178830" y="89415"/>
                        </a:cubicBezTo>
                        <a:cubicBezTo>
                          <a:pt x="178830" y="138798"/>
                          <a:pt x="138798" y="178830"/>
                          <a:pt x="89415" y="178830"/>
                        </a:cubicBezTo>
                        <a:cubicBezTo>
                          <a:pt x="40032" y="178830"/>
                          <a:pt x="0" y="138798"/>
                          <a:pt x="0" y="89415"/>
                        </a:cubicBezTo>
                        <a:cubicBezTo>
                          <a:pt x="0" y="40032"/>
                          <a:pt x="40032" y="0"/>
                          <a:pt x="89415" y="0"/>
                        </a:cubicBezTo>
                        <a:close/>
                        <a:moveTo>
                          <a:pt x="89415" y="25937"/>
                        </a:moveTo>
                        <a:cubicBezTo>
                          <a:pt x="54357" y="25937"/>
                          <a:pt x="25937" y="54357"/>
                          <a:pt x="25937" y="89415"/>
                        </a:cubicBezTo>
                        <a:cubicBezTo>
                          <a:pt x="25937" y="124473"/>
                          <a:pt x="54357" y="152893"/>
                          <a:pt x="89415" y="152893"/>
                        </a:cubicBezTo>
                        <a:cubicBezTo>
                          <a:pt x="124473" y="152893"/>
                          <a:pt x="152893" y="124473"/>
                          <a:pt x="152893" y="89415"/>
                        </a:cubicBezTo>
                        <a:cubicBezTo>
                          <a:pt x="152893" y="54357"/>
                          <a:pt x="124473" y="25937"/>
                          <a:pt x="89415" y="25937"/>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17">
                            <a:srgbClr val="000000"/>
                          </a:gs>
                          <a:gs pos="100000">
                            <a:srgbClr val="000000"/>
                          </a:gs>
                        </a:gsLst>
                        <a:lin ang="5400000" scaled="0"/>
                      </a:gradFill>
                    </a:endParaRPr>
                  </a:p>
                </p:txBody>
              </p:sp>
              <p:grpSp>
                <p:nvGrpSpPr>
                  <p:cNvPr id="136" name="Group 135"/>
                  <p:cNvGrpSpPr/>
                  <p:nvPr/>
                </p:nvGrpSpPr>
                <p:grpSpPr>
                  <a:xfrm>
                    <a:off x="12187796" y="3692698"/>
                    <a:ext cx="76943" cy="71846"/>
                    <a:chOff x="12157225" y="3537324"/>
                    <a:chExt cx="65970" cy="61600"/>
                  </a:xfrm>
                  <a:solidFill>
                    <a:schemeClr val="bg1"/>
                  </a:solidFill>
                </p:grpSpPr>
                <p:sp>
                  <p:nvSpPr>
                    <p:cNvPr id="137" name="Oval 136"/>
                    <p:cNvSpPr/>
                    <p:nvPr/>
                  </p:nvSpPr>
                  <p:spPr bwMode="auto">
                    <a:xfrm>
                      <a:off x="12157225" y="3537325"/>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17">
                              <a:srgbClr val="000000"/>
                            </a:gs>
                            <a:gs pos="100000">
                              <a:srgbClr val="000000"/>
                            </a:gs>
                          </a:gsLst>
                          <a:lin ang="5400000" scaled="0"/>
                        </a:gradFill>
                      </a:endParaRPr>
                    </a:p>
                  </p:txBody>
                </p:sp>
                <p:sp>
                  <p:nvSpPr>
                    <p:cNvPr id="138" name="Oval 137"/>
                    <p:cNvSpPr/>
                    <p:nvPr/>
                  </p:nvSpPr>
                  <p:spPr bwMode="auto">
                    <a:xfrm>
                      <a:off x="12195763" y="3537324"/>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17">
                              <a:srgbClr val="000000"/>
                            </a:gs>
                            <a:gs pos="100000">
                              <a:srgbClr val="000000"/>
                            </a:gs>
                          </a:gsLst>
                          <a:lin ang="5400000" scaled="0"/>
                        </a:gradFill>
                      </a:endParaRPr>
                    </a:p>
                  </p:txBody>
                </p:sp>
                <p:sp>
                  <p:nvSpPr>
                    <p:cNvPr id="139" name="Oval 138"/>
                    <p:cNvSpPr/>
                    <p:nvPr/>
                  </p:nvSpPr>
                  <p:spPr bwMode="auto">
                    <a:xfrm>
                      <a:off x="12157225" y="3571492"/>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17">
                              <a:srgbClr val="000000"/>
                            </a:gs>
                            <a:gs pos="100000">
                              <a:srgbClr val="000000"/>
                            </a:gs>
                          </a:gsLst>
                          <a:lin ang="5400000" scaled="0"/>
                        </a:gradFill>
                      </a:endParaRPr>
                    </a:p>
                  </p:txBody>
                </p:sp>
                <p:sp>
                  <p:nvSpPr>
                    <p:cNvPr id="140" name="Oval 139"/>
                    <p:cNvSpPr/>
                    <p:nvPr/>
                  </p:nvSpPr>
                  <p:spPr bwMode="auto">
                    <a:xfrm>
                      <a:off x="12195763" y="3571492"/>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17">
                              <a:srgbClr val="000000"/>
                            </a:gs>
                            <a:gs pos="100000">
                              <a:srgbClr val="000000"/>
                            </a:gs>
                          </a:gsLst>
                          <a:lin ang="5400000" scaled="0"/>
                        </a:gradFill>
                      </a:endParaRPr>
                    </a:p>
                  </p:txBody>
                </p:sp>
              </p:grpSp>
            </p:grpSp>
          </p:grpSp>
          <p:pic>
            <p:nvPicPr>
              <p:cNvPr id="132" name="Picture 131"/>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2774348" y="4120591"/>
                <a:ext cx="585798" cy="446449"/>
              </a:xfrm>
              <a:prstGeom prst="rect">
                <a:avLst/>
              </a:prstGeom>
            </p:spPr>
          </p:pic>
        </p:grpSp>
        <p:sp>
          <p:nvSpPr>
            <p:cNvPr id="143" name="Rectangle 142"/>
            <p:cNvSpPr/>
            <p:nvPr/>
          </p:nvSpPr>
          <p:spPr bwMode="auto">
            <a:xfrm>
              <a:off x="427037" y="3707676"/>
              <a:ext cx="3274550" cy="57250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defRPr/>
              </a:pPr>
              <a:r>
                <a:rPr lang="en-US" sz="1800" b="1" kern="0" spc="50" dirty="0">
                  <a:gradFill>
                    <a:gsLst>
                      <a:gs pos="0">
                        <a:srgbClr val="FFFFFF"/>
                      </a:gs>
                      <a:gs pos="83000">
                        <a:srgbClr val="FFFFFF"/>
                      </a:gs>
                    </a:gsLst>
                    <a:lin ang="5400000" scaled="1"/>
                  </a:gradFill>
                </a:rPr>
                <a:t>NON-MICROSOFT CLOUD</a:t>
              </a:r>
            </a:p>
          </p:txBody>
        </p:sp>
        <p:grpSp>
          <p:nvGrpSpPr>
            <p:cNvPr id="144" name="Group 143"/>
            <p:cNvGrpSpPr/>
            <p:nvPr/>
          </p:nvGrpSpPr>
          <p:grpSpPr>
            <a:xfrm>
              <a:off x="427037" y="5330334"/>
              <a:ext cx="3499894" cy="1318220"/>
              <a:chOff x="274637" y="5177934"/>
              <a:chExt cx="3499894" cy="1318220"/>
            </a:xfrm>
          </p:grpSpPr>
          <p:sp>
            <p:nvSpPr>
              <p:cNvPr id="145" name="Rectangle 144"/>
              <p:cNvSpPr/>
              <p:nvPr/>
            </p:nvSpPr>
            <p:spPr bwMode="auto">
              <a:xfrm>
                <a:off x="274637" y="5177934"/>
                <a:ext cx="3274550" cy="57246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defRPr/>
                </a:pPr>
                <a:r>
                  <a:rPr lang="en-US" sz="1800" b="1" kern="0" spc="50" dirty="0">
                    <a:gradFill>
                      <a:gsLst>
                        <a:gs pos="0">
                          <a:srgbClr val="FFFFFF"/>
                        </a:gs>
                        <a:gs pos="83000">
                          <a:srgbClr val="FFFFFF"/>
                        </a:gs>
                      </a:gsLst>
                      <a:lin ang="5400000" scaled="1"/>
                    </a:gradFill>
                  </a:rPr>
                  <a:t>ON-PREMISE DATA</a:t>
                </a:r>
              </a:p>
            </p:txBody>
          </p:sp>
          <p:pic>
            <p:nvPicPr>
              <p:cNvPr id="146" name="Picture 145"/>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457490" y="5790086"/>
                <a:ext cx="1100752" cy="285133"/>
              </a:xfrm>
              <a:prstGeom prst="rect">
                <a:avLst/>
              </a:prstGeom>
            </p:spPr>
          </p:pic>
          <p:pic>
            <p:nvPicPr>
              <p:cNvPr id="147" name="Picture 10" descr="\\sfp\Work\White_Whale\_Archive-Tracy\_Archive-Tracy\7-20642_Cloud_Services_Track\Art\Logos\PNGs\Oracle.png"/>
              <p:cNvPicPr>
                <a:picLocks noChangeAspect="1" noChangeArrowheads="1"/>
              </p:cNvPicPr>
              <p:nvPr/>
            </p:nvPicPr>
            <p:blipFill>
              <a:blip r:embed="rId14" cstate="screen">
                <a:extLst>
                  <a:ext uri="{28A0092B-C50C-407E-A947-70E740481C1C}">
                    <a14:useLocalDpi xmlns:a14="http://schemas.microsoft.com/office/drawing/2010/main" val="0"/>
                  </a:ext>
                </a:extLst>
              </a:blip>
              <a:srcRect/>
              <a:stretch>
                <a:fillRect/>
              </a:stretch>
            </p:blipFill>
            <p:spPr bwMode="auto">
              <a:xfrm>
                <a:off x="472534" y="6303466"/>
                <a:ext cx="1011393" cy="128281"/>
              </a:xfrm>
              <a:prstGeom prst="rect">
                <a:avLst/>
              </a:prstGeom>
              <a:noFill/>
              <a:extLst/>
            </p:spPr>
          </p:pic>
          <p:pic>
            <p:nvPicPr>
              <p:cNvPr id="148" name="Picture 147"/>
              <p:cNvPicPr>
                <a:picLocks noChangeAspect="1"/>
              </p:cNvPicPr>
              <p:nvPr/>
            </p:nvPicPr>
            <p:blipFill>
              <a:blip r:embed="rId15" cstate="screen">
                <a:extLst>
                  <a:ext uri="{28A0092B-C50C-407E-A947-70E740481C1C}">
                    <a14:useLocalDpi xmlns:a14="http://schemas.microsoft.com/office/drawing/2010/main" val="0"/>
                  </a:ext>
                </a:extLst>
              </a:blip>
              <a:stretch>
                <a:fillRect/>
              </a:stretch>
            </p:blipFill>
            <p:spPr>
              <a:xfrm>
                <a:off x="1811065" y="5790086"/>
                <a:ext cx="577203" cy="285882"/>
              </a:xfrm>
              <a:prstGeom prst="rect">
                <a:avLst/>
              </a:prstGeom>
            </p:spPr>
          </p:pic>
          <p:pic>
            <p:nvPicPr>
              <p:cNvPr id="149" name="Picture 148"/>
              <p:cNvPicPr>
                <a:picLocks noChangeAspect="1"/>
              </p:cNvPicPr>
              <p:nvPr/>
            </p:nvPicPr>
            <p:blipFill>
              <a:blip r:embed="rId16" cstate="screen">
                <a:extLst>
                  <a:ext uri="{28A0092B-C50C-407E-A947-70E740481C1C}">
                    <a14:useLocalDpi xmlns:a14="http://schemas.microsoft.com/office/drawing/2010/main" val="0"/>
                  </a:ext>
                </a:extLst>
              </a:blip>
              <a:stretch>
                <a:fillRect/>
              </a:stretch>
            </p:blipFill>
            <p:spPr>
              <a:xfrm>
                <a:off x="3176281" y="6264840"/>
                <a:ext cx="598250" cy="231314"/>
              </a:xfrm>
              <a:prstGeom prst="rect">
                <a:avLst/>
              </a:prstGeom>
              <a:noFill/>
              <a:ln>
                <a:noFill/>
              </a:ln>
            </p:spPr>
          </p:pic>
          <p:pic>
            <p:nvPicPr>
              <p:cNvPr id="150" name="Picture 149"/>
              <p:cNvPicPr>
                <a:picLocks noChangeAspect="1"/>
              </p:cNvPicPr>
              <p:nvPr/>
            </p:nvPicPr>
            <p:blipFill>
              <a:blip r:embed="rId17" cstate="screen">
                <a:extLst>
                  <a:ext uri="{28A0092B-C50C-407E-A947-70E740481C1C}">
                    <a14:useLocalDpi xmlns:a14="http://schemas.microsoft.com/office/drawing/2010/main" val="0"/>
                  </a:ext>
                </a:extLst>
              </a:blip>
              <a:stretch>
                <a:fillRect/>
              </a:stretch>
            </p:blipFill>
            <p:spPr>
              <a:xfrm>
                <a:off x="2641091" y="5766276"/>
                <a:ext cx="907024" cy="403877"/>
              </a:xfrm>
              <a:prstGeom prst="rect">
                <a:avLst/>
              </a:prstGeom>
            </p:spPr>
          </p:pic>
          <p:pic>
            <p:nvPicPr>
              <p:cNvPr id="151" name="Picture 150"/>
              <p:cNvPicPr>
                <a:picLocks noChangeAspect="1"/>
              </p:cNvPicPr>
              <p:nvPr/>
            </p:nvPicPr>
            <p:blipFill>
              <a:blip r:embed="rId18" cstate="screen">
                <a:extLst>
                  <a:ext uri="{28A0092B-C50C-407E-A947-70E740481C1C}">
                    <a14:useLocalDpi xmlns:a14="http://schemas.microsoft.com/office/drawing/2010/main" val="0"/>
                  </a:ext>
                </a:extLst>
              </a:blip>
              <a:stretch>
                <a:fillRect/>
              </a:stretch>
            </p:blipFill>
            <p:spPr>
              <a:xfrm>
                <a:off x="1776455" y="6290022"/>
                <a:ext cx="811650" cy="180951"/>
              </a:xfrm>
              <a:prstGeom prst="rect">
                <a:avLst/>
              </a:prstGeom>
            </p:spPr>
          </p:pic>
        </p:grpSp>
      </p:grpSp>
      <p:sp>
        <p:nvSpPr>
          <p:cNvPr id="2" name="Title 1"/>
          <p:cNvSpPr>
            <a:spLocks noGrp="1"/>
          </p:cNvSpPr>
          <p:nvPr>
            <p:ph type="title"/>
          </p:nvPr>
        </p:nvSpPr>
        <p:spPr>
          <a:xfrm>
            <a:off x="275481" y="234778"/>
            <a:ext cx="11887878" cy="917444"/>
          </a:xfrm>
        </p:spPr>
        <p:txBody>
          <a:bodyPr/>
          <a:lstStyle/>
          <a:p>
            <a:r>
              <a:rPr lang="en-US" sz="5197" dirty="0">
                <a:solidFill>
                  <a:schemeClr val="bg2">
                    <a:lumMod val="10000"/>
                  </a:schemeClr>
                </a:solidFill>
              </a:rPr>
              <a:t>Power BI: Experience your data</a:t>
            </a:r>
            <a:br>
              <a:rPr lang="en-US" dirty="0">
                <a:solidFill>
                  <a:schemeClr val="bg2">
                    <a:lumMod val="10000"/>
                  </a:schemeClr>
                </a:solidFill>
              </a:rPr>
            </a:br>
            <a:r>
              <a:rPr lang="en-US" sz="2800" dirty="0">
                <a:solidFill>
                  <a:schemeClr val="bg2">
                    <a:lumMod val="10000"/>
                  </a:schemeClr>
                </a:solidFill>
              </a:rPr>
              <a:t>Any data, any way, anywhere</a:t>
            </a:r>
          </a:p>
        </p:txBody>
      </p:sp>
      <p:sp>
        <p:nvSpPr>
          <p:cNvPr id="95" name="Isosceles Triangle 94"/>
          <p:cNvSpPr/>
          <p:nvPr/>
        </p:nvSpPr>
        <p:spPr bwMode="auto">
          <a:xfrm rot="16200000" flipH="1">
            <a:off x="6030360" y="3770646"/>
            <a:ext cx="4764329" cy="1088796"/>
          </a:xfrm>
          <a:prstGeom prst="triangle">
            <a:avLst/>
          </a:prstGeom>
          <a:solidFill>
            <a:schemeClr val="bg2">
              <a:lumMod val="1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17">
                    <a:srgbClr val="000000"/>
                  </a:gs>
                  <a:gs pos="100000">
                    <a:srgbClr val="000000"/>
                  </a:gs>
                </a:gsLst>
                <a:lin ang="5400000" scaled="0"/>
              </a:gradFill>
            </a:endParaRPr>
          </a:p>
        </p:txBody>
      </p:sp>
      <p:sp>
        <p:nvSpPr>
          <p:cNvPr id="12" name="Rectangle 11"/>
          <p:cNvSpPr/>
          <p:nvPr/>
        </p:nvSpPr>
        <p:spPr bwMode="auto">
          <a:xfrm>
            <a:off x="8956923" y="1932881"/>
            <a:ext cx="3478671" cy="4764329"/>
          </a:xfrm>
          <a:prstGeom prst="rect">
            <a:avLst/>
          </a:prstGeom>
          <a:solidFill>
            <a:schemeClr val="bg2">
              <a:lumMod val="1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17">
                    <a:srgbClr val="000000"/>
                  </a:gs>
                  <a:gs pos="100000">
                    <a:srgbClr val="000000"/>
                  </a:gs>
                </a:gsLst>
                <a:lin ang="5400000" scaled="0"/>
              </a:gradFill>
            </a:endParaRPr>
          </a:p>
        </p:txBody>
      </p:sp>
      <p:sp>
        <p:nvSpPr>
          <p:cNvPr id="24" name="Freeform 5"/>
          <p:cNvSpPr>
            <a:spLocks noEditPoints="1"/>
          </p:cNvSpPr>
          <p:nvPr/>
        </p:nvSpPr>
        <p:spPr bwMode="auto">
          <a:xfrm>
            <a:off x="9989513" y="2082865"/>
            <a:ext cx="1550366" cy="1543443"/>
          </a:xfrm>
          <a:custGeom>
            <a:avLst/>
            <a:gdLst>
              <a:gd name="T0" fmla="*/ 1139 w 2273"/>
              <a:gd name="T1" fmla="*/ 0 h 2263"/>
              <a:gd name="T2" fmla="*/ 0 w 2273"/>
              <a:gd name="T3" fmla="*/ 1131 h 2263"/>
              <a:gd name="T4" fmla="*/ 1139 w 2273"/>
              <a:gd name="T5" fmla="*/ 2263 h 2263"/>
              <a:gd name="T6" fmla="*/ 2273 w 2273"/>
              <a:gd name="T7" fmla="*/ 1131 h 2263"/>
              <a:gd name="T8" fmla="*/ 1139 w 2273"/>
              <a:gd name="T9" fmla="*/ 0 h 2263"/>
              <a:gd name="T10" fmla="*/ 1941 w 2273"/>
              <a:gd name="T11" fmla="*/ 800 h 2263"/>
              <a:gd name="T12" fmla="*/ 1966 w 2273"/>
              <a:gd name="T13" fmla="*/ 694 h 2263"/>
              <a:gd name="T14" fmla="*/ 1985 w 2273"/>
              <a:gd name="T15" fmla="*/ 588 h 2263"/>
              <a:gd name="T16" fmla="*/ 2135 w 2273"/>
              <a:gd name="T17" fmla="*/ 969 h 2263"/>
              <a:gd name="T18" fmla="*/ 2116 w 2273"/>
              <a:gd name="T19" fmla="*/ 925 h 2263"/>
              <a:gd name="T20" fmla="*/ 2016 w 2273"/>
              <a:gd name="T21" fmla="*/ 913 h 2263"/>
              <a:gd name="T22" fmla="*/ 1941 w 2273"/>
              <a:gd name="T23" fmla="*/ 800 h 2263"/>
              <a:gd name="T24" fmla="*/ 1421 w 2273"/>
              <a:gd name="T25" fmla="*/ 1981 h 2263"/>
              <a:gd name="T26" fmla="*/ 1233 w 2273"/>
              <a:gd name="T27" fmla="*/ 2131 h 2263"/>
              <a:gd name="T28" fmla="*/ 1139 w 2273"/>
              <a:gd name="T29" fmla="*/ 2138 h 2263"/>
              <a:gd name="T30" fmla="*/ 1089 w 2273"/>
              <a:gd name="T31" fmla="*/ 2138 h 2263"/>
              <a:gd name="T32" fmla="*/ 1039 w 2273"/>
              <a:gd name="T33" fmla="*/ 1963 h 2263"/>
              <a:gd name="T34" fmla="*/ 920 w 2273"/>
              <a:gd name="T35" fmla="*/ 1719 h 2263"/>
              <a:gd name="T36" fmla="*/ 845 w 2273"/>
              <a:gd name="T37" fmla="*/ 1600 h 2263"/>
              <a:gd name="T38" fmla="*/ 620 w 2273"/>
              <a:gd name="T39" fmla="*/ 1438 h 2263"/>
              <a:gd name="T40" fmla="*/ 376 w 2273"/>
              <a:gd name="T41" fmla="*/ 1156 h 2263"/>
              <a:gd name="T42" fmla="*/ 401 w 2273"/>
              <a:gd name="T43" fmla="*/ 588 h 2263"/>
              <a:gd name="T44" fmla="*/ 369 w 2273"/>
              <a:gd name="T45" fmla="*/ 475 h 2263"/>
              <a:gd name="T46" fmla="*/ 426 w 2273"/>
              <a:gd name="T47" fmla="*/ 419 h 2263"/>
              <a:gd name="T48" fmla="*/ 570 w 2273"/>
              <a:gd name="T49" fmla="*/ 300 h 2263"/>
              <a:gd name="T50" fmla="*/ 726 w 2273"/>
              <a:gd name="T51" fmla="*/ 288 h 2263"/>
              <a:gd name="T52" fmla="*/ 933 w 2273"/>
              <a:gd name="T53" fmla="*/ 219 h 2263"/>
              <a:gd name="T54" fmla="*/ 1027 w 2273"/>
              <a:gd name="T55" fmla="*/ 131 h 2263"/>
              <a:gd name="T56" fmla="*/ 1139 w 2273"/>
              <a:gd name="T57" fmla="*/ 125 h 2263"/>
              <a:gd name="T58" fmla="*/ 1177 w 2273"/>
              <a:gd name="T59" fmla="*/ 125 h 2263"/>
              <a:gd name="T60" fmla="*/ 1208 w 2273"/>
              <a:gd name="T61" fmla="*/ 306 h 2263"/>
              <a:gd name="T62" fmla="*/ 1139 w 2273"/>
              <a:gd name="T63" fmla="*/ 369 h 2263"/>
              <a:gd name="T64" fmla="*/ 895 w 2273"/>
              <a:gd name="T65" fmla="*/ 425 h 2263"/>
              <a:gd name="T66" fmla="*/ 939 w 2273"/>
              <a:gd name="T67" fmla="*/ 606 h 2263"/>
              <a:gd name="T68" fmla="*/ 1052 w 2273"/>
              <a:gd name="T69" fmla="*/ 531 h 2263"/>
              <a:gd name="T70" fmla="*/ 1164 w 2273"/>
              <a:gd name="T71" fmla="*/ 494 h 2263"/>
              <a:gd name="T72" fmla="*/ 1283 w 2273"/>
              <a:gd name="T73" fmla="*/ 538 h 2263"/>
              <a:gd name="T74" fmla="*/ 1252 w 2273"/>
              <a:gd name="T75" fmla="*/ 775 h 2263"/>
              <a:gd name="T76" fmla="*/ 927 w 2273"/>
              <a:gd name="T77" fmla="*/ 1088 h 2263"/>
              <a:gd name="T78" fmla="*/ 664 w 2273"/>
              <a:gd name="T79" fmla="*/ 1175 h 2263"/>
              <a:gd name="T80" fmla="*/ 651 w 2273"/>
              <a:gd name="T81" fmla="*/ 1369 h 2263"/>
              <a:gd name="T82" fmla="*/ 870 w 2273"/>
              <a:gd name="T83" fmla="*/ 1500 h 2263"/>
              <a:gd name="T84" fmla="*/ 1296 w 2273"/>
              <a:gd name="T85" fmla="*/ 1613 h 2263"/>
              <a:gd name="T86" fmla="*/ 1421 w 2273"/>
              <a:gd name="T87" fmla="*/ 1981 h 2263"/>
              <a:gd name="T88" fmla="*/ 1509 w 2273"/>
              <a:gd name="T89" fmla="*/ 394 h 2263"/>
              <a:gd name="T90" fmla="*/ 1446 w 2273"/>
              <a:gd name="T91" fmla="*/ 475 h 2263"/>
              <a:gd name="T92" fmla="*/ 1283 w 2273"/>
              <a:gd name="T93" fmla="*/ 231 h 2263"/>
              <a:gd name="T94" fmla="*/ 1265 w 2273"/>
              <a:gd name="T95" fmla="*/ 131 h 2263"/>
              <a:gd name="T96" fmla="*/ 1578 w 2273"/>
              <a:gd name="T97" fmla="*/ 225 h 2263"/>
              <a:gd name="T98" fmla="*/ 1584 w 2273"/>
              <a:gd name="T99" fmla="*/ 263 h 2263"/>
              <a:gd name="T100" fmla="*/ 1509 w 2273"/>
              <a:gd name="T101" fmla="*/ 394 h 2263"/>
              <a:gd name="T102" fmla="*/ 1897 w 2273"/>
              <a:gd name="T103" fmla="*/ 1656 h 2263"/>
              <a:gd name="T104" fmla="*/ 1859 w 2273"/>
              <a:gd name="T105" fmla="*/ 1338 h 2263"/>
              <a:gd name="T106" fmla="*/ 1960 w 2273"/>
              <a:gd name="T107" fmla="*/ 1069 h 2263"/>
              <a:gd name="T108" fmla="*/ 2110 w 2273"/>
              <a:gd name="T109" fmla="*/ 1044 h 2263"/>
              <a:gd name="T110" fmla="*/ 2147 w 2273"/>
              <a:gd name="T111" fmla="*/ 1113 h 2263"/>
              <a:gd name="T112" fmla="*/ 2147 w 2273"/>
              <a:gd name="T113" fmla="*/ 1131 h 2263"/>
              <a:gd name="T114" fmla="*/ 1985 w 2273"/>
              <a:gd name="T115" fmla="*/ 1675 h 2263"/>
              <a:gd name="T116" fmla="*/ 1897 w 2273"/>
              <a:gd name="T117" fmla="*/ 1656 h 2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73" h="2263">
                <a:moveTo>
                  <a:pt x="1139" y="0"/>
                </a:moveTo>
                <a:cubicBezTo>
                  <a:pt x="513" y="0"/>
                  <a:pt x="6" y="506"/>
                  <a:pt x="0" y="1131"/>
                </a:cubicBezTo>
                <a:cubicBezTo>
                  <a:pt x="6" y="1756"/>
                  <a:pt x="513" y="2263"/>
                  <a:pt x="1139" y="2263"/>
                </a:cubicBezTo>
                <a:cubicBezTo>
                  <a:pt x="1765" y="2263"/>
                  <a:pt x="2273" y="1756"/>
                  <a:pt x="2273" y="1131"/>
                </a:cubicBezTo>
                <a:cubicBezTo>
                  <a:pt x="2273" y="506"/>
                  <a:pt x="1765" y="0"/>
                  <a:pt x="1139" y="0"/>
                </a:cubicBezTo>
                <a:close/>
                <a:moveTo>
                  <a:pt x="1941" y="800"/>
                </a:moveTo>
                <a:cubicBezTo>
                  <a:pt x="2003" y="806"/>
                  <a:pt x="1991" y="750"/>
                  <a:pt x="1966" y="694"/>
                </a:cubicBezTo>
                <a:cubicBezTo>
                  <a:pt x="1953" y="650"/>
                  <a:pt x="1960" y="619"/>
                  <a:pt x="1985" y="588"/>
                </a:cubicBezTo>
                <a:cubicBezTo>
                  <a:pt x="2060" y="700"/>
                  <a:pt x="2110" y="831"/>
                  <a:pt x="2135" y="969"/>
                </a:cubicBezTo>
                <a:cubicBezTo>
                  <a:pt x="2129" y="956"/>
                  <a:pt x="2122" y="944"/>
                  <a:pt x="2116" y="925"/>
                </a:cubicBezTo>
                <a:cubicBezTo>
                  <a:pt x="2085" y="838"/>
                  <a:pt x="2072" y="825"/>
                  <a:pt x="2016" y="913"/>
                </a:cubicBezTo>
                <a:cubicBezTo>
                  <a:pt x="1960" y="1006"/>
                  <a:pt x="1884" y="794"/>
                  <a:pt x="1941" y="800"/>
                </a:cubicBezTo>
                <a:close/>
                <a:moveTo>
                  <a:pt x="1421" y="1981"/>
                </a:moveTo>
                <a:cubicBezTo>
                  <a:pt x="1327" y="2063"/>
                  <a:pt x="1271" y="2106"/>
                  <a:pt x="1233" y="2131"/>
                </a:cubicBezTo>
                <a:cubicBezTo>
                  <a:pt x="1202" y="2138"/>
                  <a:pt x="1171" y="2138"/>
                  <a:pt x="1139" y="2138"/>
                </a:cubicBezTo>
                <a:cubicBezTo>
                  <a:pt x="1121" y="2138"/>
                  <a:pt x="1102" y="2138"/>
                  <a:pt x="1089" y="2138"/>
                </a:cubicBezTo>
                <a:cubicBezTo>
                  <a:pt x="1096" y="2081"/>
                  <a:pt x="1108" y="2013"/>
                  <a:pt x="1039" y="1963"/>
                </a:cubicBezTo>
                <a:cubicBezTo>
                  <a:pt x="952" y="1894"/>
                  <a:pt x="864" y="1800"/>
                  <a:pt x="920" y="1719"/>
                </a:cubicBezTo>
                <a:cubicBezTo>
                  <a:pt x="970" y="1638"/>
                  <a:pt x="908" y="1619"/>
                  <a:pt x="845" y="1600"/>
                </a:cubicBezTo>
                <a:cubicBezTo>
                  <a:pt x="789" y="1581"/>
                  <a:pt x="801" y="1488"/>
                  <a:pt x="620" y="1438"/>
                </a:cubicBezTo>
                <a:cubicBezTo>
                  <a:pt x="438" y="1394"/>
                  <a:pt x="419" y="1288"/>
                  <a:pt x="376" y="1156"/>
                </a:cubicBezTo>
                <a:cubicBezTo>
                  <a:pt x="275" y="856"/>
                  <a:pt x="401" y="656"/>
                  <a:pt x="401" y="588"/>
                </a:cubicBezTo>
                <a:cubicBezTo>
                  <a:pt x="401" y="544"/>
                  <a:pt x="388" y="506"/>
                  <a:pt x="369" y="475"/>
                </a:cubicBezTo>
                <a:cubicBezTo>
                  <a:pt x="388" y="456"/>
                  <a:pt x="407" y="438"/>
                  <a:pt x="426" y="419"/>
                </a:cubicBezTo>
                <a:cubicBezTo>
                  <a:pt x="469" y="375"/>
                  <a:pt x="513" y="338"/>
                  <a:pt x="570" y="300"/>
                </a:cubicBezTo>
                <a:cubicBezTo>
                  <a:pt x="607" y="319"/>
                  <a:pt x="664" y="325"/>
                  <a:pt x="726" y="288"/>
                </a:cubicBezTo>
                <a:cubicBezTo>
                  <a:pt x="814" y="231"/>
                  <a:pt x="883" y="231"/>
                  <a:pt x="933" y="219"/>
                </a:cubicBezTo>
                <a:cubicBezTo>
                  <a:pt x="970" y="213"/>
                  <a:pt x="1045" y="194"/>
                  <a:pt x="1027" y="131"/>
                </a:cubicBezTo>
                <a:cubicBezTo>
                  <a:pt x="1064" y="125"/>
                  <a:pt x="1102" y="125"/>
                  <a:pt x="1139" y="125"/>
                </a:cubicBezTo>
                <a:cubicBezTo>
                  <a:pt x="1152" y="125"/>
                  <a:pt x="1164" y="125"/>
                  <a:pt x="1177" y="125"/>
                </a:cubicBezTo>
                <a:cubicBezTo>
                  <a:pt x="1114" y="200"/>
                  <a:pt x="1121" y="238"/>
                  <a:pt x="1208" y="306"/>
                </a:cubicBezTo>
                <a:cubicBezTo>
                  <a:pt x="1252" y="344"/>
                  <a:pt x="1233" y="413"/>
                  <a:pt x="1139" y="369"/>
                </a:cubicBezTo>
                <a:cubicBezTo>
                  <a:pt x="1020" y="319"/>
                  <a:pt x="1014" y="413"/>
                  <a:pt x="895" y="425"/>
                </a:cubicBezTo>
                <a:cubicBezTo>
                  <a:pt x="845" y="431"/>
                  <a:pt x="820" y="550"/>
                  <a:pt x="939" y="606"/>
                </a:cubicBezTo>
                <a:cubicBezTo>
                  <a:pt x="983" y="625"/>
                  <a:pt x="1096" y="663"/>
                  <a:pt x="1052" y="531"/>
                </a:cubicBezTo>
                <a:cubicBezTo>
                  <a:pt x="1027" y="456"/>
                  <a:pt x="1146" y="400"/>
                  <a:pt x="1164" y="494"/>
                </a:cubicBezTo>
                <a:cubicBezTo>
                  <a:pt x="1189" y="569"/>
                  <a:pt x="1252" y="487"/>
                  <a:pt x="1283" y="538"/>
                </a:cubicBezTo>
                <a:cubicBezTo>
                  <a:pt x="1365" y="650"/>
                  <a:pt x="1396" y="750"/>
                  <a:pt x="1252" y="775"/>
                </a:cubicBezTo>
                <a:cubicBezTo>
                  <a:pt x="1027" y="806"/>
                  <a:pt x="952" y="1000"/>
                  <a:pt x="927" y="1088"/>
                </a:cubicBezTo>
                <a:cubicBezTo>
                  <a:pt x="908" y="1169"/>
                  <a:pt x="726" y="1175"/>
                  <a:pt x="664" y="1175"/>
                </a:cubicBezTo>
                <a:cubicBezTo>
                  <a:pt x="595" y="1175"/>
                  <a:pt x="576" y="1369"/>
                  <a:pt x="651" y="1369"/>
                </a:cubicBezTo>
                <a:cubicBezTo>
                  <a:pt x="726" y="1369"/>
                  <a:pt x="845" y="1450"/>
                  <a:pt x="870" y="1500"/>
                </a:cubicBezTo>
                <a:cubicBezTo>
                  <a:pt x="895" y="1556"/>
                  <a:pt x="1171" y="1438"/>
                  <a:pt x="1296" y="1613"/>
                </a:cubicBezTo>
                <a:cubicBezTo>
                  <a:pt x="1421" y="1794"/>
                  <a:pt x="1653" y="1788"/>
                  <a:pt x="1421" y="1981"/>
                </a:cubicBezTo>
                <a:close/>
                <a:moveTo>
                  <a:pt x="1509" y="394"/>
                </a:moveTo>
                <a:cubicBezTo>
                  <a:pt x="1509" y="425"/>
                  <a:pt x="1571" y="575"/>
                  <a:pt x="1446" y="475"/>
                </a:cubicBezTo>
                <a:cubicBezTo>
                  <a:pt x="1315" y="375"/>
                  <a:pt x="1359" y="269"/>
                  <a:pt x="1283" y="231"/>
                </a:cubicBezTo>
                <a:cubicBezTo>
                  <a:pt x="1233" y="206"/>
                  <a:pt x="1246" y="169"/>
                  <a:pt x="1265" y="131"/>
                </a:cubicBezTo>
                <a:cubicBezTo>
                  <a:pt x="1377" y="144"/>
                  <a:pt x="1477" y="175"/>
                  <a:pt x="1578" y="225"/>
                </a:cubicBezTo>
                <a:cubicBezTo>
                  <a:pt x="1578" y="231"/>
                  <a:pt x="1578" y="244"/>
                  <a:pt x="1584" y="263"/>
                </a:cubicBezTo>
                <a:cubicBezTo>
                  <a:pt x="1609" y="338"/>
                  <a:pt x="1503" y="356"/>
                  <a:pt x="1509" y="394"/>
                </a:cubicBezTo>
                <a:close/>
                <a:moveTo>
                  <a:pt x="1897" y="1656"/>
                </a:moveTo>
                <a:cubicBezTo>
                  <a:pt x="1816" y="1650"/>
                  <a:pt x="1828" y="1469"/>
                  <a:pt x="1859" y="1338"/>
                </a:cubicBezTo>
                <a:cubicBezTo>
                  <a:pt x="1891" y="1213"/>
                  <a:pt x="1953" y="1231"/>
                  <a:pt x="1960" y="1069"/>
                </a:cubicBezTo>
                <a:cubicBezTo>
                  <a:pt x="1966" y="975"/>
                  <a:pt x="2104" y="981"/>
                  <a:pt x="2110" y="1044"/>
                </a:cubicBezTo>
                <a:cubicBezTo>
                  <a:pt x="2110" y="1063"/>
                  <a:pt x="2122" y="1094"/>
                  <a:pt x="2147" y="1113"/>
                </a:cubicBezTo>
                <a:cubicBezTo>
                  <a:pt x="2147" y="1119"/>
                  <a:pt x="2147" y="1125"/>
                  <a:pt x="2147" y="1131"/>
                </a:cubicBezTo>
                <a:cubicBezTo>
                  <a:pt x="2147" y="1331"/>
                  <a:pt x="2091" y="1519"/>
                  <a:pt x="1985" y="1675"/>
                </a:cubicBezTo>
                <a:cubicBezTo>
                  <a:pt x="1972" y="1669"/>
                  <a:pt x="1947" y="1663"/>
                  <a:pt x="1897" y="1656"/>
                </a:cubicBez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grpSp>
        <p:nvGrpSpPr>
          <p:cNvPr id="41" name="Group 4"/>
          <p:cNvGrpSpPr>
            <a:grpSpLocks noChangeAspect="1"/>
          </p:cNvGrpSpPr>
          <p:nvPr/>
        </p:nvGrpSpPr>
        <p:grpSpPr bwMode="auto">
          <a:xfrm>
            <a:off x="10062920" y="2522017"/>
            <a:ext cx="1411974" cy="1210785"/>
            <a:chOff x="1601" y="217"/>
            <a:chExt cx="4632" cy="3972"/>
          </a:xfrm>
          <a:solidFill>
            <a:schemeClr val="bg1"/>
          </a:solidFill>
        </p:grpSpPr>
        <p:sp>
          <p:nvSpPr>
            <p:cNvPr id="43" name="Freeform 5"/>
            <p:cNvSpPr>
              <a:spLocks/>
            </p:cNvSpPr>
            <p:nvPr/>
          </p:nvSpPr>
          <p:spPr bwMode="auto">
            <a:xfrm>
              <a:off x="3167" y="1195"/>
              <a:ext cx="1490" cy="2994"/>
            </a:xfrm>
            <a:custGeom>
              <a:avLst/>
              <a:gdLst>
                <a:gd name="T0" fmla="*/ 511 w 630"/>
                <a:gd name="T1" fmla="*/ 0 h 1265"/>
                <a:gd name="T2" fmla="*/ 119 w 630"/>
                <a:gd name="T3" fmla="*/ 0 h 1265"/>
                <a:gd name="T4" fmla="*/ 0 w 630"/>
                <a:gd name="T5" fmla="*/ 119 h 1265"/>
                <a:gd name="T6" fmla="*/ 0 w 630"/>
                <a:gd name="T7" fmla="*/ 650 h 1265"/>
                <a:gd name="T8" fmla="*/ 119 w 630"/>
                <a:gd name="T9" fmla="*/ 769 h 1265"/>
                <a:gd name="T10" fmla="*/ 119 w 630"/>
                <a:gd name="T11" fmla="*/ 769 h 1265"/>
                <a:gd name="T12" fmla="*/ 119 w 630"/>
                <a:gd name="T13" fmla="*/ 1146 h 1265"/>
                <a:gd name="T14" fmla="*/ 231 w 630"/>
                <a:gd name="T15" fmla="*/ 1265 h 1265"/>
                <a:gd name="T16" fmla="*/ 399 w 630"/>
                <a:gd name="T17" fmla="*/ 1265 h 1265"/>
                <a:gd name="T18" fmla="*/ 511 w 630"/>
                <a:gd name="T19" fmla="*/ 1146 h 1265"/>
                <a:gd name="T20" fmla="*/ 511 w 630"/>
                <a:gd name="T21" fmla="*/ 769 h 1265"/>
                <a:gd name="T22" fmla="*/ 511 w 630"/>
                <a:gd name="T23" fmla="*/ 769 h 1265"/>
                <a:gd name="T24" fmla="*/ 630 w 630"/>
                <a:gd name="T25" fmla="*/ 650 h 1265"/>
                <a:gd name="T26" fmla="*/ 630 w 630"/>
                <a:gd name="T27" fmla="*/ 119 h 1265"/>
                <a:gd name="T28" fmla="*/ 511 w 630"/>
                <a:gd name="T29" fmla="*/ 0 h 1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30" h="1265">
                  <a:moveTo>
                    <a:pt x="511" y="0"/>
                  </a:moveTo>
                  <a:cubicBezTo>
                    <a:pt x="119" y="0"/>
                    <a:pt x="119" y="0"/>
                    <a:pt x="119" y="0"/>
                  </a:cubicBezTo>
                  <a:cubicBezTo>
                    <a:pt x="56" y="0"/>
                    <a:pt x="0" y="56"/>
                    <a:pt x="0" y="119"/>
                  </a:cubicBezTo>
                  <a:cubicBezTo>
                    <a:pt x="0" y="650"/>
                    <a:pt x="0" y="650"/>
                    <a:pt x="0" y="650"/>
                  </a:cubicBezTo>
                  <a:cubicBezTo>
                    <a:pt x="0" y="713"/>
                    <a:pt x="56" y="769"/>
                    <a:pt x="119" y="769"/>
                  </a:cubicBezTo>
                  <a:cubicBezTo>
                    <a:pt x="119" y="769"/>
                    <a:pt x="119" y="769"/>
                    <a:pt x="119" y="769"/>
                  </a:cubicBezTo>
                  <a:cubicBezTo>
                    <a:pt x="119" y="1146"/>
                    <a:pt x="119" y="1146"/>
                    <a:pt x="119" y="1146"/>
                  </a:cubicBezTo>
                  <a:cubicBezTo>
                    <a:pt x="119" y="1209"/>
                    <a:pt x="168" y="1265"/>
                    <a:pt x="231" y="1265"/>
                  </a:cubicBezTo>
                  <a:cubicBezTo>
                    <a:pt x="399" y="1265"/>
                    <a:pt x="399" y="1265"/>
                    <a:pt x="399" y="1265"/>
                  </a:cubicBezTo>
                  <a:cubicBezTo>
                    <a:pt x="462" y="1265"/>
                    <a:pt x="511" y="1209"/>
                    <a:pt x="511" y="1146"/>
                  </a:cubicBezTo>
                  <a:cubicBezTo>
                    <a:pt x="511" y="769"/>
                    <a:pt x="511" y="769"/>
                    <a:pt x="511" y="769"/>
                  </a:cubicBezTo>
                  <a:cubicBezTo>
                    <a:pt x="511" y="769"/>
                    <a:pt x="511" y="769"/>
                    <a:pt x="511" y="769"/>
                  </a:cubicBezTo>
                  <a:cubicBezTo>
                    <a:pt x="574" y="769"/>
                    <a:pt x="630" y="713"/>
                    <a:pt x="630" y="650"/>
                  </a:cubicBezTo>
                  <a:cubicBezTo>
                    <a:pt x="630" y="119"/>
                    <a:pt x="630" y="119"/>
                    <a:pt x="630" y="119"/>
                  </a:cubicBezTo>
                  <a:cubicBezTo>
                    <a:pt x="630" y="56"/>
                    <a:pt x="574" y="0"/>
                    <a:pt x="511" y="0"/>
                  </a:cubicBezTo>
                  <a:close/>
                </a:path>
              </a:pathLst>
            </a:custGeom>
            <a:grpFill/>
            <a:ln w="28575">
              <a:solidFill>
                <a:schemeClr val="bg2">
                  <a:lumMod val="10000"/>
                </a:schemeClr>
              </a:solidFill>
              <a:round/>
              <a:headEnd/>
              <a:tailEnd/>
            </a:ln>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sp>
          <p:nvSpPr>
            <p:cNvPr id="44" name="Oval 6"/>
            <p:cNvSpPr>
              <a:spLocks noChangeArrowheads="1"/>
            </p:cNvSpPr>
            <p:nvPr/>
          </p:nvSpPr>
          <p:spPr bwMode="auto">
            <a:xfrm>
              <a:off x="3467" y="217"/>
              <a:ext cx="888" cy="890"/>
            </a:xfrm>
            <a:prstGeom prst="ellipse">
              <a:avLst/>
            </a:prstGeom>
            <a:grpFill/>
            <a:ln w="28575">
              <a:solidFill>
                <a:schemeClr val="bg2">
                  <a:lumMod val="10000"/>
                </a:schemeClr>
              </a:solidFill>
              <a:round/>
              <a:headEnd/>
              <a:tailEnd/>
            </a:ln>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sp>
          <p:nvSpPr>
            <p:cNvPr id="45" name="Freeform 7"/>
            <p:cNvSpPr>
              <a:spLocks/>
            </p:cNvSpPr>
            <p:nvPr/>
          </p:nvSpPr>
          <p:spPr bwMode="auto">
            <a:xfrm>
              <a:off x="4982" y="1308"/>
              <a:ext cx="1251" cy="2556"/>
            </a:xfrm>
            <a:custGeom>
              <a:avLst/>
              <a:gdLst>
                <a:gd name="T0" fmla="*/ 432 w 529"/>
                <a:gd name="T1" fmla="*/ 0 h 1080"/>
                <a:gd name="T2" fmla="*/ 98 w 529"/>
                <a:gd name="T3" fmla="*/ 0 h 1080"/>
                <a:gd name="T4" fmla="*/ 0 w 529"/>
                <a:gd name="T5" fmla="*/ 98 h 1080"/>
                <a:gd name="T6" fmla="*/ 0 w 529"/>
                <a:gd name="T7" fmla="*/ 554 h 1080"/>
                <a:gd name="T8" fmla="*/ 98 w 529"/>
                <a:gd name="T9" fmla="*/ 652 h 1080"/>
                <a:gd name="T10" fmla="*/ 98 w 529"/>
                <a:gd name="T11" fmla="*/ 652 h 1080"/>
                <a:gd name="T12" fmla="*/ 98 w 529"/>
                <a:gd name="T13" fmla="*/ 981 h 1080"/>
                <a:gd name="T14" fmla="*/ 188 w 529"/>
                <a:gd name="T15" fmla="*/ 1080 h 1080"/>
                <a:gd name="T16" fmla="*/ 334 w 529"/>
                <a:gd name="T17" fmla="*/ 1080 h 1080"/>
                <a:gd name="T18" fmla="*/ 432 w 529"/>
                <a:gd name="T19" fmla="*/ 981 h 1080"/>
                <a:gd name="T20" fmla="*/ 432 w 529"/>
                <a:gd name="T21" fmla="*/ 652 h 1080"/>
                <a:gd name="T22" fmla="*/ 432 w 529"/>
                <a:gd name="T23" fmla="*/ 652 h 1080"/>
                <a:gd name="T24" fmla="*/ 529 w 529"/>
                <a:gd name="T25" fmla="*/ 554 h 1080"/>
                <a:gd name="T26" fmla="*/ 529 w 529"/>
                <a:gd name="T27" fmla="*/ 98 h 1080"/>
                <a:gd name="T28" fmla="*/ 432 w 529"/>
                <a:gd name="T29" fmla="*/ 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9" h="1080">
                  <a:moveTo>
                    <a:pt x="432" y="0"/>
                  </a:moveTo>
                  <a:cubicBezTo>
                    <a:pt x="98" y="0"/>
                    <a:pt x="98" y="0"/>
                    <a:pt x="98" y="0"/>
                  </a:cubicBezTo>
                  <a:cubicBezTo>
                    <a:pt x="42" y="0"/>
                    <a:pt x="0" y="42"/>
                    <a:pt x="0" y="98"/>
                  </a:cubicBezTo>
                  <a:cubicBezTo>
                    <a:pt x="0" y="554"/>
                    <a:pt x="0" y="554"/>
                    <a:pt x="0" y="554"/>
                  </a:cubicBezTo>
                  <a:cubicBezTo>
                    <a:pt x="0" y="610"/>
                    <a:pt x="42" y="652"/>
                    <a:pt x="98" y="652"/>
                  </a:cubicBezTo>
                  <a:cubicBezTo>
                    <a:pt x="98" y="652"/>
                    <a:pt x="98" y="652"/>
                    <a:pt x="98" y="652"/>
                  </a:cubicBezTo>
                  <a:cubicBezTo>
                    <a:pt x="98" y="981"/>
                    <a:pt x="98" y="981"/>
                    <a:pt x="98" y="981"/>
                  </a:cubicBezTo>
                  <a:cubicBezTo>
                    <a:pt x="98" y="1038"/>
                    <a:pt x="139" y="1080"/>
                    <a:pt x="188" y="1080"/>
                  </a:cubicBezTo>
                  <a:cubicBezTo>
                    <a:pt x="334" y="1080"/>
                    <a:pt x="334" y="1080"/>
                    <a:pt x="334" y="1080"/>
                  </a:cubicBezTo>
                  <a:cubicBezTo>
                    <a:pt x="390" y="1080"/>
                    <a:pt x="432" y="1038"/>
                    <a:pt x="432" y="981"/>
                  </a:cubicBezTo>
                  <a:cubicBezTo>
                    <a:pt x="432" y="652"/>
                    <a:pt x="432" y="652"/>
                    <a:pt x="432" y="652"/>
                  </a:cubicBezTo>
                  <a:cubicBezTo>
                    <a:pt x="432" y="652"/>
                    <a:pt x="432" y="652"/>
                    <a:pt x="432" y="652"/>
                  </a:cubicBezTo>
                  <a:cubicBezTo>
                    <a:pt x="488" y="652"/>
                    <a:pt x="529" y="610"/>
                    <a:pt x="529" y="554"/>
                  </a:cubicBezTo>
                  <a:cubicBezTo>
                    <a:pt x="529" y="98"/>
                    <a:pt x="529" y="98"/>
                    <a:pt x="529" y="98"/>
                  </a:cubicBezTo>
                  <a:cubicBezTo>
                    <a:pt x="529" y="42"/>
                    <a:pt x="488" y="0"/>
                    <a:pt x="432" y="0"/>
                  </a:cubicBezTo>
                  <a:close/>
                </a:path>
              </a:pathLst>
            </a:custGeom>
            <a:grpFill/>
            <a:ln w="28575">
              <a:solidFill>
                <a:schemeClr val="bg2">
                  <a:lumMod val="10000"/>
                </a:schemeClr>
              </a:solidFill>
              <a:round/>
              <a:headEnd/>
              <a:tailEnd/>
            </a:ln>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sp>
          <p:nvSpPr>
            <p:cNvPr id="46" name="Oval 8"/>
            <p:cNvSpPr>
              <a:spLocks noChangeArrowheads="1"/>
            </p:cNvSpPr>
            <p:nvPr/>
          </p:nvSpPr>
          <p:spPr bwMode="auto">
            <a:xfrm>
              <a:off x="5221" y="468"/>
              <a:ext cx="764" cy="753"/>
            </a:xfrm>
            <a:prstGeom prst="ellipse">
              <a:avLst/>
            </a:prstGeom>
            <a:grpFill/>
            <a:ln w="28575">
              <a:solidFill>
                <a:schemeClr val="bg2">
                  <a:lumMod val="10000"/>
                </a:schemeClr>
              </a:solidFill>
              <a:round/>
              <a:headEnd/>
              <a:tailEnd/>
            </a:ln>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sp>
          <p:nvSpPr>
            <p:cNvPr id="47" name="Freeform 9"/>
            <p:cNvSpPr>
              <a:spLocks/>
            </p:cNvSpPr>
            <p:nvPr/>
          </p:nvSpPr>
          <p:spPr bwMode="auto">
            <a:xfrm>
              <a:off x="1601" y="1308"/>
              <a:ext cx="1251" cy="2556"/>
            </a:xfrm>
            <a:custGeom>
              <a:avLst/>
              <a:gdLst>
                <a:gd name="T0" fmla="*/ 432 w 529"/>
                <a:gd name="T1" fmla="*/ 0 h 1080"/>
                <a:gd name="T2" fmla="*/ 98 w 529"/>
                <a:gd name="T3" fmla="*/ 0 h 1080"/>
                <a:gd name="T4" fmla="*/ 0 w 529"/>
                <a:gd name="T5" fmla="*/ 98 h 1080"/>
                <a:gd name="T6" fmla="*/ 0 w 529"/>
                <a:gd name="T7" fmla="*/ 554 h 1080"/>
                <a:gd name="T8" fmla="*/ 98 w 529"/>
                <a:gd name="T9" fmla="*/ 652 h 1080"/>
                <a:gd name="T10" fmla="*/ 98 w 529"/>
                <a:gd name="T11" fmla="*/ 652 h 1080"/>
                <a:gd name="T12" fmla="*/ 98 w 529"/>
                <a:gd name="T13" fmla="*/ 981 h 1080"/>
                <a:gd name="T14" fmla="*/ 195 w 529"/>
                <a:gd name="T15" fmla="*/ 1080 h 1080"/>
                <a:gd name="T16" fmla="*/ 341 w 529"/>
                <a:gd name="T17" fmla="*/ 1080 h 1080"/>
                <a:gd name="T18" fmla="*/ 432 w 529"/>
                <a:gd name="T19" fmla="*/ 981 h 1080"/>
                <a:gd name="T20" fmla="*/ 432 w 529"/>
                <a:gd name="T21" fmla="*/ 652 h 1080"/>
                <a:gd name="T22" fmla="*/ 432 w 529"/>
                <a:gd name="T23" fmla="*/ 652 h 1080"/>
                <a:gd name="T24" fmla="*/ 529 w 529"/>
                <a:gd name="T25" fmla="*/ 554 h 1080"/>
                <a:gd name="T26" fmla="*/ 529 w 529"/>
                <a:gd name="T27" fmla="*/ 98 h 1080"/>
                <a:gd name="T28" fmla="*/ 432 w 529"/>
                <a:gd name="T29" fmla="*/ 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9" h="1080">
                  <a:moveTo>
                    <a:pt x="432" y="0"/>
                  </a:moveTo>
                  <a:cubicBezTo>
                    <a:pt x="98" y="0"/>
                    <a:pt x="98" y="0"/>
                    <a:pt x="98" y="0"/>
                  </a:cubicBezTo>
                  <a:cubicBezTo>
                    <a:pt x="42" y="0"/>
                    <a:pt x="0" y="42"/>
                    <a:pt x="0" y="98"/>
                  </a:cubicBezTo>
                  <a:cubicBezTo>
                    <a:pt x="0" y="554"/>
                    <a:pt x="0" y="554"/>
                    <a:pt x="0" y="554"/>
                  </a:cubicBezTo>
                  <a:cubicBezTo>
                    <a:pt x="0" y="610"/>
                    <a:pt x="42" y="652"/>
                    <a:pt x="98" y="652"/>
                  </a:cubicBezTo>
                  <a:cubicBezTo>
                    <a:pt x="98" y="652"/>
                    <a:pt x="98" y="652"/>
                    <a:pt x="98" y="652"/>
                  </a:cubicBezTo>
                  <a:cubicBezTo>
                    <a:pt x="98" y="981"/>
                    <a:pt x="98" y="981"/>
                    <a:pt x="98" y="981"/>
                  </a:cubicBezTo>
                  <a:cubicBezTo>
                    <a:pt x="98" y="1038"/>
                    <a:pt x="139" y="1080"/>
                    <a:pt x="195" y="1080"/>
                  </a:cubicBezTo>
                  <a:cubicBezTo>
                    <a:pt x="341" y="1080"/>
                    <a:pt x="341" y="1080"/>
                    <a:pt x="341" y="1080"/>
                  </a:cubicBezTo>
                  <a:cubicBezTo>
                    <a:pt x="390" y="1080"/>
                    <a:pt x="432" y="1038"/>
                    <a:pt x="432" y="981"/>
                  </a:cubicBezTo>
                  <a:cubicBezTo>
                    <a:pt x="432" y="652"/>
                    <a:pt x="432" y="652"/>
                    <a:pt x="432" y="652"/>
                  </a:cubicBezTo>
                  <a:cubicBezTo>
                    <a:pt x="432" y="652"/>
                    <a:pt x="432" y="652"/>
                    <a:pt x="432" y="652"/>
                  </a:cubicBezTo>
                  <a:cubicBezTo>
                    <a:pt x="488" y="652"/>
                    <a:pt x="529" y="610"/>
                    <a:pt x="529" y="554"/>
                  </a:cubicBezTo>
                  <a:cubicBezTo>
                    <a:pt x="529" y="98"/>
                    <a:pt x="529" y="98"/>
                    <a:pt x="529" y="98"/>
                  </a:cubicBezTo>
                  <a:cubicBezTo>
                    <a:pt x="529" y="42"/>
                    <a:pt x="488" y="0"/>
                    <a:pt x="432" y="0"/>
                  </a:cubicBezTo>
                  <a:close/>
                </a:path>
              </a:pathLst>
            </a:custGeom>
            <a:grpFill/>
            <a:ln w="28575">
              <a:solidFill>
                <a:schemeClr val="bg2">
                  <a:lumMod val="10000"/>
                </a:schemeClr>
              </a:solidFill>
              <a:round/>
              <a:headEnd/>
              <a:tailEnd/>
            </a:ln>
            <a:extLst/>
          </p:spPr>
          <p:txBody>
            <a:bodyPr vert="horz" wrap="square" lIns="91427" tIns="45713" rIns="91427" bIns="45713" numCol="1" anchor="t" anchorCtr="0" compatLnSpc="1">
              <a:prstTxWarp prst="textNoShape">
                <a:avLst/>
              </a:prstTxWarp>
            </a:bodyPr>
            <a:lstStyle/>
            <a:p>
              <a:pPr defTabSz="914224">
                <a:defRPr/>
              </a:pPr>
              <a:endParaRPr lang="en-US" sz="1800" kern="0" dirty="0">
                <a:solidFill>
                  <a:srgbClr val="505050"/>
                </a:solidFill>
              </a:endParaRPr>
            </a:p>
          </p:txBody>
        </p:sp>
        <p:sp>
          <p:nvSpPr>
            <p:cNvPr id="48" name="Oval 10"/>
            <p:cNvSpPr>
              <a:spLocks noChangeArrowheads="1"/>
            </p:cNvSpPr>
            <p:nvPr/>
          </p:nvSpPr>
          <p:spPr bwMode="auto">
            <a:xfrm>
              <a:off x="1839" y="468"/>
              <a:ext cx="762" cy="753"/>
            </a:xfrm>
            <a:prstGeom prst="ellipse">
              <a:avLst/>
            </a:prstGeom>
            <a:grpFill/>
            <a:ln w="28575">
              <a:solidFill>
                <a:schemeClr val="bg2">
                  <a:lumMod val="10000"/>
                </a:schemeClr>
              </a:solidFill>
              <a:round/>
              <a:headEnd/>
              <a:tailEnd/>
            </a:ln>
            <a:extLst/>
          </p:spPr>
          <p:txBody>
            <a:bodyPr vert="horz" wrap="square" lIns="91427" tIns="45713" rIns="91427" bIns="45713" numCol="1" anchor="t" anchorCtr="0" compatLnSpc="1">
              <a:prstTxWarp prst="textNoShape">
                <a:avLst/>
              </a:prstTxWarp>
            </a:bodyPr>
            <a:lstStyle/>
            <a:p>
              <a:pPr defTabSz="914224">
                <a:defRPr/>
              </a:pPr>
              <a:endParaRPr lang="en-US" sz="1800" kern="0" dirty="0">
                <a:solidFill>
                  <a:srgbClr val="505050"/>
                </a:solidFill>
              </a:endParaRPr>
            </a:p>
          </p:txBody>
        </p:sp>
      </p:grpSp>
      <p:sp>
        <p:nvSpPr>
          <p:cNvPr id="94" name="TextBox 22"/>
          <p:cNvSpPr txBox="1">
            <a:spLocks noChangeArrowheads="1"/>
          </p:cNvSpPr>
          <p:nvPr/>
        </p:nvSpPr>
        <p:spPr bwMode="auto">
          <a:xfrm>
            <a:off x="9842566" y="3732802"/>
            <a:ext cx="3113458" cy="2837651"/>
          </a:xfrm>
          <a:prstGeom prst="rect">
            <a:avLst/>
          </a:prstGeom>
          <a:noFill/>
          <a:ln>
            <a:noFill/>
          </a:ln>
          <a:extLst/>
        </p:spPr>
        <p:txBody>
          <a:bodyPr wrap="square" lIns="182854" tIns="146283" rIns="182854" bIns="146283">
            <a:spAutoFit/>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defTabSz="931684" eaLnBrk="1" fontAlgn="base" hangingPunct="1">
              <a:lnSpc>
                <a:spcPct val="90000"/>
              </a:lnSpc>
              <a:spcBef>
                <a:spcPts val="600"/>
              </a:spcBef>
              <a:spcAft>
                <a:spcPct val="0"/>
              </a:spcAft>
              <a:defRPr/>
            </a:pPr>
            <a:r>
              <a:rPr lang="en-US" sz="3999" b="1" kern="0" dirty="0">
                <a:solidFill>
                  <a:srgbClr val="F2C811"/>
                </a:solidFill>
                <a:latin typeface="Segoe UI"/>
                <a:ea typeface="MS PGothic" panose="020B0600070205080204" pitchFamily="34" charset="-128"/>
                <a:cs typeface="Segoe UI Semilight" panose="020B0402040204020203" pitchFamily="34" charset="0"/>
              </a:rPr>
              <a:t>45,000</a:t>
            </a:r>
            <a:br>
              <a:rPr lang="en-US" sz="5399" b="1" kern="0" dirty="0">
                <a:gradFill>
                  <a:gsLst>
                    <a:gs pos="32743">
                      <a:srgbClr val="FF8C00"/>
                    </a:gs>
                    <a:gs pos="49000">
                      <a:srgbClr val="FF8C00"/>
                    </a:gs>
                  </a:gsLst>
                  <a:lin ang="5400000" scaled="0"/>
                </a:gradFill>
                <a:latin typeface="Segoe UI"/>
                <a:ea typeface="MS PGothic" panose="020B0600070205080204" pitchFamily="34" charset="-128"/>
                <a:cs typeface="Segoe UI Semilight" panose="020B0402040204020203" pitchFamily="34" charset="0"/>
              </a:rPr>
            </a:br>
            <a:r>
              <a:rPr lang="en-US" sz="2000" b="1" kern="0" dirty="0">
                <a:gradFill>
                  <a:gsLst>
                    <a:gs pos="42478">
                      <a:srgbClr val="FFFFFF"/>
                    </a:gs>
                    <a:gs pos="69000">
                      <a:srgbClr val="FFFFFF"/>
                    </a:gs>
                  </a:gsLst>
                  <a:lin ang="5400000" scaled="0"/>
                </a:gradFill>
                <a:latin typeface="Segoe UI"/>
                <a:ea typeface="MS PGothic" panose="020B0600070205080204" pitchFamily="34" charset="-128"/>
                <a:cs typeface="Segoe UI Light"/>
              </a:rPr>
              <a:t>organizations</a:t>
            </a:r>
            <a:br>
              <a:rPr lang="en-US" sz="5399" b="1" kern="0" dirty="0">
                <a:gradFill>
                  <a:gsLst>
                    <a:gs pos="32743">
                      <a:srgbClr val="FF8C00"/>
                    </a:gs>
                    <a:gs pos="49000">
                      <a:srgbClr val="FF8C00"/>
                    </a:gs>
                  </a:gsLst>
                  <a:lin ang="5400000" scaled="0"/>
                </a:gradFill>
                <a:latin typeface="Segoe UI"/>
                <a:ea typeface="MS PGothic" panose="020B0600070205080204" pitchFamily="34" charset="-128"/>
                <a:cs typeface="Segoe UI Semilight" panose="020B0402040204020203" pitchFamily="34" charset="0"/>
              </a:rPr>
            </a:br>
            <a:r>
              <a:rPr lang="en-US" sz="3999" b="1" kern="0" dirty="0">
                <a:solidFill>
                  <a:srgbClr val="F2C811"/>
                </a:solidFill>
                <a:latin typeface="Segoe UI"/>
                <a:ea typeface="MS PGothic" panose="020B0600070205080204" pitchFamily="34" charset="-128"/>
                <a:cs typeface="Segoe UI Semilight" panose="020B0402040204020203" pitchFamily="34" charset="0"/>
              </a:rPr>
              <a:t>500,000</a:t>
            </a:r>
            <a:br>
              <a:rPr lang="en-US" sz="5399" b="1" kern="0" dirty="0">
                <a:gradFill>
                  <a:gsLst>
                    <a:gs pos="32743">
                      <a:srgbClr val="FF8C00"/>
                    </a:gs>
                    <a:gs pos="49000">
                      <a:srgbClr val="FF8C00"/>
                    </a:gs>
                  </a:gsLst>
                  <a:lin ang="5400000" scaled="0"/>
                </a:gradFill>
                <a:latin typeface="Segoe UI"/>
                <a:ea typeface="MS PGothic" panose="020B0600070205080204" pitchFamily="34" charset="-128"/>
                <a:cs typeface="Segoe UI Semilight" panose="020B0402040204020203" pitchFamily="34" charset="0"/>
              </a:rPr>
            </a:br>
            <a:r>
              <a:rPr lang="en-US" sz="2000" b="1" kern="0" dirty="0">
                <a:gradFill>
                  <a:gsLst>
                    <a:gs pos="42478">
                      <a:srgbClr val="FFFFFF"/>
                    </a:gs>
                    <a:gs pos="69000">
                      <a:srgbClr val="FFFFFF"/>
                    </a:gs>
                  </a:gsLst>
                  <a:lin ang="5400000" scaled="0"/>
                </a:gradFill>
                <a:latin typeface="Segoe UI"/>
                <a:ea typeface="MS PGothic" panose="020B0600070205080204" pitchFamily="34" charset="-128"/>
                <a:cs typeface="Segoe UI Light"/>
              </a:rPr>
              <a:t>unique users</a:t>
            </a:r>
            <a:endParaRPr lang="en-US" sz="4799" b="1" kern="0" dirty="0">
              <a:gradFill>
                <a:gsLst>
                  <a:gs pos="32743">
                    <a:srgbClr val="FF8C00"/>
                  </a:gs>
                  <a:gs pos="49000">
                    <a:srgbClr val="FF8C00"/>
                  </a:gs>
                </a:gsLst>
                <a:lin ang="5400000" scaled="0"/>
              </a:gradFill>
              <a:latin typeface="Segoe UI"/>
              <a:ea typeface="MS PGothic" panose="020B0600070205080204" pitchFamily="34" charset="-128"/>
              <a:cs typeface="Segoe UI Semilight" panose="020B0402040204020203" pitchFamily="34" charset="0"/>
            </a:endParaRPr>
          </a:p>
          <a:p>
            <a:pPr defTabSz="931684" eaLnBrk="1" fontAlgn="base" hangingPunct="1">
              <a:lnSpc>
                <a:spcPct val="90000"/>
              </a:lnSpc>
              <a:spcBef>
                <a:spcPct val="0"/>
              </a:spcBef>
              <a:spcAft>
                <a:spcPct val="0"/>
              </a:spcAft>
              <a:defRPr/>
            </a:pPr>
            <a:r>
              <a:rPr lang="en-US" sz="3999" b="1" kern="0" dirty="0">
                <a:solidFill>
                  <a:srgbClr val="F2C811"/>
                </a:solidFill>
                <a:latin typeface="Segoe UI"/>
                <a:ea typeface="MS PGothic" panose="020B0600070205080204" pitchFamily="34" charset="-128"/>
                <a:cs typeface="Segoe UI Semilight" panose="020B0402040204020203" pitchFamily="34" charset="0"/>
              </a:rPr>
              <a:t>185</a:t>
            </a:r>
            <a:r>
              <a:rPr lang="en-US" sz="3999" kern="0" dirty="0">
                <a:gradFill>
                  <a:gsLst>
                    <a:gs pos="42478">
                      <a:srgbClr val="FFFFFF"/>
                    </a:gs>
                    <a:gs pos="69000">
                      <a:srgbClr val="FFFFFF"/>
                    </a:gs>
                  </a:gsLst>
                  <a:lin ang="5400000" scaled="0"/>
                </a:gradFill>
                <a:latin typeface="Segoe UI"/>
                <a:ea typeface="MS PGothic" panose="020B0600070205080204" pitchFamily="34" charset="-128"/>
                <a:cs typeface="Segoe UI Light"/>
              </a:rPr>
              <a:t> </a:t>
            </a:r>
            <a:br>
              <a:rPr lang="en-US" sz="3999" kern="0" dirty="0">
                <a:gradFill>
                  <a:gsLst>
                    <a:gs pos="42478">
                      <a:srgbClr val="FFFFFF"/>
                    </a:gs>
                    <a:gs pos="69000">
                      <a:srgbClr val="FFFFFF"/>
                    </a:gs>
                  </a:gsLst>
                  <a:lin ang="5400000" scaled="0"/>
                </a:gradFill>
                <a:latin typeface="Segoe UI"/>
                <a:ea typeface="MS PGothic" panose="020B0600070205080204" pitchFamily="34" charset="-128"/>
                <a:cs typeface="Segoe UI Light"/>
              </a:rPr>
            </a:br>
            <a:r>
              <a:rPr lang="en-US" sz="2000" b="1" kern="0" dirty="0">
                <a:gradFill>
                  <a:gsLst>
                    <a:gs pos="42478">
                      <a:srgbClr val="FFFFFF"/>
                    </a:gs>
                    <a:gs pos="69000">
                      <a:srgbClr val="FFFFFF"/>
                    </a:gs>
                  </a:gsLst>
                  <a:lin ang="5400000" scaled="0"/>
                </a:gradFill>
                <a:latin typeface="Segoe UI"/>
                <a:ea typeface="MS PGothic" panose="020B0600070205080204" pitchFamily="34" charset="-128"/>
                <a:cs typeface="Segoe UI Light"/>
              </a:rPr>
              <a:t>countries</a:t>
            </a:r>
            <a:endParaRPr lang="en-US" sz="2000" kern="0" dirty="0">
              <a:gradFill>
                <a:gsLst>
                  <a:gs pos="42478">
                    <a:srgbClr val="FFFFFF"/>
                  </a:gs>
                  <a:gs pos="69000">
                    <a:srgbClr val="FFFFFF"/>
                  </a:gs>
                </a:gsLst>
                <a:lin ang="5400000" scaled="0"/>
              </a:gradFill>
              <a:latin typeface="Segoe UI"/>
              <a:ea typeface="MS PGothic" panose="020B0600070205080204" pitchFamily="34" charset="-128"/>
              <a:cs typeface="Segoe UI Semibold" panose="020B0702040204020203" pitchFamily="34" charset="0"/>
            </a:endParaRPr>
          </a:p>
        </p:txBody>
      </p:sp>
      <p:grpSp>
        <p:nvGrpSpPr>
          <p:cNvPr id="26" name="Group 25"/>
          <p:cNvGrpSpPr/>
          <p:nvPr/>
        </p:nvGrpSpPr>
        <p:grpSpPr>
          <a:xfrm>
            <a:off x="2693494" y="1932878"/>
            <a:ext cx="1115398" cy="4764331"/>
            <a:chOff x="4939761" y="2085055"/>
            <a:chExt cx="693271" cy="4765007"/>
          </a:xfrm>
          <a:solidFill>
            <a:schemeClr val="bg1"/>
          </a:solidFill>
        </p:grpSpPr>
        <p:sp>
          <p:nvSpPr>
            <p:cNvPr id="167" name="Right Triangle 166"/>
            <p:cNvSpPr/>
            <p:nvPr/>
          </p:nvSpPr>
          <p:spPr bwMode="auto">
            <a:xfrm rot="10800000">
              <a:off x="4939761" y="2085055"/>
              <a:ext cx="693270" cy="1490472"/>
            </a:xfrm>
            <a:prstGeom prst="rtTriangle">
              <a:avLst/>
            </a:prstGeom>
            <a:grp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defRPr/>
              </a:pPr>
              <a:endParaRPr lang="en-US" sz="2000" b="1" kern="0" spc="50" dirty="0">
                <a:gradFill>
                  <a:gsLst>
                    <a:gs pos="0">
                      <a:srgbClr val="FFFFFF"/>
                    </a:gs>
                    <a:gs pos="83000">
                      <a:srgbClr val="FFFFFF"/>
                    </a:gs>
                  </a:gsLst>
                  <a:lin ang="5400000" scaled="1"/>
                </a:gradFill>
              </a:endParaRPr>
            </a:p>
          </p:txBody>
        </p:sp>
        <p:sp>
          <p:nvSpPr>
            <p:cNvPr id="168" name="Right Triangle 167"/>
            <p:cNvSpPr/>
            <p:nvPr/>
          </p:nvSpPr>
          <p:spPr bwMode="auto">
            <a:xfrm rot="10800000" flipV="1">
              <a:off x="4939762" y="5359590"/>
              <a:ext cx="693270" cy="1490472"/>
            </a:xfrm>
            <a:prstGeom prst="rtTriangle">
              <a:avLst/>
            </a:prstGeom>
            <a:grp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defRPr/>
              </a:pPr>
              <a:endParaRPr lang="en-US" sz="2000" b="1" kern="0" spc="50" dirty="0">
                <a:gradFill>
                  <a:gsLst>
                    <a:gs pos="0">
                      <a:srgbClr val="FFFFFF"/>
                    </a:gs>
                    <a:gs pos="83000">
                      <a:srgbClr val="FFFFFF"/>
                    </a:gs>
                  </a:gsLst>
                  <a:lin ang="5400000" scaled="1"/>
                </a:gradFill>
              </a:endParaRPr>
            </a:p>
          </p:txBody>
        </p:sp>
      </p:grpSp>
      <p:sp>
        <p:nvSpPr>
          <p:cNvPr id="78" name="Rectangle 77"/>
          <p:cNvSpPr/>
          <p:nvPr/>
        </p:nvSpPr>
        <p:spPr bwMode="auto">
          <a:xfrm>
            <a:off x="882" y="3555289"/>
            <a:ext cx="4638017" cy="1519513"/>
          </a:xfrm>
          <a:prstGeom prst="rect">
            <a:avLst/>
          </a:prstGeom>
          <a:solidFill>
            <a:srgbClr val="F2C81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17">
                    <a:srgbClr val="000000"/>
                  </a:gs>
                  <a:gs pos="100000">
                    <a:srgbClr val="000000"/>
                  </a:gs>
                </a:gsLst>
                <a:lin ang="5400000" scaled="0"/>
              </a:gradFill>
            </a:endParaRPr>
          </a:p>
        </p:txBody>
      </p:sp>
      <p:grpSp>
        <p:nvGrpSpPr>
          <p:cNvPr id="16" name="Group 15"/>
          <p:cNvGrpSpPr/>
          <p:nvPr/>
        </p:nvGrpSpPr>
        <p:grpSpPr>
          <a:xfrm>
            <a:off x="882" y="1932880"/>
            <a:ext cx="4638017" cy="1519513"/>
            <a:chOff x="0" y="1932658"/>
            <a:chExt cx="4638675" cy="1519729"/>
          </a:xfrm>
          <a:solidFill>
            <a:srgbClr val="F2C811"/>
          </a:solidFill>
        </p:grpSpPr>
        <p:sp>
          <p:nvSpPr>
            <p:cNvPr id="6" name="Rectangle 5"/>
            <p:cNvSpPr/>
            <p:nvPr/>
          </p:nvSpPr>
          <p:spPr bwMode="auto">
            <a:xfrm>
              <a:off x="0" y="1932658"/>
              <a:ext cx="3912624" cy="1519729"/>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17">
                      <a:srgbClr val="000000"/>
                    </a:gs>
                    <a:gs pos="100000">
                      <a:srgbClr val="000000"/>
                    </a:gs>
                  </a:gsLst>
                  <a:lin ang="5400000" scaled="0"/>
                </a:gradFill>
              </a:endParaRPr>
            </a:p>
          </p:txBody>
        </p:sp>
        <p:sp>
          <p:nvSpPr>
            <p:cNvPr id="10" name="Rectangle 9"/>
            <p:cNvSpPr/>
            <p:nvPr/>
          </p:nvSpPr>
          <p:spPr bwMode="auto">
            <a:xfrm>
              <a:off x="3912624" y="1932658"/>
              <a:ext cx="726051" cy="1519729"/>
            </a:xfrm>
            <a:custGeom>
              <a:avLst/>
              <a:gdLst>
                <a:gd name="connsiteX0" fmla="*/ 0 w 726051"/>
                <a:gd name="connsiteY0" fmla="*/ 0 h 1519729"/>
                <a:gd name="connsiteX1" fmla="*/ 726051 w 726051"/>
                <a:gd name="connsiteY1" fmla="*/ 0 h 1519729"/>
                <a:gd name="connsiteX2" fmla="*/ 726051 w 726051"/>
                <a:gd name="connsiteY2" fmla="*/ 1519729 h 1519729"/>
                <a:gd name="connsiteX3" fmla="*/ 0 w 726051"/>
                <a:gd name="connsiteY3" fmla="*/ 1519729 h 1519729"/>
                <a:gd name="connsiteX4" fmla="*/ 0 w 726051"/>
                <a:gd name="connsiteY4" fmla="*/ 0 h 1519729"/>
                <a:gd name="connsiteX0" fmla="*/ 0 w 726051"/>
                <a:gd name="connsiteY0" fmla="*/ 0 h 1519729"/>
                <a:gd name="connsiteX1" fmla="*/ 726051 w 726051"/>
                <a:gd name="connsiteY1" fmla="*/ 1519729 h 1519729"/>
                <a:gd name="connsiteX2" fmla="*/ 0 w 726051"/>
                <a:gd name="connsiteY2" fmla="*/ 1519729 h 1519729"/>
                <a:gd name="connsiteX3" fmla="*/ 0 w 726051"/>
                <a:gd name="connsiteY3" fmla="*/ 0 h 1519729"/>
              </a:gdLst>
              <a:ahLst/>
              <a:cxnLst>
                <a:cxn ang="0">
                  <a:pos x="connsiteX0" y="connsiteY0"/>
                </a:cxn>
                <a:cxn ang="0">
                  <a:pos x="connsiteX1" y="connsiteY1"/>
                </a:cxn>
                <a:cxn ang="0">
                  <a:pos x="connsiteX2" y="connsiteY2"/>
                </a:cxn>
                <a:cxn ang="0">
                  <a:pos x="connsiteX3" y="connsiteY3"/>
                </a:cxn>
              </a:cxnLst>
              <a:rect l="l" t="t" r="r" b="b"/>
              <a:pathLst>
                <a:path w="726051" h="1519729">
                  <a:moveTo>
                    <a:pt x="0" y="0"/>
                  </a:moveTo>
                  <a:lnTo>
                    <a:pt x="726051" y="1519729"/>
                  </a:lnTo>
                  <a:lnTo>
                    <a:pt x="0" y="1519729"/>
                  </a:lnTo>
                  <a:lnTo>
                    <a:pt x="0" y="0"/>
                  </a:lnTo>
                  <a:close/>
                </a:path>
              </a:pathLst>
            </a:cu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17">
                      <a:srgbClr val="000000"/>
                    </a:gs>
                    <a:gs pos="100000">
                      <a:srgbClr val="000000"/>
                    </a:gs>
                  </a:gsLst>
                  <a:lin ang="5400000" scaled="0"/>
                </a:gradFill>
              </a:endParaRPr>
            </a:p>
          </p:txBody>
        </p:sp>
      </p:grpSp>
      <p:grpSp>
        <p:nvGrpSpPr>
          <p:cNvPr id="17" name="Group 16"/>
          <p:cNvGrpSpPr/>
          <p:nvPr/>
        </p:nvGrpSpPr>
        <p:grpSpPr>
          <a:xfrm>
            <a:off x="882" y="5177696"/>
            <a:ext cx="4638017" cy="1519513"/>
            <a:chOff x="0" y="5177934"/>
            <a:chExt cx="4638675" cy="1519729"/>
          </a:xfrm>
          <a:solidFill>
            <a:srgbClr val="F2C811"/>
          </a:solidFill>
        </p:grpSpPr>
        <p:sp>
          <p:nvSpPr>
            <p:cNvPr id="79" name="Rectangle 78"/>
            <p:cNvSpPr/>
            <p:nvPr/>
          </p:nvSpPr>
          <p:spPr bwMode="auto">
            <a:xfrm>
              <a:off x="0" y="5177934"/>
              <a:ext cx="3912624" cy="1519729"/>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17">
                      <a:srgbClr val="000000"/>
                    </a:gs>
                    <a:gs pos="100000">
                      <a:srgbClr val="000000"/>
                    </a:gs>
                  </a:gsLst>
                  <a:lin ang="5400000" scaled="0"/>
                </a:gradFill>
              </a:endParaRPr>
            </a:p>
          </p:txBody>
        </p:sp>
        <p:sp>
          <p:nvSpPr>
            <p:cNvPr id="92" name="Rectangle 9"/>
            <p:cNvSpPr/>
            <p:nvPr/>
          </p:nvSpPr>
          <p:spPr bwMode="auto">
            <a:xfrm flipV="1">
              <a:off x="3912624" y="5177934"/>
              <a:ext cx="726051" cy="1519729"/>
            </a:xfrm>
            <a:custGeom>
              <a:avLst/>
              <a:gdLst>
                <a:gd name="connsiteX0" fmla="*/ 0 w 726051"/>
                <a:gd name="connsiteY0" fmla="*/ 0 h 1519729"/>
                <a:gd name="connsiteX1" fmla="*/ 726051 w 726051"/>
                <a:gd name="connsiteY1" fmla="*/ 0 h 1519729"/>
                <a:gd name="connsiteX2" fmla="*/ 726051 w 726051"/>
                <a:gd name="connsiteY2" fmla="*/ 1519729 h 1519729"/>
                <a:gd name="connsiteX3" fmla="*/ 0 w 726051"/>
                <a:gd name="connsiteY3" fmla="*/ 1519729 h 1519729"/>
                <a:gd name="connsiteX4" fmla="*/ 0 w 726051"/>
                <a:gd name="connsiteY4" fmla="*/ 0 h 1519729"/>
                <a:gd name="connsiteX0" fmla="*/ 0 w 726051"/>
                <a:gd name="connsiteY0" fmla="*/ 0 h 1519729"/>
                <a:gd name="connsiteX1" fmla="*/ 726051 w 726051"/>
                <a:gd name="connsiteY1" fmla="*/ 1519729 h 1519729"/>
                <a:gd name="connsiteX2" fmla="*/ 0 w 726051"/>
                <a:gd name="connsiteY2" fmla="*/ 1519729 h 1519729"/>
                <a:gd name="connsiteX3" fmla="*/ 0 w 726051"/>
                <a:gd name="connsiteY3" fmla="*/ 0 h 1519729"/>
              </a:gdLst>
              <a:ahLst/>
              <a:cxnLst>
                <a:cxn ang="0">
                  <a:pos x="connsiteX0" y="connsiteY0"/>
                </a:cxn>
                <a:cxn ang="0">
                  <a:pos x="connsiteX1" y="connsiteY1"/>
                </a:cxn>
                <a:cxn ang="0">
                  <a:pos x="connsiteX2" y="connsiteY2"/>
                </a:cxn>
                <a:cxn ang="0">
                  <a:pos x="connsiteX3" y="connsiteY3"/>
                </a:cxn>
              </a:cxnLst>
              <a:rect l="l" t="t" r="r" b="b"/>
              <a:pathLst>
                <a:path w="726051" h="1519729">
                  <a:moveTo>
                    <a:pt x="0" y="0"/>
                  </a:moveTo>
                  <a:lnTo>
                    <a:pt x="726051" y="1519729"/>
                  </a:lnTo>
                  <a:lnTo>
                    <a:pt x="0" y="1519729"/>
                  </a:lnTo>
                  <a:lnTo>
                    <a:pt x="0" y="0"/>
                  </a:lnTo>
                  <a:close/>
                </a:path>
              </a:pathLst>
            </a:cu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17">
                      <a:srgbClr val="000000"/>
                    </a:gs>
                    <a:gs pos="100000">
                      <a:srgbClr val="000000"/>
                    </a:gs>
                  </a:gsLst>
                  <a:lin ang="5400000" scaled="0"/>
                </a:gradFill>
              </a:endParaRPr>
            </a:p>
          </p:txBody>
        </p:sp>
      </p:grpSp>
      <p:grpSp>
        <p:nvGrpSpPr>
          <p:cNvPr id="25" name="Group 24"/>
          <p:cNvGrpSpPr/>
          <p:nvPr/>
        </p:nvGrpSpPr>
        <p:grpSpPr>
          <a:xfrm>
            <a:off x="275481" y="1932880"/>
            <a:ext cx="3865542" cy="4562849"/>
            <a:chOff x="274637" y="1932658"/>
            <a:chExt cx="3866090" cy="4563496"/>
          </a:xfrm>
        </p:grpSpPr>
        <p:grpSp>
          <p:nvGrpSpPr>
            <p:cNvPr id="11" name="Group 10"/>
            <p:cNvGrpSpPr/>
            <p:nvPr/>
          </p:nvGrpSpPr>
          <p:grpSpPr>
            <a:xfrm>
              <a:off x="274637" y="1932658"/>
              <a:ext cx="2721870" cy="1257141"/>
              <a:chOff x="274637" y="1932658"/>
              <a:chExt cx="2721870" cy="1257141"/>
            </a:xfrm>
          </p:grpSpPr>
          <p:sp>
            <p:nvSpPr>
              <p:cNvPr id="5" name="Rectangle 4"/>
              <p:cNvSpPr/>
              <p:nvPr/>
            </p:nvSpPr>
            <p:spPr bwMode="auto">
              <a:xfrm>
                <a:off x="274637" y="1932658"/>
                <a:ext cx="2721870" cy="57246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defRPr/>
                </a:pPr>
                <a:r>
                  <a:rPr lang="en-US" sz="1800" b="1" kern="0" spc="50" dirty="0">
                    <a:gradFill>
                      <a:gsLst>
                        <a:gs pos="0">
                          <a:srgbClr val="FFFFFF"/>
                        </a:gs>
                        <a:gs pos="83000">
                          <a:srgbClr val="FFFFFF"/>
                        </a:gs>
                      </a:gsLst>
                      <a:lin ang="5400000" scaled="1"/>
                    </a:gradFill>
                  </a:rPr>
                  <a:t>MICROSOFT CLOUD</a:t>
                </a:r>
              </a:p>
            </p:txBody>
          </p:sp>
          <p:sp>
            <p:nvSpPr>
              <p:cNvPr id="70" name="Freeform 69"/>
              <p:cNvSpPr>
                <a:spLocks noChangeAspect="1" noEditPoints="1"/>
              </p:cNvSpPr>
              <p:nvPr/>
            </p:nvSpPr>
            <p:spPr bwMode="auto">
              <a:xfrm>
                <a:off x="443851" y="2945052"/>
                <a:ext cx="1729192" cy="244747"/>
              </a:xfrm>
              <a:custGeom>
                <a:avLst/>
                <a:gdLst>
                  <a:gd name="T0" fmla="*/ 261 w 2216"/>
                  <a:gd name="T1" fmla="*/ 97 h 311"/>
                  <a:gd name="T2" fmla="*/ 3 w 2216"/>
                  <a:gd name="T3" fmla="*/ 256 h 311"/>
                  <a:gd name="T4" fmla="*/ 124 w 2216"/>
                  <a:gd name="T5" fmla="*/ 205 h 311"/>
                  <a:gd name="T6" fmla="*/ 8 w 2216"/>
                  <a:gd name="T7" fmla="*/ 250 h 311"/>
                  <a:gd name="T8" fmla="*/ 9 w 2216"/>
                  <a:gd name="T9" fmla="*/ 252 h 311"/>
                  <a:gd name="T10" fmla="*/ 504 w 2216"/>
                  <a:gd name="T11" fmla="*/ 123 h 311"/>
                  <a:gd name="T12" fmla="*/ 502 w 2216"/>
                  <a:gd name="T13" fmla="*/ 91 h 311"/>
                  <a:gd name="T14" fmla="*/ 356 w 2216"/>
                  <a:gd name="T15" fmla="*/ 252 h 311"/>
                  <a:gd name="T16" fmla="*/ 20 w 2216"/>
                  <a:gd name="T17" fmla="*/ 242 h 311"/>
                  <a:gd name="T18" fmla="*/ 7 w 2216"/>
                  <a:gd name="T19" fmla="*/ 252 h 311"/>
                  <a:gd name="T20" fmla="*/ 208 w 2216"/>
                  <a:gd name="T21" fmla="*/ 224 h 311"/>
                  <a:gd name="T22" fmla="*/ 137 w 2216"/>
                  <a:gd name="T23" fmla="*/ 208 h 311"/>
                  <a:gd name="T24" fmla="*/ 1209 w 2216"/>
                  <a:gd name="T25" fmla="*/ 154 h 311"/>
                  <a:gd name="T26" fmla="*/ 1187 w 2216"/>
                  <a:gd name="T27" fmla="*/ 112 h 311"/>
                  <a:gd name="T28" fmla="*/ 1175 w 2216"/>
                  <a:gd name="T29" fmla="*/ 84 h 311"/>
                  <a:gd name="T30" fmla="*/ 1124 w 2216"/>
                  <a:gd name="T31" fmla="*/ 157 h 311"/>
                  <a:gd name="T32" fmla="*/ 1146 w 2216"/>
                  <a:gd name="T33" fmla="*/ 154 h 311"/>
                  <a:gd name="T34" fmla="*/ 1822 w 2216"/>
                  <a:gd name="T35" fmla="*/ 156 h 311"/>
                  <a:gd name="T36" fmla="*/ 1822 w 2216"/>
                  <a:gd name="T37" fmla="*/ 191 h 311"/>
                  <a:gd name="T38" fmla="*/ 1896 w 2216"/>
                  <a:gd name="T39" fmla="*/ 254 h 311"/>
                  <a:gd name="T40" fmla="*/ 1969 w 2216"/>
                  <a:gd name="T41" fmla="*/ 253 h 311"/>
                  <a:gd name="T42" fmla="*/ 1822 w 2216"/>
                  <a:gd name="T43" fmla="*/ 156 h 311"/>
                  <a:gd name="T44" fmla="*/ 1532 w 2216"/>
                  <a:gd name="T45" fmla="*/ 142 h 311"/>
                  <a:gd name="T46" fmla="*/ 1486 w 2216"/>
                  <a:gd name="T47" fmla="*/ 258 h 311"/>
                  <a:gd name="T48" fmla="*/ 1565 w 2216"/>
                  <a:gd name="T49" fmla="*/ 252 h 311"/>
                  <a:gd name="T50" fmla="*/ 1644 w 2216"/>
                  <a:gd name="T51" fmla="*/ 252 h 311"/>
                  <a:gd name="T52" fmla="*/ 1587 w 2216"/>
                  <a:gd name="T53" fmla="*/ 154 h 311"/>
                  <a:gd name="T54" fmla="*/ 2181 w 2216"/>
                  <a:gd name="T55" fmla="*/ 189 h 311"/>
                  <a:gd name="T56" fmla="*/ 2151 w 2216"/>
                  <a:gd name="T57" fmla="*/ 146 h 311"/>
                  <a:gd name="T58" fmla="*/ 901 w 2216"/>
                  <a:gd name="T59" fmla="*/ 252 h 311"/>
                  <a:gd name="T60" fmla="*/ 964 w 2216"/>
                  <a:gd name="T61" fmla="*/ 158 h 311"/>
                  <a:gd name="T62" fmla="*/ 939 w 2216"/>
                  <a:gd name="T63" fmla="*/ 242 h 311"/>
                  <a:gd name="T64" fmla="*/ 2106 w 2216"/>
                  <a:gd name="T65" fmla="*/ 258 h 311"/>
                  <a:gd name="T66" fmla="*/ 2127 w 2216"/>
                  <a:gd name="T67" fmla="*/ 160 h 311"/>
                  <a:gd name="T68" fmla="*/ 649 w 2216"/>
                  <a:gd name="T69" fmla="*/ 136 h 311"/>
                  <a:gd name="T70" fmla="*/ 738 w 2216"/>
                  <a:gd name="T71" fmla="*/ 144 h 311"/>
                  <a:gd name="T72" fmla="*/ 725 w 2216"/>
                  <a:gd name="T73" fmla="*/ 256 h 311"/>
                  <a:gd name="T74" fmla="*/ 573 w 2216"/>
                  <a:gd name="T75" fmla="*/ 138 h 311"/>
                  <a:gd name="T76" fmla="*/ 576 w 2216"/>
                  <a:gd name="T77" fmla="*/ 158 h 311"/>
                  <a:gd name="T78" fmla="*/ 1995 w 2216"/>
                  <a:gd name="T79" fmla="*/ 100 h 311"/>
                  <a:gd name="T80" fmla="*/ 12 w 2216"/>
                  <a:gd name="T81" fmla="*/ 250 h 311"/>
                  <a:gd name="T82" fmla="*/ 6 w 2216"/>
                  <a:gd name="T83" fmla="*/ 253 h 311"/>
                  <a:gd name="T84" fmla="*/ 18 w 2216"/>
                  <a:gd name="T85" fmla="*/ 244 h 311"/>
                  <a:gd name="T86" fmla="*/ 8 w 2216"/>
                  <a:gd name="T87" fmla="*/ 250 h 311"/>
                  <a:gd name="T88" fmla="*/ 13 w 2216"/>
                  <a:gd name="T89" fmla="*/ 246 h 311"/>
                  <a:gd name="T90" fmla="*/ 12 w 2216"/>
                  <a:gd name="T91" fmla="*/ 247 h 311"/>
                  <a:gd name="T92" fmla="*/ 9 w 2216"/>
                  <a:gd name="T93" fmla="*/ 251 h 311"/>
                  <a:gd name="T94" fmla="*/ 6 w 2216"/>
                  <a:gd name="T95" fmla="*/ 253 h 311"/>
                  <a:gd name="T96" fmla="*/ 14 w 2216"/>
                  <a:gd name="T97" fmla="*/ 246 h 311"/>
                  <a:gd name="T98" fmla="*/ 8 w 2216"/>
                  <a:gd name="T99" fmla="*/ 250 h 311"/>
                  <a:gd name="T100" fmla="*/ 6 w 2216"/>
                  <a:gd name="T101" fmla="*/ 252 h 311"/>
                  <a:gd name="T102" fmla="*/ 6 w 2216"/>
                  <a:gd name="T103" fmla="*/ 253 h 311"/>
                  <a:gd name="T104" fmla="*/ 1307 w 2216"/>
                  <a:gd name="T105" fmla="*/ 91 h 311"/>
                  <a:gd name="T106" fmla="*/ 1323 w 2216"/>
                  <a:gd name="T107" fmla="*/ 112 h 311"/>
                  <a:gd name="T108" fmla="*/ 1756 w 2216"/>
                  <a:gd name="T109" fmla="*/ 249 h 311"/>
                  <a:gd name="T110" fmla="*/ 1754 w 2216"/>
                  <a:gd name="T111" fmla="*/ 168 h 311"/>
                  <a:gd name="T112" fmla="*/ 1775 w 2216"/>
                  <a:gd name="T113" fmla="*/ 253 h 311"/>
                  <a:gd name="T114" fmla="*/ 1756 w 2216"/>
                  <a:gd name="T115" fmla="*/ 204 h 311"/>
                  <a:gd name="T116" fmla="*/ 1099 w 2216"/>
                  <a:gd name="T117" fmla="*/ 203 h 311"/>
                  <a:gd name="T118" fmla="*/ 1075 w 2216"/>
                  <a:gd name="T119" fmla="*/ 223 h 311"/>
                  <a:gd name="T120" fmla="*/ 882 w 2216"/>
                  <a:gd name="T121" fmla="*/ 172 h 311"/>
                  <a:gd name="T122" fmla="*/ 867 w 2216"/>
                  <a:gd name="T123" fmla="*/ 198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6" h="311">
                    <a:moveTo>
                      <a:pt x="22" y="246"/>
                    </a:moveTo>
                    <a:cubicBezTo>
                      <a:pt x="30" y="243"/>
                      <a:pt x="38" y="240"/>
                      <a:pt x="47" y="237"/>
                    </a:cubicBezTo>
                    <a:cubicBezTo>
                      <a:pt x="67" y="231"/>
                      <a:pt x="88" y="226"/>
                      <a:pt x="110" y="224"/>
                    </a:cubicBezTo>
                    <a:cubicBezTo>
                      <a:pt x="128" y="222"/>
                      <a:pt x="147" y="222"/>
                      <a:pt x="165" y="223"/>
                    </a:cubicBezTo>
                    <a:cubicBezTo>
                      <a:pt x="180" y="225"/>
                      <a:pt x="195" y="227"/>
                      <a:pt x="209" y="230"/>
                    </a:cubicBezTo>
                    <a:cubicBezTo>
                      <a:pt x="212" y="231"/>
                      <a:pt x="214" y="230"/>
                      <a:pt x="216" y="230"/>
                    </a:cubicBezTo>
                    <a:cubicBezTo>
                      <a:pt x="216" y="230"/>
                      <a:pt x="216" y="229"/>
                      <a:pt x="216" y="228"/>
                    </a:cubicBezTo>
                    <a:cubicBezTo>
                      <a:pt x="216" y="228"/>
                      <a:pt x="216" y="227"/>
                      <a:pt x="216" y="226"/>
                    </a:cubicBezTo>
                    <a:cubicBezTo>
                      <a:pt x="216" y="198"/>
                      <a:pt x="216" y="170"/>
                      <a:pt x="216" y="142"/>
                    </a:cubicBezTo>
                    <a:cubicBezTo>
                      <a:pt x="216" y="139"/>
                      <a:pt x="217" y="138"/>
                      <a:pt x="219" y="137"/>
                    </a:cubicBezTo>
                    <a:cubicBezTo>
                      <a:pt x="233" y="123"/>
                      <a:pt x="248" y="111"/>
                      <a:pt x="261" y="97"/>
                    </a:cubicBezTo>
                    <a:cubicBezTo>
                      <a:pt x="264" y="94"/>
                      <a:pt x="266" y="92"/>
                      <a:pt x="268" y="89"/>
                    </a:cubicBezTo>
                    <a:cubicBezTo>
                      <a:pt x="269" y="88"/>
                      <a:pt x="270" y="87"/>
                      <a:pt x="271" y="88"/>
                    </a:cubicBezTo>
                    <a:cubicBezTo>
                      <a:pt x="273" y="89"/>
                      <a:pt x="274" y="90"/>
                      <a:pt x="274" y="93"/>
                    </a:cubicBezTo>
                    <a:cubicBezTo>
                      <a:pt x="274" y="146"/>
                      <a:pt x="274" y="199"/>
                      <a:pt x="274" y="252"/>
                    </a:cubicBezTo>
                    <a:cubicBezTo>
                      <a:pt x="274" y="253"/>
                      <a:pt x="275" y="255"/>
                      <a:pt x="273" y="256"/>
                    </a:cubicBezTo>
                    <a:cubicBezTo>
                      <a:pt x="271" y="257"/>
                      <a:pt x="269" y="258"/>
                      <a:pt x="267" y="257"/>
                    </a:cubicBezTo>
                    <a:cubicBezTo>
                      <a:pt x="261" y="255"/>
                      <a:pt x="255" y="253"/>
                      <a:pt x="249" y="252"/>
                    </a:cubicBezTo>
                    <a:cubicBezTo>
                      <a:pt x="229" y="246"/>
                      <a:pt x="209" y="242"/>
                      <a:pt x="188" y="239"/>
                    </a:cubicBezTo>
                    <a:cubicBezTo>
                      <a:pt x="162" y="236"/>
                      <a:pt x="136" y="235"/>
                      <a:pt x="109" y="236"/>
                    </a:cubicBezTo>
                    <a:cubicBezTo>
                      <a:pt x="76" y="238"/>
                      <a:pt x="44" y="243"/>
                      <a:pt x="12" y="253"/>
                    </a:cubicBezTo>
                    <a:cubicBezTo>
                      <a:pt x="9" y="254"/>
                      <a:pt x="6" y="255"/>
                      <a:pt x="3" y="256"/>
                    </a:cubicBezTo>
                    <a:cubicBezTo>
                      <a:pt x="0" y="257"/>
                      <a:pt x="0" y="257"/>
                      <a:pt x="0" y="254"/>
                    </a:cubicBezTo>
                    <a:cubicBezTo>
                      <a:pt x="0" y="249"/>
                      <a:pt x="0" y="244"/>
                      <a:pt x="0" y="238"/>
                    </a:cubicBezTo>
                    <a:cubicBezTo>
                      <a:pt x="0" y="237"/>
                      <a:pt x="0" y="235"/>
                      <a:pt x="2" y="234"/>
                    </a:cubicBezTo>
                    <a:cubicBezTo>
                      <a:pt x="22" y="213"/>
                      <a:pt x="41" y="190"/>
                      <a:pt x="57" y="165"/>
                    </a:cubicBezTo>
                    <a:cubicBezTo>
                      <a:pt x="82" y="128"/>
                      <a:pt x="103" y="89"/>
                      <a:pt x="117" y="46"/>
                    </a:cubicBezTo>
                    <a:cubicBezTo>
                      <a:pt x="122" y="32"/>
                      <a:pt x="126" y="17"/>
                      <a:pt x="129" y="2"/>
                    </a:cubicBezTo>
                    <a:cubicBezTo>
                      <a:pt x="129" y="0"/>
                      <a:pt x="129" y="0"/>
                      <a:pt x="131" y="1"/>
                    </a:cubicBezTo>
                    <a:cubicBezTo>
                      <a:pt x="136" y="2"/>
                      <a:pt x="136" y="2"/>
                      <a:pt x="136" y="7"/>
                    </a:cubicBezTo>
                    <a:cubicBezTo>
                      <a:pt x="136" y="71"/>
                      <a:pt x="136" y="135"/>
                      <a:pt x="136" y="199"/>
                    </a:cubicBezTo>
                    <a:cubicBezTo>
                      <a:pt x="136" y="203"/>
                      <a:pt x="136" y="203"/>
                      <a:pt x="132" y="204"/>
                    </a:cubicBezTo>
                    <a:cubicBezTo>
                      <a:pt x="129" y="205"/>
                      <a:pt x="127" y="205"/>
                      <a:pt x="124" y="205"/>
                    </a:cubicBezTo>
                    <a:cubicBezTo>
                      <a:pt x="89" y="209"/>
                      <a:pt x="55" y="220"/>
                      <a:pt x="25" y="239"/>
                    </a:cubicBezTo>
                    <a:cubicBezTo>
                      <a:pt x="24" y="239"/>
                      <a:pt x="23" y="240"/>
                      <a:pt x="22" y="240"/>
                    </a:cubicBezTo>
                    <a:cubicBezTo>
                      <a:pt x="22" y="241"/>
                      <a:pt x="21" y="242"/>
                      <a:pt x="20" y="242"/>
                    </a:cubicBezTo>
                    <a:cubicBezTo>
                      <a:pt x="19" y="243"/>
                      <a:pt x="18" y="243"/>
                      <a:pt x="17" y="244"/>
                    </a:cubicBezTo>
                    <a:cubicBezTo>
                      <a:pt x="16" y="245"/>
                      <a:pt x="16" y="245"/>
                      <a:pt x="15" y="246"/>
                    </a:cubicBezTo>
                    <a:cubicBezTo>
                      <a:pt x="14" y="246"/>
                      <a:pt x="14" y="246"/>
                      <a:pt x="14" y="246"/>
                    </a:cubicBezTo>
                    <a:cubicBezTo>
                      <a:pt x="13" y="247"/>
                      <a:pt x="13" y="247"/>
                      <a:pt x="12" y="247"/>
                    </a:cubicBezTo>
                    <a:cubicBezTo>
                      <a:pt x="12" y="247"/>
                      <a:pt x="12" y="248"/>
                      <a:pt x="12" y="248"/>
                    </a:cubicBezTo>
                    <a:cubicBezTo>
                      <a:pt x="11" y="248"/>
                      <a:pt x="11" y="248"/>
                      <a:pt x="11" y="249"/>
                    </a:cubicBezTo>
                    <a:cubicBezTo>
                      <a:pt x="10" y="249"/>
                      <a:pt x="10" y="249"/>
                      <a:pt x="10" y="249"/>
                    </a:cubicBezTo>
                    <a:cubicBezTo>
                      <a:pt x="9" y="249"/>
                      <a:pt x="9" y="250"/>
                      <a:pt x="8" y="250"/>
                    </a:cubicBezTo>
                    <a:cubicBezTo>
                      <a:pt x="8" y="250"/>
                      <a:pt x="8" y="250"/>
                      <a:pt x="8" y="250"/>
                    </a:cubicBezTo>
                    <a:cubicBezTo>
                      <a:pt x="8" y="251"/>
                      <a:pt x="8" y="251"/>
                      <a:pt x="8" y="251"/>
                    </a:cubicBezTo>
                    <a:cubicBezTo>
                      <a:pt x="7" y="251"/>
                      <a:pt x="6" y="252"/>
                      <a:pt x="6" y="252"/>
                    </a:cubicBezTo>
                    <a:cubicBezTo>
                      <a:pt x="5" y="252"/>
                      <a:pt x="5" y="253"/>
                      <a:pt x="5" y="253"/>
                    </a:cubicBezTo>
                    <a:cubicBezTo>
                      <a:pt x="5" y="253"/>
                      <a:pt x="4" y="253"/>
                      <a:pt x="4" y="254"/>
                    </a:cubicBezTo>
                    <a:cubicBezTo>
                      <a:pt x="4" y="254"/>
                      <a:pt x="3" y="254"/>
                      <a:pt x="4" y="254"/>
                    </a:cubicBezTo>
                    <a:cubicBezTo>
                      <a:pt x="4" y="254"/>
                      <a:pt x="4" y="254"/>
                      <a:pt x="4" y="254"/>
                    </a:cubicBezTo>
                    <a:cubicBezTo>
                      <a:pt x="5" y="253"/>
                      <a:pt x="5" y="253"/>
                      <a:pt x="6" y="253"/>
                    </a:cubicBezTo>
                    <a:cubicBezTo>
                      <a:pt x="6" y="253"/>
                      <a:pt x="6" y="253"/>
                      <a:pt x="6" y="253"/>
                    </a:cubicBezTo>
                    <a:cubicBezTo>
                      <a:pt x="7" y="253"/>
                      <a:pt x="7" y="252"/>
                      <a:pt x="7" y="252"/>
                    </a:cubicBezTo>
                    <a:cubicBezTo>
                      <a:pt x="8" y="252"/>
                      <a:pt x="8" y="252"/>
                      <a:pt x="9" y="252"/>
                    </a:cubicBezTo>
                    <a:cubicBezTo>
                      <a:pt x="9" y="251"/>
                      <a:pt x="9" y="251"/>
                      <a:pt x="9" y="251"/>
                    </a:cubicBezTo>
                    <a:cubicBezTo>
                      <a:pt x="10" y="251"/>
                      <a:pt x="10" y="251"/>
                      <a:pt x="11" y="250"/>
                    </a:cubicBezTo>
                    <a:cubicBezTo>
                      <a:pt x="12" y="250"/>
                      <a:pt x="12" y="250"/>
                      <a:pt x="12" y="249"/>
                    </a:cubicBezTo>
                    <a:cubicBezTo>
                      <a:pt x="16" y="248"/>
                      <a:pt x="19" y="246"/>
                      <a:pt x="22" y="246"/>
                    </a:cubicBezTo>
                    <a:close/>
                    <a:moveTo>
                      <a:pt x="377" y="125"/>
                    </a:moveTo>
                    <a:cubicBezTo>
                      <a:pt x="395" y="167"/>
                      <a:pt x="414" y="209"/>
                      <a:pt x="433" y="250"/>
                    </a:cubicBezTo>
                    <a:cubicBezTo>
                      <a:pt x="434" y="252"/>
                      <a:pt x="434" y="254"/>
                      <a:pt x="435" y="255"/>
                    </a:cubicBezTo>
                    <a:cubicBezTo>
                      <a:pt x="437" y="256"/>
                      <a:pt x="439" y="256"/>
                      <a:pt x="441" y="256"/>
                    </a:cubicBezTo>
                    <a:cubicBezTo>
                      <a:pt x="445" y="256"/>
                      <a:pt x="445" y="256"/>
                      <a:pt x="446" y="252"/>
                    </a:cubicBezTo>
                    <a:cubicBezTo>
                      <a:pt x="465" y="210"/>
                      <a:pt x="484" y="168"/>
                      <a:pt x="502" y="126"/>
                    </a:cubicBezTo>
                    <a:cubicBezTo>
                      <a:pt x="503" y="125"/>
                      <a:pt x="503" y="124"/>
                      <a:pt x="504" y="123"/>
                    </a:cubicBezTo>
                    <a:cubicBezTo>
                      <a:pt x="504" y="123"/>
                      <a:pt x="504" y="123"/>
                      <a:pt x="504" y="123"/>
                    </a:cubicBezTo>
                    <a:cubicBezTo>
                      <a:pt x="504" y="124"/>
                      <a:pt x="504" y="125"/>
                      <a:pt x="504" y="126"/>
                    </a:cubicBezTo>
                    <a:cubicBezTo>
                      <a:pt x="504" y="168"/>
                      <a:pt x="504" y="210"/>
                      <a:pt x="504" y="251"/>
                    </a:cubicBezTo>
                    <a:cubicBezTo>
                      <a:pt x="504" y="252"/>
                      <a:pt x="505" y="253"/>
                      <a:pt x="504" y="254"/>
                    </a:cubicBezTo>
                    <a:cubicBezTo>
                      <a:pt x="504" y="255"/>
                      <a:pt x="505" y="256"/>
                      <a:pt x="507" y="256"/>
                    </a:cubicBezTo>
                    <a:cubicBezTo>
                      <a:pt x="511" y="256"/>
                      <a:pt x="515" y="256"/>
                      <a:pt x="520" y="256"/>
                    </a:cubicBezTo>
                    <a:cubicBezTo>
                      <a:pt x="524" y="256"/>
                      <a:pt x="524" y="256"/>
                      <a:pt x="524" y="252"/>
                    </a:cubicBezTo>
                    <a:cubicBezTo>
                      <a:pt x="524" y="200"/>
                      <a:pt x="524" y="147"/>
                      <a:pt x="524" y="95"/>
                    </a:cubicBezTo>
                    <a:cubicBezTo>
                      <a:pt x="524" y="94"/>
                      <a:pt x="524" y="94"/>
                      <a:pt x="524" y="93"/>
                    </a:cubicBezTo>
                    <a:cubicBezTo>
                      <a:pt x="524" y="92"/>
                      <a:pt x="523" y="91"/>
                      <a:pt x="522" y="91"/>
                    </a:cubicBezTo>
                    <a:cubicBezTo>
                      <a:pt x="515" y="91"/>
                      <a:pt x="508" y="91"/>
                      <a:pt x="502" y="91"/>
                    </a:cubicBezTo>
                    <a:cubicBezTo>
                      <a:pt x="500" y="91"/>
                      <a:pt x="499" y="92"/>
                      <a:pt x="499" y="93"/>
                    </a:cubicBezTo>
                    <a:cubicBezTo>
                      <a:pt x="496" y="99"/>
                      <a:pt x="493" y="106"/>
                      <a:pt x="490" y="112"/>
                    </a:cubicBezTo>
                    <a:cubicBezTo>
                      <a:pt x="474" y="148"/>
                      <a:pt x="458" y="184"/>
                      <a:pt x="442" y="220"/>
                    </a:cubicBezTo>
                    <a:cubicBezTo>
                      <a:pt x="441" y="221"/>
                      <a:pt x="441" y="222"/>
                      <a:pt x="440" y="223"/>
                    </a:cubicBezTo>
                    <a:cubicBezTo>
                      <a:pt x="439" y="222"/>
                      <a:pt x="439" y="221"/>
                      <a:pt x="438" y="220"/>
                    </a:cubicBezTo>
                    <a:cubicBezTo>
                      <a:pt x="433" y="208"/>
                      <a:pt x="427" y="195"/>
                      <a:pt x="422" y="183"/>
                    </a:cubicBezTo>
                    <a:cubicBezTo>
                      <a:pt x="409" y="153"/>
                      <a:pt x="396" y="124"/>
                      <a:pt x="383" y="94"/>
                    </a:cubicBezTo>
                    <a:cubicBezTo>
                      <a:pt x="382" y="92"/>
                      <a:pt x="381" y="91"/>
                      <a:pt x="378" y="91"/>
                    </a:cubicBezTo>
                    <a:cubicBezTo>
                      <a:pt x="372" y="91"/>
                      <a:pt x="366" y="91"/>
                      <a:pt x="360" y="91"/>
                    </a:cubicBezTo>
                    <a:cubicBezTo>
                      <a:pt x="356" y="91"/>
                      <a:pt x="356" y="91"/>
                      <a:pt x="356" y="95"/>
                    </a:cubicBezTo>
                    <a:cubicBezTo>
                      <a:pt x="356" y="147"/>
                      <a:pt x="356" y="200"/>
                      <a:pt x="356" y="252"/>
                    </a:cubicBezTo>
                    <a:cubicBezTo>
                      <a:pt x="356" y="252"/>
                      <a:pt x="356" y="253"/>
                      <a:pt x="356" y="254"/>
                    </a:cubicBezTo>
                    <a:cubicBezTo>
                      <a:pt x="356" y="255"/>
                      <a:pt x="357" y="256"/>
                      <a:pt x="358" y="256"/>
                    </a:cubicBezTo>
                    <a:cubicBezTo>
                      <a:pt x="362" y="256"/>
                      <a:pt x="366" y="256"/>
                      <a:pt x="369" y="256"/>
                    </a:cubicBezTo>
                    <a:cubicBezTo>
                      <a:pt x="371" y="256"/>
                      <a:pt x="373" y="256"/>
                      <a:pt x="374" y="255"/>
                    </a:cubicBezTo>
                    <a:cubicBezTo>
                      <a:pt x="375" y="254"/>
                      <a:pt x="375" y="252"/>
                      <a:pt x="375" y="251"/>
                    </a:cubicBezTo>
                    <a:cubicBezTo>
                      <a:pt x="375" y="209"/>
                      <a:pt x="375" y="167"/>
                      <a:pt x="375" y="125"/>
                    </a:cubicBezTo>
                    <a:cubicBezTo>
                      <a:pt x="375" y="124"/>
                      <a:pt x="375" y="123"/>
                      <a:pt x="375" y="122"/>
                    </a:cubicBezTo>
                    <a:cubicBezTo>
                      <a:pt x="376" y="123"/>
                      <a:pt x="376" y="124"/>
                      <a:pt x="377" y="125"/>
                    </a:cubicBezTo>
                    <a:close/>
                    <a:moveTo>
                      <a:pt x="21" y="242"/>
                    </a:moveTo>
                    <a:cubicBezTo>
                      <a:pt x="21" y="242"/>
                      <a:pt x="21" y="242"/>
                      <a:pt x="20" y="242"/>
                    </a:cubicBezTo>
                    <a:cubicBezTo>
                      <a:pt x="20" y="242"/>
                      <a:pt x="20" y="242"/>
                      <a:pt x="20" y="242"/>
                    </a:cubicBezTo>
                    <a:cubicBezTo>
                      <a:pt x="19" y="243"/>
                      <a:pt x="18" y="243"/>
                      <a:pt x="17" y="244"/>
                    </a:cubicBezTo>
                    <a:cubicBezTo>
                      <a:pt x="16" y="245"/>
                      <a:pt x="15" y="245"/>
                      <a:pt x="14" y="246"/>
                    </a:cubicBezTo>
                    <a:cubicBezTo>
                      <a:pt x="14" y="246"/>
                      <a:pt x="14" y="246"/>
                      <a:pt x="14" y="246"/>
                    </a:cubicBezTo>
                    <a:cubicBezTo>
                      <a:pt x="13" y="247"/>
                      <a:pt x="13" y="247"/>
                      <a:pt x="12" y="247"/>
                    </a:cubicBezTo>
                    <a:cubicBezTo>
                      <a:pt x="12" y="247"/>
                      <a:pt x="12" y="248"/>
                      <a:pt x="11" y="248"/>
                    </a:cubicBezTo>
                    <a:cubicBezTo>
                      <a:pt x="11" y="248"/>
                      <a:pt x="11" y="248"/>
                      <a:pt x="10" y="249"/>
                    </a:cubicBezTo>
                    <a:cubicBezTo>
                      <a:pt x="10" y="249"/>
                      <a:pt x="10" y="249"/>
                      <a:pt x="10" y="249"/>
                    </a:cubicBezTo>
                    <a:cubicBezTo>
                      <a:pt x="9" y="249"/>
                      <a:pt x="8" y="250"/>
                      <a:pt x="8" y="250"/>
                    </a:cubicBezTo>
                    <a:cubicBezTo>
                      <a:pt x="8" y="250"/>
                      <a:pt x="8" y="250"/>
                      <a:pt x="8" y="250"/>
                    </a:cubicBezTo>
                    <a:cubicBezTo>
                      <a:pt x="8" y="250"/>
                      <a:pt x="7" y="250"/>
                      <a:pt x="7" y="251"/>
                    </a:cubicBezTo>
                    <a:cubicBezTo>
                      <a:pt x="7" y="251"/>
                      <a:pt x="6" y="251"/>
                      <a:pt x="7" y="252"/>
                    </a:cubicBezTo>
                    <a:cubicBezTo>
                      <a:pt x="7" y="252"/>
                      <a:pt x="7" y="252"/>
                      <a:pt x="7" y="252"/>
                    </a:cubicBezTo>
                    <a:cubicBezTo>
                      <a:pt x="8" y="252"/>
                      <a:pt x="8" y="252"/>
                      <a:pt x="9" y="252"/>
                    </a:cubicBezTo>
                    <a:cubicBezTo>
                      <a:pt x="9" y="252"/>
                      <a:pt x="9" y="252"/>
                      <a:pt x="9" y="251"/>
                    </a:cubicBezTo>
                    <a:cubicBezTo>
                      <a:pt x="10" y="251"/>
                      <a:pt x="10" y="251"/>
                      <a:pt x="11" y="251"/>
                    </a:cubicBezTo>
                    <a:cubicBezTo>
                      <a:pt x="11" y="250"/>
                      <a:pt x="12" y="250"/>
                      <a:pt x="13" y="250"/>
                    </a:cubicBezTo>
                    <a:cubicBezTo>
                      <a:pt x="15" y="248"/>
                      <a:pt x="18" y="247"/>
                      <a:pt x="21" y="245"/>
                    </a:cubicBezTo>
                    <a:cubicBezTo>
                      <a:pt x="21" y="245"/>
                      <a:pt x="22" y="245"/>
                      <a:pt x="22" y="244"/>
                    </a:cubicBezTo>
                    <a:cubicBezTo>
                      <a:pt x="55" y="229"/>
                      <a:pt x="90" y="221"/>
                      <a:pt x="127" y="219"/>
                    </a:cubicBezTo>
                    <a:cubicBezTo>
                      <a:pt x="139" y="218"/>
                      <a:pt x="152" y="219"/>
                      <a:pt x="165" y="220"/>
                    </a:cubicBezTo>
                    <a:cubicBezTo>
                      <a:pt x="176" y="220"/>
                      <a:pt x="188" y="222"/>
                      <a:pt x="199" y="224"/>
                    </a:cubicBezTo>
                    <a:cubicBezTo>
                      <a:pt x="202" y="225"/>
                      <a:pt x="205" y="225"/>
                      <a:pt x="208" y="224"/>
                    </a:cubicBezTo>
                    <a:cubicBezTo>
                      <a:pt x="211" y="224"/>
                      <a:pt x="211" y="224"/>
                      <a:pt x="211" y="220"/>
                    </a:cubicBezTo>
                    <a:cubicBezTo>
                      <a:pt x="211" y="163"/>
                      <a:pt x="211" y="107"/>
                      <a:pt x="211" y="50"/>
                    </a:cubicBezTo>
                    <a:cubicBezTo>
                      <a:pt x="211" y="46"/>
                      <a:pt x="212" y="47"/>
                      <a:pt x="208" y="45"/>
                    </a:cubicBezTo>
                    <a:cubicBezTo>
                      <a:pt x="206" y="45"/>
                      <a:pt x="206" y="45"/>
                      <a:pt x="205" y="47"/>
                    </a:cubicBezTo>
                    <a:cubicBezTo>
                      <a:pt x="202" y="55"/>
                      <a:pt x="198" y="63"/>
                      <a:pt x="194" y="71"/>
                    </a:cubicBezTo>
                    <a:cubicBezTo>
                      <a:pt x="180" y="98"/>
                      <a:pt x="163" y="122"/>
                      <a:pt x="142" y="144"/>
                    </a:cubicBezTo>
                    <a:cubicBezTo>
                      <a:pt x="141" y="145"/>
                      <a:pt x="141" y="147"/>
                      <a:pt x="141" y="148"/>
                    </a:cubicBezTo>
                    <a:cubicBezTo>
                      <a:pt x="141" y="166"/>
                      <a:pt x="141" y="183"/>
                      <a:pt x="141" y="200"/>
                    </a:cubicBezTo>
                    <a:cubicBezTo>
                      <a:pt x="141" y="202"/>
                      <a:pt x="141" y="204"/>
                      <a:pt x="141" y="205"/>
                    </a:cubicBezTo>
                    <a:cubicBezTo>
                      <a:pt x="141" y="207"/>
                      <a:pt x="140" y="207"/>
                      <a:pt x="139" y="208"/>
                    </a:cubicBezTo>
                    <a:cubicBezTo>
                      <a:pt x="138" y="208"/>
                      <a:pt x="137" y="208"/>
                      <a:pt x="137" y="208"/>
                    </a:cubicBezTo>
                    <a:cubicBezTo>
                      <a:pt x="128" y="209"/>
                      <a:pt x="120" y="210"/>
                      <a:pt x="111" y="211"/>
                    </a:cubicBezTo>
                    <a:cubicBezTo>
                      <a:pt x="89" y="214"/>
                      <a:pt x="68" y="220"/>
                      <a:pt x="48" y="229"/>
                    </a:cubicBezTo>
                    <a:cubicBezTo>
                      <a:pt x="39" y="232"/>
                      <a:pt x="31" y="237"/>
                      <a:pt x="23" y="241"/>
                    </a:cubicBezTo>
                    <a:cubicBezTo>
                      <a:pt x="22" y="241"/>
                      <a:pt x="22" y="241"/>
                      <a:pt x="21" y="242"/>
                    </a:cubicBezTo>
                    <a:close/>
                    <a:moveTo>
                      <a:pt x="1219" y="242"/>
                    </a:moveTo>
                    <a:cubicBezTo>
                      <a:pt x="1212" y="241"/>
                      <a:pt x="1209" y="237"/>
                      <a:pt x="1207" y="231"/>
                    </a:cubicBezTo>
                    <a:cubicBezTo>
                      <a:pt x="1206" y="227"/>
                      <a:pt x="1206" y="224"/>
                      <a:pt x="1206" y="220"/>
                    </a:cubicBezTo>
                    <a:cubicBezTo>
                      <a:pt x="1206" y="199"/>
                      <a:pt x="1206" y="178"/>
                      <a:pt x="1206" y="158"/>
                    </a:cubicBezTo>
                    <a:cubicBezTo>
                      <a:pt x="1206" y="157"/>
                      <a:pt x="1206" y="156"/>
                      <a:pt x="1206" y="156"/>
                    </a:cubicBezTo>
                    <a:cubicBezTo>
                      <a:pt x="1206" y="155"/>
                      <a:pt x="1206" y="154"/>
                      <a:pt x="1207" y="154"/>
                    </a:cubicBezTo>
                    <a:cubicBezTo>
                      <a:pt x="1208" y="154"/>
                      <a:pt x="1209" y="154"/>
                      <a:pt x="1209" y="154"/>
                    </a:cubicBezTo>
                    <a:cubicBezTo>
                      <a:pt x="1217" y="154"/>
                      <a:pt x="1225" y="154"/>
                      <a:pt x="1233" y="154"/>
                    </a:cubicBezTo>
                    <a:cubicBezTo>
                      <a:pt x="1236" y="154"/>
                      <a:pt x="1236" y="154"/>
                      <a:pt x="1236" y="152"/>
                    </a:cubicBezTo>
                    <a:cubicBezTo>
                      <a:pt x="1236" y="148"/>
                      <a:pt x="1236" y="145"/>
                      <a:pt x="1236" y="141"/>
                    </a:cubicBezTo>
                    <a:cubicBezTo>
                      <a:pt x="1236" y="138"/>
                      <a:pt x="1236" y="138"/>
                      <a:pt x="1233" y="138"/>
                    </a:cubicBezTo>
                    <a:cubicBezTo>
                      <a:pt x="1225" y="138"/>
                      <a:pt x="1217" y="138"/>
                      <a:pt x="1209" y="138"/>
                    </a:cubicBezTo>
                    <a:cubicBezTo>
                      <a:pt x="1206" y="138"/>
                      <a:pt x="1206" y="138"/>
                      <a:pt x="1206" y="136"/>
                    </a:cubicBezTo>
                    <a:cubicBezTo>
                      <a:pt x="1206" y="126"/>
                      <a:pt x="1206" y="117"/>
                      <a:pt x="1206" y="107"/>
                    </a:cubicBezTo>
                    <a:cubicBezTo>
                      <a:pt x="1206" y="106"/>
                      <a:pt x="1206" y="105"/>
                      <a:pt x="1206" y="104"/>
                    </a:cubicBezTo>
                    <a:cubicBezTo>
                      <a:pt x="1205" y="104"/>
                      <a:pt x="1204" y="104"/>
                      <a:pt x="1204" y="104"/>
                    </a:cubicBezTo>
                    <a:cubicBezTo>
                      <a:pt x="1199" y="106"/>
                      <a:pt x="1194" y="107"/>
                      <a:pt x="1189" y="109"/>
                    </a:cubicBezTo>
                    <a:cubicBezTo>
                      <a:pt x="1188" y="109"/>
                      <a:pt x="1187" y="110"/>
                      <a:pt x="1187" y="112"/>
                    </a:cubicBezTo>
                    <a:cubicBezTo>
                      <a:pt x="1187" y="120"/>
                      <a:pt x="1187" y="128"/>
                      <a:pt x="1187" y="136"/>
                    </a:cubicBezTo>
                    <a:cubicBezTo>
                      <a:pt x="1187" y="138"/>
                      <a:pt x="1187" y="138"/>
                      <a:pt x="1185" y="138"/>
                    </a:cubicBezTo>
                    <a:cubicBezTo>
                      <a:pt x="1178" y="138"/>
                      <a:pt x="1171" y="138"/>
                      <a:pt x="1165" y="138"/>
                    </a:cubicBezTo>
                    <a:cubicBezTo>
                      <a:pt x="1158" y="138"/>
                      <a:pt x="1152" y="138"/>
                      <a:pt x="1145" y="138"/>
                    </a:cubicBezTo>
                    <a:cubicBezTo>
                      <a:pt x="1143" y="138"/>
                      <a:pt x="1143" y="138"/>
                      <a:pt x="1143" y="136"/>
                    </a:cubicBezTo>
                    <a:cubicBezTo>
                      <a:pt x="1143" y="130"/>
                      <a:pt x="1143" y="125"/>
                      <a:pt x="1143" y="120"/>
                    </a:cubicBezTo>
                    <a:cubicBezTo>
                      <a:pt x="1143" y="115"/>
                      <a:pt x="1143" y="111"/>
                      <a:pt x="1145" y="107"/>
                    </a:cubicBezTo>
                    <a:cubicBezTo>
                      <a:pt x="1147" y="101"/>
                      <a:pt x="1151" y="97"/>
                      <a:pt x="1158" y="96"/>
                    </a:cubicBezTo>
                    <a:cubicBezTo>
                      <a:pt x="1163" y="95"/>
                      <a:pt x="1167" y="95"/>
                      <a:pt x="1172" y="97"/>
                    </a:cubicBezTo>
                    <a:cubicBezTo>
                      <a:pt x="1173" y="97"/>
                      <a:pt x="1174" y="98"/>
                      <a:pt x="1175" y="98"/>
                    </a:cubicBezTo>
                    <a:cubicBezTo>
                      <a:pt x="1175" y="93"/>
                      <a:pt x="1175" y="88"/>
                      <a:pt x="1175" y="84"/>
                    </a:cubicBezTo>
                    <a:cubicBezTo>
                      <a:pt x="1175" y="81"/>
                      <a:pt x="1175" y="81"/>
                      <a:pt x="1173" y="81"/>
                    </a:cubicBezTo>
                    <a:cubicBezTo>
                      <a:pt x="1165" y="79"/>
                      <a:pt x="1157" y="79"/>
                      <a:pt x="1149" y="81"/>
                    </a:cubicBezTo>
                    <a:cubicBezTo>
                      <a:pt x="1135" y="86"/>
                      <a:pt x="1125" y="99"/>
                      <a:pt x="1124" y="114"/>
                    </a:cubicBezTo>
                    <a:cubicBezTo>
                      <a:pt x="1124" y="121"/>
                      <a:pt x="1124" y="128"/>
                      <a:pt x="1124" y="135"/>
                    </a:cubicBezTo>
                    <a:cubicBezTo>
                      <a:pt x="1124" y="139"/>
                      <a:pt x="1124" y="138"/>
                      <a:pt x="1121" y="138"/>
                    </a:cubicBezTo>
                    <a:cubicBezTo>
                      <a:pt x="1116" y="138"/>
                      <a:pt x="1111" y="138"/>
                      <a:pt x="1106" y="138"/>
                    </a:cubicBezTo>
                    <a:cubicBezTo>
                      <a:pt x="1104" y="138"/>
                      <a:pt x="1104" y="138"/>
                      <a:pt x="1104" y="140"/>
                    </a:cubicBezTo>
                    <a:cubicBezTo>
                      <a:pt x="1104" y="144"/>
                      <a:pt x="1104" y="148"/>
                      <a:pt x="1104" y="152"/>
                    </a:cubicBezTo>
                    <a:cubicBezTo>
                      <a:pt x="1104" y="154"/>
                      <a:pt x="1104" y="154"/>
                      <a:pt x="1106" y="154"/>
                    </a:cubicBezTo>
                    <a:cubicBezTo>
                      <a:pt x="1111" y="154"/>
                      <a:pt x="1116" y="154"/>
                      <a:pt x="1121" y="154"/>
                    </a:cubicBezTo>
                    <a:cubicBezTo>
                      <a:pt x="1124" y="154"/>
                      <a:pt x="1124" y="154"/>
                      <a:pt x="1124" y="157"/>
                    </a:cubicBezTo>
                    <a:cubicBezTo>
                      <a:pt x="1124" y="158"/>
                      <a:pt x="1124" y="159"/>
                      <a:pt x="1124" y="159"/>
                    </a:cubicBezTo>
                    <a:cubicBezTo>
                      <a:pt x="1124" y="190"/>
                      <a:pt x="1124" y="221"/>
                      <a:pt x="1124" y="251"/>
                    </a:cubicBezTo>
                    <a:cubicBezTo>
                      <a:pt x="1124" y="252"/>
                      <a:pt x="1124" y="253"/>
                      <a:pt x="1124" y="254"/>
                    </a:cubicBezTo>
                    <a:cubicBezTo>
                      <a:pt x="1124" y="255"/>
                      <a:pt x="1124" y="256"/>
                      <a:pt x="1126" y="256"/>
                    </a:cubicBezTo>
                    <a:cubicBezTo>
                      <a:pt x="1131" y="256"/>
                      <a:pt x="1135" y="256"/>
                      <a:pt x="1140" y="256"/>
                    </a:cubicBezTo>
                    <a:cubicBezTo>
                      <a:pt x="1143" y="256"/>
                      <a:pt x="1143" y="256"/>
                      <a:pt x="1143" y="253"/>
                    </a:cubicBezTo>
                    <a:cubicBezTo>
                      <a:pt x="1143" y="252"/>
                      <a:pt x="1143" y="252"/>
                      <a:pt x="1143" y="251"/>
                    </a:cubicBezTo>
                    <a:cubicBezTo>
                      <a:pt x="1143" y="220"/>
                      <a:pt x="1143" y="189"/>
                      <a:pt x="1143" y="158"/>
                    </a:cubicBezTo>
                    <a:cubicBezTo>
                      <a:pt x="1143" y="157"/>
                      <a:pt x="1143" y="156"/>
                      <a:pt x="1143" y="156"/>
                    </a:cubicBezTo>
                    <a:cubicBezTo>
                      <a:pt x="1143" y="155"/>
                      <a:pt x="1143" y="154"/>
                      <a:pt x="1144" y="154"/>
                    </a:cubicBezTo>
                    <a:cubicBezTo>
                      <a:pt x="1145" y="154"/>
                      <a:pt x="1146" y="154"/>
                      <a:pt x="1146" y="154"/>
                    </a:cubicBezTo>
                    <a:cubicBezTo>
                      <a:pt x="1159" y="154"/>
                      <a:pt x="1171" y="154"/>
                      <a:pt x="1184" y="154"/>
                    </a:cubicBezTo>
                    <a:cubicBezTo>
                      <a:pt x="1188" y="154"/>
                      <a:pt x="1187" y="154"/>
                      <a:pt x="1187" y="158"/>
                    </a:cubicBezTo>
                    <a:cubicBezTo>
                      <a:pt x="1187" y="180"/>
                      <a:pt x="1187" y="201"/>
                      <a:pt x="1187" y="223"/>
                    </a:cubicBezTo>
                    <a:cubicBezTo>
                      <a:pt x="1187" y="228"/>
                      <a:pt x="1187" y="233"/>
                      <a:pt x="1189" y="238"/>
                    </a:cubicBezTo>
                    <a:cubicBezTo>
                      <a:pt x="1191" y="246"/>
                      <a:pt x="1195" y="252"/>
                      <a:pt x="1203" y="256"/>
                    </a:cubicBezTo>
                    <a:cubicBezTo>
                      <a:pt x="1207" y="257"/>
                      <a:pt x="1212" y="258"/>
                      <a:pt x="1216" y="258"/>
                    </a:cubicBezTo>
                    <a:cubicBezTo>
                      <a:pt x="1222" y="258"/>
                      <a:pt x="1228" y="258"/>
                      <a:pt x="1234" y="256"/>
                    </a:cubicBezTo>
                    <a:cubicBezTo>
                      <a:pt x="1235" y="255"/>
                      <a:pt x="1236" y="255"/>
                      <a:pt x="1236" y="253"/>
                    </a:cubicBezTo>
                    <a:cubicBezTo>
                      <a:pt x="1236" y="248"/>
                      <a:pt x="1236" y="244"/>
                      <a:pt x="1236" y="238"/>
                    </a:cubicBezTo>
                    <a:cubicBezTo>
                      <a:pt x="1230" y="242"/>
                      <a:pt x="1224" y="243"/>
                      <a:pt x="1219" y="242"/>
                    </a:cubicBezTo>
                    <a:close/>
                    <a:moveTo>
                      <a:pt x="1822" y="156"/>
                    </a:moveTo>
                    <a:cubicBezTo>
                      <a:pt x="1822" y="151"/>
                      <a:pt x="1822" y="146"/>
                      <a:pt x="1822" y="142"/>
                    </a:cubicBezTo>
                    <a:cubicBezTo>
                      <a:pt x="1822" y="138"/>
                      <a:pt x="1822" y="138"/>
                      <a:pt x="1818" y="138"/>
                    </a:cubicBezTo>
                    <a:cubicBezTo>
                      <a:pt x="1814" y="138"/>
                      <a:pt x="1810" y="138"/>
                      <a:pt x="1806" y="138"/>
                    </a:cubicBezTo>
                    <a:cubicBezTo>
                      <a:pt x="1802" y="138"/>
                      <a:pt x="1803" y="138"/>
                      <a:pt x="1803" y="142"/>
                    </a:cubicBezTo>
                    <a:cubicBezTo>
                      <a:pt x="1803" y="179"/>
                      <a:pt x="1803" y="215"/>
                      <a:pt x="1803" y="252"/>
                    </a:cubicBezTo>
                    <a:cubicBezTo>
                      <a:pt x="1803" y="253"/>
                      <a:pt x="1803" y="254"/>
                      <a:pt x="1803" y="254"/>
                    </a:cubicBezTo>
                    <a:cubicBezTo>
                      <a:pt x="1803" y="255"/>
                      <a:pt x="1803" y="256"/>
                      <a:pt x="1804" y="256"/>
                    </a:cubicBezTo>
                    <a:cubicBezTo>
                      <a:pt x="1810" y="256"/>
                      <a:pt x="1815" y="256"/>
                      <a:pt x="1820" y="256"/>
                    </a:cubicBezTo>
                    <a:cubicBezTo>
                      <a:pt x="1821" y="256"/>
                      <a:pt x="1822" y="255"/>
                      <a:pt x="1822" y="254"/>
                    </a:cubicBezTo>
                    <a:cubicBezTo>
                      <a:pt x="1822" y="254"/>
                      <a:pt x="1822" y="253"/>
                      <a:pt x="1822" y="252"/>
                    </a:cubicBezTo>
                    <a:cubicBezTo>
                      <a:pt x="1822" y="232"/>
                      <a:pt x="1822" y="211"/>
                      <a:pt x="1822" y="191"/>
                    </a:cubicBezTo>
                    <a:cubicBezTo>
                      <a:pt x="1822" y="187"/>
                      <a:pt x="1822" y="184"/>
                      <a:pt x="1822" y="181"/>
                    </a:cubicBezTo>
                    <a:cubicBezTo>
                      <a:pt x="1823" y="174"/>
                      <a:pt x="1826" y="167"/>
                      <a:pt x="1830" y="161"/>
                    </a:cubicBezTo>
                    <a:cubicBezTo>
                      <a:pt x="1836" y="154"/>
                      <a:pt x="1843" y="151"/>
                      <a:pt x="1852" y="152"/>
                    </a:cubicBezTo>
                    <a:cubicBezTo>
                      <a:pt x="1863" y="152"/>
                      <a:pt x="1871" y="158"/>
                      <a:pt x="1874" y="169"/>
                    </a:cubicBezTo>
                    <a:cubicBezTo>
                      <a:pt x="1875" y="170"/>
                      <a:pt x="1875" y="171"/>
                      <a:pt x="1875" y="171"/>
                    </a:cubicBezTo>
                    <a:cubicBezTo>
                      <a:pt x="1876" y="177"/>
                      <a:pt x="1877" y="182"/>
                      <a:pt x="1877" y="187"/>
                    </a:cubicBezTo>
                    <a:cubicBezTo>
                      <a:pt x="1877" y="204"/>
                      <a:pt x="1877" y="220"/>
                      <a:pt x="1877" y="236"/>
                    </a:cubicBezTo>
                    <a:cubicBezTo>
                      <a:pt x="1877" y="242"/>
                      <a:pt x="1877" y="248"/>
                      <a:pt x="1877" y="254"/>
                    </a:cubicBezTo>
                    <a:cubicBezTo>
                      <a:pt x="1877" y="255"/>
                      <a:pt x="1877" y="256"/>
                      <a:pt x="1879" y="256"/>
                    </a:cubicBezTo>
                    <a:cubicBezTo>
                      <a:pt x="1884" y="256"/>
                      <a:pt x="1889" y="256"/>
                      <a:pt x="1894" y="256"/>
                    </a:cubicBezTo>
                    <a:cubicBezTo>
                      <a:pt x="1895" y="256"/>
                      <a:pt x="1896" y="255"/>
                      <a:pt x="1896" y="254"/>
                    </a:cubicBezTo>
                    <a:cubicBezTo>
                      <a:pt x="1896" y="253"/>
                      <a:pt x="1896" y="252"/>
                      <a:pt x="1896" y="252"/>
                    </a:cubicBezTo>
                    <a:cubicBezTo>
                      <a:pt x="1896" y="230"/>
                      <a:pt x="1896" y="209"/>
                      <a:pt x="1896" y="188"/>
                    </a:cubicBezTo>
                    <a:cubicBezTo>
                      <a:pt x="1896" y="178"/>
                      <a:pt x="1899" y="168"/>
                      <a:pt x="1906" y="160"/>
                    </a:cubicBezTo>
                    <a:cubicBezTo>
                      <a:pt x="1911" y="154"/>
                      <a:pt x="1918" y="151"/>
                      <a:pt x="1927" y="152"/>
                    </a:cubicBezTo>
                    <a:cubicBezTo>
                      <a:pt x="1939" y="152"/>
                      <a:pt x="1946" y="158"/>
                      <a:pt x="1949" y="170"/>
                    </a:cubicBezTo>
                    <a:cubicBezTo>
                      <a:pt x="1950" y="175"/>
                      <a:pt x="1951" y="180"/>
                      <a:pt x="1951" y="185"/>
                    </a:cubicBezTo>
                    <a:cubicBezTo>
                      <a:pt x="1951" y="207"/>
                      <a:pt x="1951" y="228"/>
                      <a:pt x="1951" y="250"/>
                    </a:cubicBezTo>
                    <a:cubicBezTo>
                      <a:pt x="1951" y="252"/>
                      <a:pt x="1950" y="254"/>
                      <a:pt x="1951" y="255"/>
                    </a:cubicBezTo>
                    <a:cubicBezTo>
                      <a:pt x="1952" y="256"/>
                      <a:pt x="1954" y="256"/>
                      <a:pt x="1956" y="256"/>
                    </a:cubicBezTo>
                    <a:cubicBezTo>
                      <a:pt x="1959" y="256"/>
                      <a:pt x="1963" y="256"/>
                      <a:pt x="1966" y="256"/>
                    </a:cubicBezTo>
                    <a:cubicBezTo>
                      <a:pt x="1970" y="256"/>
                      <a:pt x="1969" y="256"/>
                      <a:pt x="1969" y="253"/>
                    </a:cubicBezTo>
                    <a:cubicBezTo>
                      <a:pt x="1969" y="230"/>
                      <a:pt x="1969" y="207"/>
                      <a:pt x="1969" y="183"/>
                    </a:cubicBezTo>
                    <a:cubicBezTo>
                      <a:pt x="1969" y="176"/>
                      <a:pt x="1969" y="168"/>
                      <a:pt x="1966" y="160"/>
                    </a:cubicBezTo>
                    <a:cubicBezTo>
                      <a:pt x="1963" y="149"/>
                      <a:pt x="1956" y="140"/>
                      <a:pt x="1944" y="137"/>
                    </a:cubicBezTo>
                    <a:cubicBezTo>
                      <a:pt x="1936" y="135"/>
                      <a:pt x="1928" y="135"/>
                      <a:pt x="1920" y="137"/>
                    </a:cubicBezTo>
                    <a:cubicBezTo>
                      <a:pt x="1909" y="139"/>
                      <a:pt x="1901" y="146"/>
                      <a:pt x="1894" y="155"/>
                    </a:cubicBezTo>
                    <a:cubicBezTo>
                      <a:pt x="1894" y="156"/>
                      <a:pt x="1893" y="158"/>
                      <a:pt x="1892" y="159"/>
                    </a:cubicBezTo>
                    <a:cubicBezTo>
                      <a:pt x="1891" y="158"/>
                      <a:pt x="1891" y="157"/>
                      <a:pt x="1890" y="155"/>
                    </a:cubicBezTo>
                    <a:cubicBezTo>
                      <a:pt x="1884" y="142"/>
                      <a:pt x="1870" y="133"/>
                      <a:pt x="1851" y="136"/>
                    </a:cubicBezTo>
                    <a:cubicBezTo>
                      <a:pt x="1840" y="138"/>
                      <a:pt x="1831" y="144"/>
                      <a:pt x="1824" y="154"/>
                    </a:cubicBezTo>
                    <a:cubicBezTo>
                      <a:pt x="1823" y="155"/>
                      <a:pt x="1823" y="156"/>
                      <a:pt x="1822" y="156"/>
                    </a:cubicBezTo>
                    <a:cubicBezTo>
                      <a:pt x="1822" y="156"/>
                      <a:pt x="1822" y="156"/>
                      <a:pt x="1822" y="156"/>
                    </a:cubicBezTo>
                    <a:close/>
                    <a:moveTo>
                      <a:pt x="1445" y="308"/>
                    </a:moveTo>
                    <a:cubicBezTo>
                      <a:pt x="1445" y="309"/>
                      <a:pt x="1446" y="310"/>
                      <a:pt x="1447" y="310"/>
                    </a:cubicBezTo>
                    <a:cubicBezTo>
                      <a:pt x="1449" y="310"/>
                      <a:pt x="1452" y="311"/>
                      <a:pt x="1454" y="311"/>
                    </a:cubicBezTo>
                    <a:cubicBezTo>
                      <a:pt x="1463" y="311"/>
                      <a:pt x="1471" y="309"/>
                      <a:pt x="1479" y="304"/>
                    </a:cubicBezTo>
                    <a:cubicBezTo>
                      <a:pt x="1482" y="301"/>
                      <a:pt x="1486" y="297"/>
                      <a:pt x="1489" y="293"/>
                    </a:cubicBezTo>
                    <a:cubicBezTo>
                      <a:pt x="1493" y="287"/>
                      <a:pt x="1496" y="281"/>
                      <a:pt x="1499" y="274"/>
                    </a:cubicBezTo>
                    <a:cubicBezTo>
                      <a:pt x="1516" y="230"/>
                      <a:pt x="1534" y="185"/>
                      <a:pt x="1551" y="141"/>
                    </a:cubicBezTo>
                    <a:cubicBezTo>
                      <a:pt x="1552" y="140"/>
                      <a:pt x="1552" y="139"/>
                      <a:pt x="1552" y="138"/>
                    </a:cubicBezTo>
                    <a:cubicBezTo>
                      <a:pt x="1547" y="138"/>
                      <a:pt x="1541" y="138"/>
                      <a:pt x="1536" y="138"/>
                    </a:cubicBezTo>
                    <a:cubicBezTo>
                      <a:pt x="1532" y="138"/>
                      <a:pt x="1533" y="138"/>
                      <a:pt x="1532" y="141"/>
                    </a:cubicBezTo>
                    <a:cubicBezTo>
                      <a:pt x="1532" y="141"/>
                      <a:pt x="1532" y="141"/>
                      <a:pt x="1532" y="142"/>
                    </a:cubicBezTo>
                    <a:cubicBezTo>
                      <a:pt x="1520" y="172"/>
                      <a:pt x="1509" y="202"/>
                      <a:pt x="1498" y="233"/>
                    </a:cubicBezTo>
                    <a:cubicBezTo>
                      <a:pt x="1498" y="234"/>
                      <a:pt x="1498" y="235"/>
                      <a:pt x="1497" y="235"/>
                    </a:cubicBezTo>
                    <a:cubicBezTo>
                      <a:pt x="1496" y="235"/>
                      <a:pt x="1496" y="233"/>
                      <a:pt x="1495" y="233"/>
                    </a:cubicBezTo>
                    <a:cubicBezTo>
                      <a:pt x="1489" y="213"/>
                      <a:pt x="1482" y="194"/>
                      <a:pt x="1475" y="174"/>
                    </a:cubicBezTo>
                    <a:cubicBezTo>
                      <a:pt x="1471" y="163"/>
                      <a:pt x="1467" y="152"/>
                      <a:pt x="1463" y="141"/>
                    </a:cubicBezTo>
                    <a:cubicBezTo>
                      <a:pt x="1462" y="138"/>
                      <a:pt x="1463" y="138"/>
                      <a:pt x="1460" y="138"/>
                    </a:cubicBezTo>
                    <a:cubicBezTo>
                      <a:pt x="1457" y="138"/>
                      <a:pt x="1453" y="138"/>
                      <a:pt x="1450" y="138"/>
                    </a:cubicBezTo>
                    <a:cubicBezTo>
                      <a:pt x="1448" y="138"/>
                      <a:pt x="1445" y="138"/>
                      <a:pt x="1442" y="138"/>
                    </a:cubicBezTo>
                    <a:cubicBezTo>
                      <a:pt x="1442" y="140"/>
                      <a:pt x="1443" y="141"/>
                      <a:pt x="1443" y="142"/>
                    </a:cubicBezTo>
                    <a:cubicBezTo>
                      <a:pt x="1457" y="179"/>
                      <a:pt x="1472" y="216"/>
                      <a:pt x="1486" y="253"/>
                    </a:cubicBezTo>
                    <a:cubicBezTo>
                      <a:pt x="1487" y="255"/>
                      <a:pt x="1487" y="256"/>
                      <a:pt x="1486" y="258"/>
                    </a:cubicBezTo>
                    <a:cubicBezTo>
                      <a:pt x="1483" y="264"/>
                      <a:pt x="1481" y="271"/>
                      <a:pt x="1478" y="277"/>
                    </a:cubicBezTo>
                    <a:cubicBezTo>
                      <a:pt x="1477" y="280"/>
                      <a:pt x="1475" y="283"/>
                      <a:pt x="1474" y="286"/>
                    </a:cubicBezTo>
                    <a:cubicBezTo>
                      <a:pt x="1468" y="293"/>
                      <a:pt x="1461" y="296"/>
                      <a:pt x="1452" y="294"/>
                    </a:cubicBezTo>
                    <a:cubicBezTo>
                      <a:pt x="1450" y="294"/>
                      <a:pt x="1448" y="293"/>
                      <a:pt x="1445" y="293"/>
                    </a:cubicBezTo>
                    <a:cubicBezTo>
                      <a:pt x="1445" y="298"/>
                      <a:pt x="1445" y="303"/>
                      <a:pt x="1445" y="308"/>
                    </a:cubicBezTo>
                    <a:close/>
                    <a:moveTo>
                      <a:pt x="1584" y="155"/>
                    </a:moveTo>
                    <a:cubicBezTo>
                      <a:pt x="1584" y="150"/>
                      <a:pt x="1584" y="146"/>
                      <a:pt x="1584" y="141"/>
                    </a:cubicBezTo>
                    <a:cubicBezTo>
                      <a:pt x="1584" y="138"/>
                      <a:pt x="1584" y="138"/>
                      <a:pt x="1581" y="138"/>
                    </a:cubicBezTo>
                    <a:cubicBezTo>
                      <a:pt x="1577" y="138"/>
                      <a:pt x="1573" y="138"/>
                      <a:pt x="1569" y="138"/>
                    </a:cubicBezTo>
                    <a:cubicBezTo>
                      <a:pt x="1565" y="138"/>
                      <a:pt x="1565" y="138"/>
                      <a:pt x="1565" y="142"/>
                    </a:cubicBezTo>
                    <a:cubicBezTo>
                      <a:pt x="1565" y="179"/>
                      <a:pt x="1565" y="215"/>
                      <a:pt x="1565" y="252"/>
                    </a:cubicBezTo>
                    <a:cubicBezTo>
                      <a:pt x="1565" y="253"/>
                      <a:pt x="1565" y="253"/>
                      <a:pt x="1565" y="254"/>
                    </a:cubicBezTo>
                    <a:cubicBezTo>
                      <a:pt x="1565" y="255"/>
                      <a:pt x="1566" y="256"/>
                      <a:pt x="1567" y="256"/>
                    </a:cubicBezTo>
                    <a:cubicBezTo>
                      <a:pt x="1572" y="256"/>
                      <a:pt x="1578" y="256"/>
                      <a:pt x="1583" y="256"/>
                    </a:cubicBezTo>
                    <a:cubicBezTo>
                      <a:pt x="1584" y="256"/>
                      <a:pt x="1584" y="255"/>
                      <a:pt x="1584" y="254"/>
                    </a:cubicBezTo>
                    <a:cubicBezTo>
                      <a:pt x="1584" y="253"/>
                      <a:pt x="1584" y="253"/>
                      <a:pt x="1584" y="252"/>
                    </a:cubicBezTo>
                    <a:cubicBezTo>
                      <a:pt x="1584" y="231"/>
                      <a:pt x="1584" y="211"/>
                      <a:pt x="1584" y="190"/>
                    </a:cubicBezTo>
                    <a:cubicBezTo>
                      <a:pt x="1584" y="186"/>
                      <a:pt x="1584" y="181"/>
                      <a:pt x="1586" y="177"/>
                    </a:cubicBezTo>
                    <a:cubicBezTo>
                      <a:pt x="1590" y="163"/>
                      <a:pt x="1598" y="154"/>
                      <a:pt x="1613" y="152"/>
                    </a:cubicBezTo>
                    <a:cubicBezTo>
                      <a:pt x="1627" y="150"/>
                      <a:pt x="1637" y="156"/>
                      <a:pt x="1642" y="170"/>
                    </a:cubicBezTo>
                    <a:cubicBezTo>
                      <a:pt x="1644" y="176"/>
                      <a:pt x="1644" y="182"/>
                      <a:pt x="1644" y="188"/>
                    </a:cubicBezTo>
                    <a:cubicBezTo>
                      <a:pt x="1644" y="210"/>
                      <a:pt x="1644" y="231"/>
                      <a:pt x="1644" y="252"/>
                    </a:cubicBezTo>
                    <a:cubicBezTo>
                      <a:pt x="1644" y="253"/>
                      <a:pt x="1644" y="253"/>
                      <a:pt x="1644" y="254"/>
                    </a:cubicBezTo>
                    <a:cubicBezTo>
                      <a:pt x="1644" y="255"/>
                      <a:pt x="1644" y="256"/>
                      <a:pt x="1646" y="256"/>
                    </a:cubicBezTo>
                    <a:cubicBezTo>
                      <a:pt x="1651" y="256"/>
                      <a:pt x="1656" y="256"/>
                      <a:pt x="1661" y="256"/>
                    </a:cubicBezTo>
                    <a:cubicBezTo>
                      <a:pt x="1663" y="256"/>
                      <a:pt x="1663" y="255"/>
                      <a:pt x="1663" y="254"/>
                    </a:cubicBezTo>
                    <a:cubicBezTo>
                      <a:pt x="1663" y="253"/>
                      <a:pt x="1663" y="252"/>
                      <a:pt x="1663" y="252"/>
                    </a:cubicBezTo>
                    <a:cubicBezTo>
                      <a:pt x="1663" y="230"/>
                      <a:pt x="1663" y="209"/>
                      <a:pt x="1663" y="187"/>
                    </a:cubicBezTo>
                    <a:cubicBezTo>
                      <a:pt x="1663" y="183"/>
                      <a:pt x="1663" y="179"/>
                      <a:pt x="1663" y="175"/>
                    </a:cubicBezTo>
                    <a:cubicBezTo>
                      <a:pt x="1662" y="168"/>
                      <a:pt x="1660" y="162"/>
                      <a:pt x="1658" y="156"/>
                    </a:cubicBezTo>
                    <a:cubicBezTo>
                      <a:pt x="1653" y="146"/>
                      <a:pt x="1645" y="139"/>
                      <a:pt x="1634" y="136"/>
                    </a:cubicBezTo>
                    <a:cubicBezTo>
                      <a:pt x="1630" y="136"/>
                      <a:pt x="1625" y="135"/>
                      <a:pt x="1621" y="136"/>
                    </a:cubicBezTo>
                    <a:cubicBezTo>
                      <a:pt x="1607" y="136"/>
                      <a:pt x="1595" y="142"/>
                      <a:pt x="1587" y="154"/>
                    </a:cubicBezTo>
                    <a:cubicBezTo>
                      <a:pt x="1586" y="155"/>
                      <a:pt x="1586" y="156"/>
                      <a:pt x="1585" y="158"/>
                    </a:cubicBezTo>
                    <a:cubicBezTo>
                      <a:pt x="1584" y="156"/>
                      <a:pt x="1584" y="155"/>
                      <a:pt x="1584" y="155"/>
                    </a:cubicBezTo>
                    <a:close/>
                    <a:moveTo>
                      <a:pt x="2140" y="232"/>
                    </a:moveTo>
                    <a:cubicBezTo>
                      <a:pt x="2140" y="237"/>
                      <a:pt x="2140" y="241"/>
                      <a:pt x="2140" y="245"/>
                    </a:cubicBezTo>
                    <a:cubicBezTo>
                      <a:pt x="2140" y="247"/>
                      <a:pt x="2139" y="250"/>
                      <a:pt x="2141" y="251"/>
                    </a:cubicBezTo>
                    <a:cubicBezTo>
                      <a:pt x="2142" y="253"/>
                      <a:pt x="2144" y="254"/>
                      <a:pt x="2146" y="254"/>
                    </a:cubicBezTo>
                    <a:cubicBezTo>
                      <a:pt x="2157" y="259"/>
                      <a:pt x="2169" y="260"/>
                      <a:pt x="2180" y="258"/>
                    </a:cubicBezTo>
                    <a:cubicBezTo>
                      <a:pt x="2189" y="256"/>
                      <a:pt x="2196" y="253"/>
                      <a:pt x="2202" y="247"/>
                    </a:cubicBezTo>
                    <a:cubicBezTo>
                      <a:pt x="2216" y="236"/>
                      <a:pt x="2216" y="211"/>
                      <a:pt x="2200" y="200"/>
                    </a:cubicBezTo>
                    <a:cubicBezTo>
                      <a:pt x="2198" y="198"/>
                      <a:pt x="2196" y="197"/>
                      <a:pt x="2193" y="195"/>
                    </a:cubicBezTo>
                    <a:cubicBezTo>
                      <a:pt x="2189" y="193"/>
                      <a:pt x="2185" y="191"/>
                      <a:pt x="2181" y="189"/>
                    </a:cubicBezTo>
                    <a:cubicBezTo>
                      <a:pt x="2176" y="187"/>
                      <a:pt x="2171" y="185"/>
                      <a:pt x="2167" y="182"/>
                    </a:cubicBezTo>
                    <a:cubicBezTo>
                      <a:pt x="2164" y="181"/>
                      <a:pt x="2162" y="179"/>
                      <a:pt x="2161" y="176"/>
                    </a:cubicBezTo>
                    <a:cubicBezTo>
                      <a:pt x="2158" y="167"/>
                      <a:pt x="2160" y="157"/>
                      <a:pt x="2170" y="153"/>
                    </a:cubicBezTo>
                    <a:cubicBezTo>
                      <a:pt x="2172" y="153"/>
                      <a:pt x="2173" y="152"/>
                      <a:pt x="2175" y="152"/>
                    </a:cubicBezTo>
                    <a:cubicBezTo>
                      <a:pt x="2185" y="151"/>
                      <a:pt x="2195" y="153"/>
                      <a:pt x="2204" y="158"/>
                    </a:cubicBezTo>
                    <a:cubicBezTo>
                      <a:pt x="2205" y="158"/>
                      <a:pt x="2205" y="159"/>
                      <a:pt x="2207" y="159"/>
                    </a:cubicBezTo>
                    <a:cubicBezTo>
                      <a:pt x="2207" y="154"/>
                      <a:pt x="2207" y="148"/>
                      <a:pt x="2207" y="142"/>
                    </a:cubicBezTo>
                    <a:cubicBezTo>
                      <a:pt x="2207" y="141"/>
                      <a:pt x="2207" y="141"/>
                      <a:pt x="2206" y="140"/>
                    </a:cubicBezTo>
                    <a:cubicBezTo>
                      <a:pt x="2205" y="140"/>
                      <a:pt x="2204" y="140"/>
                      <a:pt x="2203" y="139"/>
                    </a:cubicBezTo>
                    <a:cubicBezTo>
                      <a:pt x="2194" y="136"/>
                      <a:pt x="2184" y="135"/>
                      <a:pt x="2175" y="136"/>
                    </a:cubicBezTo>
                    <a:cubicBezTo>
                      <a:pt x="2166" y="137"/>
                      <a:pt x="2158" y="140"/>
                      <a:pt x="2151" y="146"/>
                    </a:cubicBezTo>
                    <a:cubicBezTo>
                      <a:pt x="2136" y="158"/>
                      <a:pt x="2136" y="185"/>
                      <a:pt x="2154" y="196"/>
                    </a:cubicBezTo>
                    <a:cubicBezTo>
                      <a:pt x="2158" y="199"/>
                      <a:pt x="2163" y="202"/>
                      <a:pt x="2168" y="204"/>
                    </a:cubicBezTo>
                    <a:cubicBezTo>
                      <a:pt x="2174" y="207"/>
                      <a:pt x="2181" y="210"/>
                      <a:pt x="2186" y="214"/>
                    </a:cubicBezTo>
                    <a:cubicBezTo>
                      <a:pt x="2192" y="217"/>
                      <a:pt x="2194" y="223"/>
                      <a:pt x="2193" y="229"/>
                    </a:cubicBezTo>
                    <a:cubicBezTo>
                      <a:pt x="2192" y="235"/>
                      <a:pt x="2188" y="239"/>
                      <a:pt x="2182" y="241"/>
                    </a:cubicBezTo>
                    <a:cubicBezTo>
                      <a:pt x="2181" y="241"/>
                      <a:pt x="2180" y="241"/>
                      <a:pt x="2179" y="242"/>
                    </a:cubicBezTo>
                    <a:cubicBezTo>
                      <a:pt x="2166" y="244"/>
                      <a:pt x="2154" y="241"/>
                      <a:pt x="2143" y="234"/>
                    </a:cubicBezTo>
                    <a:cubicBezTo>
                      <a:pt x="2142" y="233"/>
                      <a:pt x="2142" y="232"/>
                      <a:pt x="2140" y="232"/>
                    </a:cubicBezTo>
                    <a:cubicBezTo>
                      <a:pt x="2140" y="232"/>
                      <a:pt x="2140" y="232"/>
                      <a:pt x="2140" y="232"/>
                    </a:cubicBezTo>
                    <a:close/>
                    <a:moveTo>
                      <a:pt x="900" y="251"/>
                    </a:moveTo>
                    <a:cubicBezTo>
                      <a:pt x="900" y="252"/>
                      <a:pt x="901" y="252"/>
                      <a:pt x="901" y="252"/>
                    </a:cubicBezTo>
                    <a:cubicBezTo>
                      <a:pt x="903" y="253"/>
                      <a:pt x="905" y="254"/>
                      <a:pt x="908" y="255"/>
                    </a:cubicBezTo>
                    <a:cubicBezTo>
                      <a:pt x="918" y="259"/>
                      <a:pt x="929" y="259"/>
                      <a:pt x="939" y="258"/>
                    </a:cubicBezTo>
                    <a:cubicBezTo>
                      <a:pt x="947" y="257"/>
                      <a:pt x="954" y="254"/>
                      <a:pt x="960" y="249"/>
                    </a:cubicBezTo>
                    <a:cubicBezTo>
                      <a:pt x="976" y="237"/>
                      <a:pt x="977" y="211"/>
                      <a:pt x="959" y="199"/>
                    </a:cubicBezTo>
                    <a:cubicBezTo>
                      <a:pt x="958" y="198"/>
                      <a:pt x="956" y="197"/>
                      <a:pt x="955" y="196"/>
                    </a:cubicBezTo>
                    <a:cubicBezTo>
                      <a:pt x="950" y="193"/>
                      <a:pt x="946" y="191"/>
                      <a:pt x="941" y="189"/>
                    </a:cubicBezTo>
                    <a:cubicBezTo>
                      <a:pt x="936" y="187"/>
                      <a:pt x="931" y="185"/>
                      <a:pt x="927" y="182"/>
                    </a:cubicBezTo>
                    <a:cubicBezTo>
                      <a:pt x="924" y="180"/>
                      <a:pt x="922" y="179"/>
                      <a:pt x="921" y="176"/>
                    </a:cubicBezTo>
                    <a:cubicBezTo>
                      <a:pt x="918" y="168"/>
                      <a:pt x="919" y="158"/>
                      <a:pt x="929" y="154"/>
                    </a:cubicBezTo>
                    <a:cubicBezTo>
                      <a:pt x="931" y="153"/>
                      <a:pt x="933" y="152"/>
                      <a:pt x="934" y="152"/>
                    </a:cubicBezTo>
                    <a:cubicBezTo>
                      <a:pt x="945" y="150"/>
                      <a:pt x="955" y="153"/>
                      <a:pt x="964" y="158"/>
                    </a:cubicBezTo>
                    <a:cubicBezTo>
                      <a:pt x="965" y="159"/>
                      <a:pt x="965" y="159"/>
                      <a:pt x="967" y="159"/>
                    </a:cubicBezTo>
                    <a:cubicBezTo>
                      <a:pt x="967" y="154"/>
                      <a:pt x="967" y="149"/>
                      <a:pt x="967" y="144"/>
                    </a:cubicBezTo>
                    <a:cubicBezTo>
                      <a:pt x="967" y="141"/>
                      <a:pt x="967" y="141"/>
                      <a:pt x="964" y="140"/>
                    </a:cubicBezTo>
                    <a:cubicBezTo>
                      <a:pt x="954" y="136"/>
                      <a:pt x="944" y="135"/>
                      <a:pt x="934" y="136"/>
                    </a:cubicBezTo>
                    <a:cubicBezTo>
                      <a:pt x="926" y="137"/>
                      <a:pt x="919" y="140"/>
                      <a:pt x="912" y="145"/>
                    </a:cubicBezTo>
                    <a:cubicBezTo>
                      <a:pt x="896" y="158"/>
                      <a:pt x="896" y="186"/>
                      <a:pt x="914" y="196"/>
                    </a:cubicBezTo>
                    <a:cubicBezTo>
                      <a:pt x="919" y="199"/>
                      <a:pt x="923" y="202"/>
                      <a:pt x="928" y="204"/>
                    </a:cubicBezTo>
                    <a:cubicBezTo>
                      <a:pt x="934" y="207"/>
                      <a:pt x="941" y="210"/>
                      <a:pt x="946" y="214"/>
                    </a:cubicBezTo>
                    <a:cubicBezTo>
                      <a:pt x="952" y="218"/>
                      <a:pt x="953" y="223"/>
                      <a:pt x="952" y="230"/>
                    </a:cubicBezTo>
                    <a:cubicBezTo>
                      <a:pt x="951" y="236"/>
                      <a:pt x="947" y="239"/>
                      <a:pt x="942" y="241"/>
                    </a:cubicBezTo>
                    <a:cubicBezTo>
                      <a:pt x="941" y="241"/>
                      <a:pt x="940" y="241"/>
                      <a:pt x="939" y="242"/>
                    </a:cubicBezTo>
                    <a:cubicBezTo>
                      <a:pt x="926" y="244"/>
                      <a:pt x="914" y="241"/>
                      <a:pt x="903" y="234"/>
                    </a:cubicBezTo>
                    <a:cubicBezTo>
                      <a:pt x="902" y="233"/>
                      <a:pt x="901" y="232"/>
                      <a:pt x="900" y="231"/>
                    </a:cubicBezTo>
                    <a:cubicBezTo>
                      <a:pt x="900" y="238"/>
                      <a:pt x="900" y="244"/>
                      <a:pt x="900" y="251"/>
                    </a:cubicBezTo>
                    <a:close/>
                    <a:moveTo>
                      <a:pt x="2127" y="143"/>
                    </a:moveTo>
                    <a:cubicBezTo>
                      <a:pt x="2127" y="142"/>
                      <a:pt x="2127" y="141"/>
                      <a:pt x="2126" y="141"/>
                    </a:cubicBezTo>
                    <a:cubicBezTo>
                      <a:pt x="2124" y="140"/>
                      <a:pt x="2122" y="139"/>
                      <a:pt x="2121" y="139"/>
                    </a:cubicBezTo>
                    <a:cubicBezTo>
                      <a:pt x="2110" y="135"/>
                      <a:pt x="2100" y="135"/>
                      <a:pt x="2089" y="136"/>
                    </a:cubicBezTo>
                    <a:cubicBezTo>
                      <a:pt x="2069" y="139"/>
                      <a:pt x="2055" y="149"/>
                      <a:pt x="2046" y="167"/>
                    </a:cubicBezTo>
                    <a:cubicBezTo>
                      <a:pt x="2037" y="185"/>
                      <a:pt x="2036" y="204"/>
                      <a:pt x="2043" y="223"/>
                    </a:cubicBezTo>
                    <a:cubicBezTo>
                      <a:pt x="2048" y="239"/>
                      <a:pt x="2059" y="250"/>
                      <a:pt x="2075" y="255"/>
                    </a:cubicBezTo>
                    <a:cubicBezTo>
                      <a:pt x="2085" y="259"/>
                      <a:pt x="2095" y="259"/>
                      <a:pt x="2106" y="258"/>
                    </a:cubicBezTo>
                    <a:cubicBezTo>
                      <a:pt x="2112" y="257"/>
                      <a:pt x="2119" y="255"/>
                      <a:pt x="2124" y="252"/>
                    </a:cubicBezTo>
                    <a:cubicBezTo>
                      <a:pt x="2126" y="251"/>
                      <a:pt x="2127" y="250"/>
                      <a:pt x="2127" y="248"/>
                    </a:cubicBezTo>
                    <a:cubicBezTo>
                      <a:pt x="2127" y="244"/>
                      <a:pt x="2127" y="239"/>
                      <a:pt x="2127" y="235"/>
                    </a:cubicBezTo>
                    <a:cubicBezTo>
                      <a:pt x="2127" y="234"/>
                      <a:pt x="2127" y="234"/>
                      <a:pt x="2126" y="233"/>
                    </a:cubicBezTo>
                    <a:cubicBezTo>
                      <a:pt x="2125" y="233"/>
                      <a:pt x="2125" y="234"/>
                      <a:pt x="2124" y="234"/>
                    </a:cubicBezTo>
                    <a:cubicBezTo>
                      <a:pt x="2115" y="240"/>
                      <a:pt x="2105" y="243"/>
                      <a:pt x="2094" y="242"/>
                    </a:cubicBezTo>
                    <a:cubicBezTo>
                      <a:pt x="2078" y="241"/>
                      <a:pt x="2067" y="233"/>
                      <a:pt x="2061" y="218"/>
                    </a:cubicBezTo>
                    <a:cubicBezTo>
                      <a:pt x="2056" y="205"/>
                      <a:pt x="2057" y="191"/>
                      <a:pt x="2062" y="177"/>
                    </a:cubicBezTo>
                    <a:cubicBezTo>
                      <a:pt x="2067" y="164"/>
                      <a:pt x="2076" y="155"/>
                      <a:pt x="2090" y="152"/>
                    </a:cubicBezTo>
                    <a:cubicBezTo>
                      <a:pt x="2102" y="150"/>
                      <a:pt x="2113" y="152"/>
                      <a:pt x="2124" y="159"/>
                    </a:cubicBezTo>
                    <a:cubicBezTo>
                      <a:pt x="2125" y="159"/>
                      <a:pt x="2125" y="160"/>
                      <a:pt x="2127" y="160"/>
                    </a:cubicBezTo>
                    <a:cubicBezTo>
                      <a:pt x="2127" y="154"/>
                      <a:pt x="2127" y="149"/>
                      <a:pt x="2127" y="143"/>
                    </a:cubicBezTo>
                    <a:close/>
                    <a:moveTo>
                      <a:pt x="684" y="234"/>
                    </a:moveTo>
                    <a:cubicBezTo>
                      <a:pt x="675" y="240"/>
                      <a:pt x="665" y="243"/>
                      <a:pt x="654" y="242"/>
                    </a:cubicBezTo>
                    <a:cubicBezTo>
                      <a:pt x="639" y="241"/>
                      <a:pt x="628" y="234"/>
                      <a:pt x="622" y="220"/>
                    </a:cubicBezTo>
                    <a:cubicBezTo>
                      <a:pt x="615" y="205"/>
                      <a:pt x="616" y="189"/>
                      <a:pt x="623" y="174"/>
                    </a:cubicBezTo>
                    <a:cubicBezTo>
                      <a:pt x="628" y="162"/>
                      <a:pt x="638" y="154"/>
                      <a:pt x="651" y="152"/>
                    </a:cubicBezTo>
                    <a:cubicBezTo>
                      <a:pt x="663" y="150"/>
                      <a:pt x="673" y="153"/>
                      <a:pt x="683" y="159"/>
                    </a:cubicBezTo>
                    <a:cubicBezTo>
                      <a:pt x="684" y="159"/>
                      <a:pt x="685" y="160"/>
                      <a:pt x="687" y="160"/>
                    </a:cubicBezTo>
                    <a:cubicBezTo>
                      <a:pt x="687" y="156"/>
                      <a:pt x="687" y="151"/>
                      <a:pt x="687" y="146"/>
                    </a:cubicBezTo>
                    <a:cubicBezTo>
                      <a:pt x="687" y="141"/>
                      <a:pt x="687" y="141"/>
                      <a:pt x="682" y="139"/>
                    </a:cubicBezTo>
                    <a:cubicBezTo>
                      <a:pt x="671" y="135"/>
                      <a:pt x="660" y="135"/>
                      <a:pt x="649" y="136"/>
                    </a:cubicBezTo>
                    <a:cubicBezTo>
                      <a:pt x="629" y="139"/>
                      <a:pt x="615" y="149"/>
                      <a:pt x="606" y="166"/>
                    </a:cubicBezTo>
                    <a:cubicBezTo>
                      <a:pt x="596" y="185"/>
                      <a:pt x="595" y="205"/>
                      <a:pt x="603" y="225"/>
                    </a:cubicBezTo>
                    <a:cubicBezTo>
                      <a:pt x="609" y="241"/>
                      <a:pt x="621" y="251"/>
                      <a:pt x="637" y="256"/>
                    </a:cubicBezTo>
                    <a:cubicBezTo>
                      <a:pt x="647" y="259"/>
                      <a:pt x="658" y="259"/>
                      <a:pt x="669" y="257"/>
                    </a:cubicBezTo>
                    <a:cubicBezTo>
                      <a:pt x="674" y="256"/>
                      <a:pt x="680" y="254"/>
                      <a:pt x="685" y="251"/>
                    </a:cubicBezTo>
                    <a:cubicBezTo>
                      <a:pt x="686" y="251"/>
                      <a:pt x="686" y="250"/>
                      <a:pt x="686" y="249"/>
                    </a:cubicBezTo>
                    <a:cubicBezTo>
                      <a:pt x="686" y="244"/>
                      <a:pt x="686" y="238"/>
                      <a:pt x="686" y="233"/>
                    </a:cubicBezTo>
                    <a:cubicBezTo>
                      <a:pt x="685" y="233"/>
                      <a:pt x="685" y="234"/>
                      <a:pt x="684" y="234"/>
                    </a:cubicBezTo>
                    <a:close/>
                    <a:moveTo>
                      <a:pt x="769" y="139"/>
                    </a:moveTo>
                    <a:cubicBezTo>
                      <a:pt x="769" y="138"/>
                      <a:pt x="768" y="137"/>
                      <a:pt x="767" y="137"/>
                    </a:cubicBezTo>
                    <a:cubicBezTo>
                      <a:pt x="756" y="135"/>
                      <a:pt x="746" y="136"/>
                      <a:pt x="738" y="144"/>
                    </a:cubicBezTo>
                    <a:cubicBezTo>
                      <a:pt x="733" y="149"/>
                      <a:pt x="730" y="154"/>
                      <a:pt x="728" y="159"/>
                    </a:cubicBezTo>
                    <a:cubicBezTo>
                      <a:pt x="728" y="160"/>
                      <a:pt x="728" y="161"/>
                      <a:pt x="727" y="162"/>
                    </a:cubicBezTo>
                    <a:cubicBezTo>
                      <a:pt x="727" y="155"/>
                      <a:pt x="727" y="148"/>
                      <a:pt x="727" y="142"/>
                    </a:cubicBezTo>
                    <a:cubicBezTo>
                      <a:pt x="727" y="138"/>
                      <a:pt x="727" y="138"/>
                      <a:pt x="723" y="138"/>
                    </a:cubicBezTo>
                    <a:cubicBezTo>
                      <a:pt x="719" y="138"/>
                      <a:pt x="715" y="138"/>
                      <a:pt x="711" y="138"/>
                    </a:cubicBezTo>
                    <a:cubicBezTo>
                      <a:pt x="707" y="138"/>
                      <a:pt x="708" y="138"/>
                      <a:pt x="708" y="142"/>
                    </a:cubicBezTo>
                    <a:cubicBezTo>
                      <a:pt x="708" y="179"/>
                      <a:pt x="708" y="215"/>
                      <a:pt x="708" y="252"/>
                    </a:cubicBezTo>
                    <a:cubicBezTo>
                      <a:pt x="708" y="252"/>
                      <a:pt x="708" y="253"/>
                      <a:pt x="708" y="253"/>
                    </a:cubicBezTo>
                    <a:cubicBezTo>
                      <a:pt x="708" y="256"/>
                      <a:pt x="708" y="256"/>
                      <a:pt x="710" y="256"/>
                    </a:cubicBezTo>
                    <a:cubicBezTo>
                      <a:pt x="713" y="256"/>
                      <a:pt x="717" y="256"/>
                      <a:pt x="720" y="256"/>
                    </a:cubicBezTo>
                    <a:cubicBezTo>
                      <a:pt x="722" y="256"/>
                      <a:pt x="723" y="256"/>
                      <a:pt x="725" y="256"/>
                    </a:cubicBezTo>
                    <a:cubicBezTo>
                      <a:pt x="726" y="256"/>
                      <a:pt x="727" y="255"/>
                      <a:pt x="727" y="254"/>
                    </a:cubicBezTo>
                    <a:cubicBezTo>
                      <a:pt x="726" y="253"/>
                      <a:pt x="727" y="252"/>
                      <a:pt x="727" y="252"/>
                    </a:cubicBezTo>
                    <a:cubicBezTo>
                      <a:pt x="727" y="233"/>
                      <a:pt x="727" y="214"/>
                      <a:pt x="727" y="195"/>
                    </a:cubicBezTo>
                    <a:cubicBezTo>
                      <a:pt x="727" y="191"/>
                      <a:pt x="727" y="186"/>
                      <a:pt x="728" y="182"/>
                    </a:cubicBezTo>
                    <a:cubicBezTo>
                      <a:pt x="729" y="174"/>
                      <a:pt x="732" y="167"/>
                      <a:pt x="737" y="162"/>
                    </a:cubicBezTo>
                    <a:cubicBezTo>
                      <a:pt x="741" y="157"/>
                      <a:pt x="747" y="154"/>
                      <a:pt x="753" y="154"/>
                    </a:cubicBezTo>
                    <a:cubicBezTo>
                      <a:pt x="758" y="153"/>
                      <a:pt x="764" y="154"/>
                      <a:pt x="769" y="157"/>
                    </a:cubicBezTo>
                    <a:cubicBezTo>
                      <a:pt x="769" y="151"/>
                      <a:pt x="769" y="145"/>
                      <a:pt x="769" y="139"/>
                    </a:cubicBezTo>
                    <a:close/>
                    <a:moveTo>
                      <a:pt x="576" y="158"/>
                    </a:moveTo>
                    <a:cubicBezTo>
                      <a:pt x="576" y="152"/>
                      <a:pt x="576" y="146"/>
                      <a:pt x="576" y="141"/>
                    </a:cubicBezTo>
                    <a:cubicBezTo>
                      <a:pt x="576" y="138"/>
                      <a:pt x="576" y="138"/>
                      <a:pt x="573" y="138"/>
                    </a:cubicBezTo>
                    <a:cubicBezTo>
                      <a:pt x="569" y="138"/>
                      <a:pt x="565" y="138"/>
                      <a:pt x="560" y="138"/>
                    </a:cubicBezTo>
                    <a:cubicBezTo>
                      <a:pt x="557" y="138"/>
                      <a:pt x="557" y="138"/>
                      <a:pt x="557" y="141"/>
                    </a:cubicBezTo>
                    <a:cubicBezTo>
                      <a:pt x="557" y="141"/>
                      <a:pt x="557" y="141"/>
                      <a:pt x="557" y="142"/>
                    </a:cubicBezTo>
                    <a:cubicBezTo>
                      <a:pt x="557" y="179"/>
                      <a:pt x="557" y="215"/>
                      <a:pt x="557" y="252"/>
                    </a:cubicBezTo>
                    <a:cubicBezTo>
                      <a:pt x="557" y="253"/>
                      <a:pt x="557" y="254"/>
                      <a:pt x="557" y="254"/>
                    </a:cubicBezTo>
                    <a:cubicBezTo>
                      <a:pt x="557" y="255"/>
                      <a:pt x="558" y="256"/>
                      <a:pt x="559" y="256"/>
                    </a:cubicBezTo>
                    <a:cubicBezTo>
                      <a:pt x="564" y="256"/>
                      <a:pt x="569" y="256"/>
                      <a:pt x="575" y="256"/>
                    </a:cubicBezTo>
                    <a:cubicBezTo>
                      <a:pt x="576" y="256"/>
                      <a:pt x="576" y="255"/>
                      <a:pt x="576" y="254"/>
                    </a:cubicBezTo>
                    <a:cubicBezTo>
                      <a:pt x="576" y="254"/>
                      <a:pt x="576" y="253"/>
                      <a:pt x="576" y="252"/>
                    </a:cubicBezTo>
                    <a:cubicBezTo>
                      <a:pt x="576" y="234"/>
                      <a:pt x="576" y="216"/>
                      <a:pt x="576" y="197"/>
                    </a:cubicBezTo>
                    <a:cubicBezTo>
                      <a:pt x="576" y="184"/>
                      <a:pt x="576" y="171"/>
                      <a:pt x="576" y="158"/>
                    </a:cubicBezTo>
                    <a:close/>
                    <a:moveTo>
                      <a:pt x="2013" y="256"/>
                    </a:moveTo>
                    <a:cubicBezTo>
                      <a:pt x="2017" y="256"/>
                      <a:pt x="2017" y="256"/>
                      <a:pt x="2017" y="252"/>
                    </a:cubicBezTo>
                    <a:cubicBezTo>
                      <a:pt x="2017" y="215"/>
                      <a:pt x="2017" y="179"/>
                      <a:pt x="2017" y="142"/>
                    </a:cubicBezTo>
                    <a:cubicBezTo>
                      <a:pt x="2017" y="141"/>
                      <a:pt x="2017" y="141"/>
                      <a:pt x="2017" y="140"/>
                    </a:cubicBezTo>
                    <a:cubicBezTo>
                      <a:pt x="2017" y="139"/>
                      <a:pt x="2016" y="138"/>
                      <a:pt x="2015" y="138"/>
                    </a:cubicBezTo>
                    <a:cubicBezTo>
                      <a:pt x="2010" y="138"/>
                      <a:pt x="2006" y="138"/>
                      <a:pt x="2002" y="138"/>
                    </a:cubicBezTo>
                    <a:cubicBezTo>
                      <a:pt x="1997" y="138"/>
                      <a:pt x="1998" y="137"/>
                      <a:pt x="1998" y="142"/>
                    </a:cubicBezTo>
                    <a:cubicBezTo>
                      <a:pt x="1998" y="179"/>
                      <a:pt x="1998" y="215"/>
                      <a:pt x="1998" y="252"/>
                    </a:cubicBezTo>
                    <a:cubicBezTo>
                      <a:pt x="1998" y="253"/>
                      <a:pt x="1998" y="254"/>
                      <a:pt x="1998" y="256"/>
                    </a:cubicBezTo>
                    <a:cubicBezTo>
                      <a:pt x="2003" y="256"/>
                      <a:pt x="2008" y="256"/>
                      <a:pt x="2013" y="256"/>
                    </a:cubicBezTo>
                    <a:close/>
                    <a:moveTo>
                      <a:pt x="1995" y="100"/>
                    </a:moveTo>
                    <a:cubicBezTo>
                      <a:pt x="1995" y="107"/>
                      <a:pt x="2000" y="112"/>
                      <a:pt x="2008" y="112"/>
                    </a:cubicBezTo>
                    <a:cubicBezTo>
                      <a:pt x="2015" y="112"/>
                      <a:pt x="2020" y="107"/>
                      <a:pt x="2020" y="100"/>
                    </a:cubicBezTo>
                    <a:cubicBezTo>
                      <a:pt x="2020" y="93"/>
                      <a:pt x="2015" y="87"/>
                      <a:pt x="2008" y="87"/>
                    </a:cubicBezTo>
                    <a:cubicBezTo>
                      <a:pt x="2001" y="87"/>
                      <a:pt x="1995" y="93"/>
                      <a:pt x="1995" y="100"/>
                    </a:cubicBezTo>
                    <a:close/>
                    <a:moveTo>
                      <a:pt x="555" y="100"/>
                    </a:moveTo>
                    <a:cubicBezTo>
                      <a:pt x="555" y="107"/>
                      <a:pt x="560" y="112"/>
                      <a:pt x="567" y="112"/>
                    </a:cubicBezTo>
                    <a:cubicBezTo>
                      <a:pt x="574" y="112"/>
                      <a:pt x="580" y="107"/>
                      <a:pt x="580" y="100"/>
                    </a:cubicBezTo>
                    <a:cubicBezTo>
                      <a:pt x="580" y="93"/>
                      <a:pt x="574" y="87"/>
                      <a:pt x="567" y="87"/>
                    </a:cubicBezTo>
                    <a:cubicBezTo>
                      <a:pt x="560" y="87"/>
                      <a:pt x="555" y="93"/>
                      <a:pt x="555" y="100"/>
                    </a:cubicBezTo>
                    <a:close/>
                    <a:moveTo>
                      <a:pt x="12" y="250"/>
                    </a:moveTo>
                    <a:cubicBezTo>
                      <a:pt x="12" y="250"/>
                      <a:pt x="12" y="250"/>
                      <a:pt x="12" y="250"/>
                    </a:cubicBezTo>
                    <a:cubicBezTo>
                      <a:pt x="16" y="249"/>
                      <a:pt x="19" y="248"/>
                      <a:pt x="22" y="246"/>
                    </a:cubicBezTo>
                    <a:cubicBezTo>
                      <a:pt x="22" y="246"/>
                      <a:pt x="21" y="246"/>
                      <a:pt x="21" y="245"/>
                    </a:cubicBezTo>
                    <a:cubicBezTo>
                      <a:pt x="18" y="246"/>
                      <a:pt x="15" y="248"/>
                      <a:pt x="12" y="250"/>
                    </a:cubicBezTo>
                    <a:cubicBezTo>
                      <a:pt x="12" y="250"/>
                      <a:pt x="12" y="250"/>
                      <a:pt x="12" y="250"/>
                    </a:cubicBezTo>
                    <a:close/>
                    <a:moveTo>
                      <a:pt x="22" y="240"/>
                    </a:moveTo>
                    <a:cubicBezTo>
                      <a:pt x="21" y="241"/>
                      <a:pt x="21" y="241"/>
                      <a:pt x="20" y="242"/>
                    </a:cubicBezTo>
                    <a:cubicBezTo>
                      <a:pt x="20" y="242"/>
                      <a:pt x="20" y="242"/>
                      <a:pt x="21" y="242"/>
                    </a:cubicBezTo>
                    <a:cubicBezTo>
                      <a:pt x="22" y="242"/>
                      <a:pt x="22" y="242"/>
                      <a:pt x="23" y="241"/>
                    </a:cubicBezTo>
                    <a:cubicBezTo>
                      <a:pt x="22" y="241"/>
                      <a:pt x="22" y="241"/>
                      <a:pt x="22" y="240"/>
                    </a:cubicBezTo>
                    <a:close/>
                    <a:moveTo>
                      <a:pt x="6" y="253"/>
                    </a:moveTo>
                    <a:cubicBezTo>
                      <a:pt x="6" y="253"/>
                      <a:pt x="6" y="253"/>
                      <a:pt x="6" y="253"/>
                    </a:cubicBezTo>
                    <a:cubicBezTo>
                      <a:pt x="6" y="253"/>
                      <a:pt x="6" y="253"/>
                      <a:pt x="6" y="253"/>
                    </a:cubicBezTo>
                    <a:cubicBezTo>
                      <a:pt x="6" y="252"/>
                      <a:pt x="6" y="252"/>
                      <a:pt x="6" y="252"/>
                    </a:cubicBezTo>
                    <a:cubicBezTo>
                      <a:pt x="6" y="252"/>
                      <a:pt x="5" y="252"/>
                      <a:pt x="5" y="252"/>
                    </a:cubicBezTo>
                    <a:cubicBezTo>
                      <a:pt x="4" y="253"/>
                      <a:pt x="3" y="254"/>
                      <a:pt x="2" y="255"/>
                    </a:cubicBezTo>
                    <a:cubicBezTo>
                      <a:pt x="3" y="255"/>
                      <a:pt x="4" y="255"/>
                      <a:pt x="5" y="254"/>
                    </a:cubicBezTo>
                    <a:cubicBezTo>
                      <a:pt x="5" y="253"/>
                      <a:pt x="6" y="253"/>
                      <a:pt x="6" y="253"/>
                    </a:cubicBezTo>
                    <a:close/>
                    <a:moveTo>
                      <a:pt x="17" y="243"/>
                    </a:moveTo>
                    <a:cubicBezTo>
                      <a:pt x="16" y="244"/>
                      <a:pt x="15" y="245"/>
                      <a:pt x="14" y="246"/>
                    </a:cubicBezTo>
                    <a:cubicBezTo>
                      <a:pt x="14" y="246"/>
                      <a:pt x="14" y="246"/>
                      <a:pt x="14" y="246"/>
                    </a:cubicBezTo>
                    <a:cubicBezTo>
                      <a:pt x="14" y="246"/>
                      <a:pt x="14" y="246"/>
                      <a:pt x="14" y="246"/>
                    </a:cubicBezTo>
                    <a:cubicBezTo>
                      <a:pt x="15" y="246"/>
                      <a:pt x="17" y="245"/>
                      <a:pt x="18" y="244"/>
                    </a:cubicBezTo>
                    <a:cubicBezTo>
                      <a:pt x="18" y="244"/>
                      <a:pt x="17" y="244"/>
                      <a:pt x="17" y="243"/>
                    </a:cubicBezTo>
                    <a:close/>
                    <a:moveTo>
                      <a:pt x="20" y="243"/>
                    </a:moveTo>
                    <a:cubicBezTo>
                      <a:pt x="20" y="243"/>
                      <a:pt x="21" y="242"/>
                      <a:pt x="21" y="242"/>
                    </a:cubicBezTo>
                    <a:cubicBezTo>
                      <a:pt x="21" y="242"/>
                      <a:pt x="21" y="242"/>
                      <a:pt x="21" y="242"/>
                    </a:cubicBezTo>
                    <a:cubicBezTo>
                      <a:pt x="21" y="242"/>
                      <a:pt x="20" y="242"/>
                      <a:pt x="20" y="242"/>
                    </a:cubicBezTo>
                    <a:cubicBezTo>
                      <a:pt x="19" y="242"/>
                      <a:pt x="18" y="243"/>
                      <a:pt x="17" y="243"/>
                    </a:cubicBezTo>
                    <a:cubicBezTo>
                      <a:pt x="17" y="244"/>
                      <a:pt x="18" y="244"/>
                      <a:pt x="18" y="244"/>
                    </a:cubicBezTo>
                    <a:cubicBezTo>
                      <a:pt x="19" y="244"/>
                      <a:pt x="19" y="243"/>
                      <a:pt x="20" y="243"/>
                    </a:cubicBezTo>
                    <a:close/>
                    <a:moveTo>
                      <a:pt x="10" y="249"/>
                    </a:moveTo>
                    <a:cubicBezTo>
                      <a:pt x="10" y="249"/>
                      <a:pt x="10" y="249"/>
                      <a:pt x="10" y="248"/>
                    </a:cubicBezTo>
                    <a:cubicBezTo>
                      <a:pt x="9" y="249"/>
                      <a:pt x="8" y="249"/>
                      <a:pt x="8" y="250"/>
                    </a:cubicBezTo>
                    <a:cubicBezTo>
                      <a:pt x="9" y="250"/>
                      <a:pt x="9" y="250"/>
                      <a:pt x="10" y="249"/>
                    </a:cubicBezTo>
                    <a:cubicBezTo>
                      <a:pt x="10" y="249"/>
                      <a:pt x="10" y="249"/>
                      <a:pt x="10" y="249"/>
                    </a:cubicBezTo>
                    <a:close/>
                    <a:moveTo>
                      <a:pt x="7" y="250"/>
                    </a:moveTo>
                    <a:cubicBezTo>
                      <a:pt x="7" y="251"/>
                      <a:pt x="6" y="251"/>
                      <a:pt x="6" y="252"/>
                    </a:cubicBezTo>
                    <a:cubicBezTo>
                      <a:pt x="6" y="252"/>
                      <a:pt x="6" y="252"/>
                      <a:pt x="6" y="252"/>
                    </a:cubicBezTo>
                    <a:cubicBezTo>
                      <a:pt x="6" y="252"/>
                      <a:pt x="6" y="252"/>
                      <a:pt x="6" y="252"/>
                    </a:cubicBezTo>
                    <a:cubicBezTo>
                      <a:pt x="7" y="252"/>
                      <a:pt x="7" y="252"/>
                      <a:pt x="7" y="252"/>
                    </a:cubicBezTo>
                    <a:cubicBezTo>
                      <a:pt x="7" y="252"/>
                      <a:pt x="7" y="251"/>
                      <a:pt x="7" y="251"/>
                    </a:cubicBezTo>
                    <a:cubicBezTo>
                      <a:pt x="8" y="251"/>
                      <a:pt x="8" y="250"/>
                      <a:pt x="7" y="250"/>
                    </a:cubicBezTo>
                    <a:close/>
                    <a:moveTo>
                      <a:pt x="14" y="246"/>
                    </a:moveTo>
                    <a:cubicBezTo>
                      <a:pt x="14" y="246"/>
                      <a:pt x="14" y="246"/>
                      <a:pt x="13" y="246"/>
                    </a:cubicBezTo>
                    <a:cubicBezTo>
                      <a:pt x="13" y="246"/>
                      <a:pt x="12" y="246"/>
                      <a:pt x="12" y="247"/>
                    </a:cubicBezTo>
                    <a:cubicBezTo>
                      <a:pt x="12" y="247"/>
                      <a:pt x="12" y="247"/>
                      <a:pt x="12" y="247"/>
                    </a:cubicBezTo>
                    <a:cubicBezTo>
                      <a:pt x="12" y="247"/>
                      <a:pt x="12" y="247"/>
                      <a:pt x="12" y="248"/>
                    </a:cubicBezTo>
                    <a:cubicBezTo>
                      <a:pt x="13" y="247"/>
                      <a:pt x="13" y="247"/>
                      <a:pt x="13" y="247"/>
                    </a:cubicBezTo>
                    <a:cubicBezTo>
                      <a:pt x="14" y="247"/>
                      <a:pt x="14" y="247"/>
                      <a:pt x="14" y="246"/>
                    </a:cubicBezTo>
                    <a:close/>
                    <a:moveTo>
                      <a:pt x="12" y="247"/>
                    </a:moveTo>
                    <a:cubicBezTo>
                      <a:pt x="11" y="247"/>
                      <a:pt x="11" y="248"/>
                      <a:pt x="10" y="248"/>
                    </a:cubicBezTo>
                    <a:cubicBezTo>
                      <a:pt x="10" y="248"/>
                      <a:pt x="10" y="248"/>
                      <a:pt x="10" y="248"/>
                    </a:cubicBezTo>
                    <a:cubicBezTo>
                      <a:pt x="10" y="249"/>
                      <a:pt x="10" y="249"/>
                      <a:pt x="10" y="249"/>
                    </a:cubicBezTo>
                    <a:cubicBezTo>
                      <a:pt x="11" y="249"/>
                      <a:pt x="11" y="248"/>
                      <a:pt x="12" y="248"/>
                    </a:cubicBezTo>
                    <a:cubicBezTo>
                      <a:pt x="12" y="248"/>
                      <a:pt x="12" y="247"/>
                      <a:pt x="12" y="247"/>
                    </a:cubicBezTo>
                    <a:close/>
                    <a:moveTo>
                      <a:pt x="10" y="251"/>
                    </a:moveTo>
                    <a:cubicBezTo>
                      <a:pt x="10" y="251"/>
                      <a:pt x="11" y="251"/>
                      <a:pt x="11" y="251"/>
                    </a:cubicBezTo>
                    <a:cubicBezTo>
                      <a:pt x="12" y="251"/>
                      <a:pt x="12" y="251"/>
                      <a:pt x="12" y="250"/>
                    </a:cubicBezTo>
                    <a:cubicBezTo>
                      <a:pt x="12" y="250"/>
                      <a:pt x="12" y="250"/>
                      <a:pt x="12" y="250"/>
                    </a:cubicBezTo>
                    <a:cubicBezTo>
                      <a:pt x="11" y="250"/>
                      <a:pt x="11" y="250"/>
                      <a:pt x="10" y="251"/>
                    </a:cubicBezTo>
                    <a:close/>
                    <a:moveTo>
                      <a:pt x="9" y="251"/>
                    </a:moveTo>
                    <a:cubicBezTo>
                      <a:pt x="9" y="251"/>
                      <a:pt x="9" y="251"/>
                      <a:pt x="9" y="251"/>
                    </a:cubicBezTo>
                    <a:cubicBezTo>
                      <a:pt x="9" y="252"/>
                      <a:pt x="9" y="252"/>
                      <a:pt x="9" y="252"/>
                    </a:cubicBezTo>
                    <a:cubicBezTo>
                      <a:pt x="10" y="252"/>
                      <a:pt x="11" y="251"/>
                      <a:pt x="11" y="251"/>
                    </a:cubicBezTo>
                    <a:cubicBezTo>
                      <a:pt x="11" y="251"/>
                      <a:pt x="10" y="251"/>
                      <a:pt x="10" y="251"/>
                    </a:cubicBezTo>
                    <a:cubicBezTo>
                      <a:pt x="10" y="251"/>
                      <a:pt x="9" y="251"/>
                      <a:pt x="9" y="251"/>
                    </a:cubicBezTo>
                    <a:close/>
                    <a:moveTo>
                      <a:pt x="7" y="252"/>
                    </a:moveTo>
                    <a:cubicBezTo>
                      <a:pt x="7" y="252"/>
                      <a:pt x="7" y="253"/>
                      <a:pt x="7" y="253"/>
                    </a:cubicBezTo>
                    <a:cubicBezTo>
                      <a:pt x="8" y="253"/>
                      <a:pt x="8" y="252"/>
                      <a:pt x="9" y="252"/>
                    </a:cubicBezTo>
                    <a:cubicBezTo>
                      <a:pt x="9" y="252"/>
                      <a:pt x="9" y="252"/>
                      <a:pt x="9" y="252"/>
                    </a:cubicBezTo>
                    <a:cubicBezTo>
                      <a:pt x="9" y="252"/>
                      <a:pt x="9" y="252"/>
                      <a:pt x="9" y="251"/>
                    </a:cubicBezTo>
                    <a:cubicBezTo>
                      <a:pt x="8" y="252"/>
                      <a:pt x="8" y="252"/>
                      <a:pt x="7" y="252"/>
                    </a:cubicBezTo>
                    <a:cubicBezTo>
                      <a:pt x="7" y="252"/>
                      <a:pt x="7" y="252"/>
                      <a:pt x="7" y="252"/>
                    </a:cubicBezTo>
                    <a:close/>
                    <a:moveTo>
                      <a:pt x="7" y="252"/>
                    </a:moveTo>
                    <a:cubicBezTo>
                      <a:pt x="7" y="252"/>
                      <a:pt x="7" y="252"/>
                      <a:pt x="7" y="252"/>
                    </a:cubicBezTo>
                    <a:cubicBezTo>
                      <a:pt x="7" y="252"/>
                      <a:pt x="6" y="252"/>
                      <a:pt x="6" y="253"/>
                    </a:cubicBezTo>
                    <a:cubicBezTo>
                      <a:pt x="6" y="253"/>
                      <a:pt x="6" y="253"/>
                      <a:pt x="6" y="253"/>
                    </a:cubicBezTo>
                    <a:cubicBezTo>
                      <a:pt x="7" y="253"/>
                      <a:pt x="7" y="253"/>
                      <a:pt x="7" y="253"/>
                    </a:cubicBezTo>
                    <a:cubicBezTo>
                      <a:pt x="7" y="252"/>
                      <a:pt x="7" y="252"/>
                      <a:pt x="7" y="252"/>
                    </a:cubicBezTo>
                    <a:cubicBezTo>
                      <a:pt x="7" y="252"/>
                      <a:pt x="7" y="252"/>
                      <a:pt x="7" y="252"/>
                    </a:cubicBezTo>
                    <a:close/>
                    <a:moveTo>
                      <a:pt x="6" y="253"/>
                    </a:moveTo>
                    <a:cubicBezTo>
                      <a:pt x="6" y="253"/>
                      <a:pt x="5" y="253"/>
                      <a:pt x="5" y="254"/>
                    </a:cubicBezTo>
                    <a:cubicBezTo>
                      <a:pt x="5" y="254"/>
                      <a:pt x="6" y="254"/>
                      <a:pt x="6" y="253"/>
                    </a:cubicBezTo>
                    <a:close/>
                    <a:moveTo>
                      <a:pt x="14" y="246"/>
                    </a:moveTo>
                    <a:cubicBezTo>
                      <a:pt x="14" y="246"/>
                      <a:pt x="14" y="246"/>
                      <a:pt x="14" y="246"/>
                    </a:cubicBezTo>
                    <a:cubicBezTo>
                      <a:pt x="14" y="246"/>
                      <a:pt x="14" y="246"/>
                      <a:pt x="13" y="246"/>
                    </a:cubicBezTo>
                    <a:cubicBezTo>
                      <a:pt x="13" y="246"/>
                      <a:pt x="13" y="246"/>
                      <a:pt x="13" y="247"/>
                    </a:cubicBezTo>
                    <a:cubicBezTo>
                      <a:pt x="14" y="247"/>
                      <a:pt x="14" y="246"/>
                      <a:pt x="14" y="246"/>
                    </a:cubicBezTo>
                    <a:close/>
                    <a:moveTo>
                      <a:pt x="12" y="248"/>
                    </a:moveTo>
                    <a:cubicBezTo>
                      <a:pt x="12" y="247"/>
                      <a:pt x="12" y="247"/>
                      <a:pt x="12" y="247"/>
                    </a:cubicBezTo>
                    <a:cubicBezTo>
                      <a:pt x="12" y="247"/>
                      <a:pt x="12" y="247"/>
                      <a:pt x="12" y="247"/>
                    </a:cubicBezTo>
                    <a:cubicBezTo>
                      <a:pt x="12" y="247"/>
                      <a:pt x="12" y="248"/>
                      <a:pt x="12" y="248"/>
                    </a:cubicBezTo>
                    <a:cubicBezTo>
                      <a:pt x="12" y="248"/>
                      <a:pt x="12" y="248"/>
                      <a:pt x="12" y="248"/>
                    </a:cubicBezTo>
                    <a:close/>
                    <a:moveTo>
                      <a:pt x="10" y="248"/>
                    </a:moveTo>
                    <a:cubicBezTo>
                      <a:pt x="10" y="249"/>
                      <a:pt x="10" y="249"/>
                      <a:pt x="10" y="249"/>
                    </a:cubicBezTo>
                    <a:cubicBezTo>
                      <a:pt x="10" y="249"/>
                      <a:pt x="10" y="249"/>
                      <a:pt x="10" y="249"/>
                    </a:cubicBezTo>
                    <a:cubicBezTo>
                      <a:pt x="10" y="249"/>
                      <a:pt x="10" y="248"/>
                      <a:pt x="10" y="248"/>
                    </a:cubicBezTo>
                    <a:cubicBezTo>
                      <a:pt x="10" y="248"/>
                      <a:pt x="10" y="248"/>
                      <a:pt x="10" y="248"/>
                    </a:cubicBezTo>
                    <a:close/>
                    <a:moveTo>
                      <a:pt x="8" y="250"/>
                    </a:moveTo>
                    <a:cubicBezTo>
                      <a:pt x="8" y="250"/>
                      <a:pt x="8" y="250"/>
                      <a:pt x="7" y="250"/>
                    </a:cubicBezTo>
                    <a:cubicBezTo>
                      <a:pt x="7" y="250"/>
                      <a:pt x="7" y="251"/>
                      <a:pt x="7" y="251"/>
                    </a:cubicBezTo>
                    <a:cubicBezTo>
                      <a:pt x="8" y="251"/>
                      <a:pt x="8" y="251"/>
                      <a:pt x="8" y="250"/>
                    </a:cubicBezTo>
                    <a:close/>
                    <a:moveTo>
                      <a:pt x="9" y="252"/>
                    </a:moveTo>
                    <a:cubicBezTo>
                      <a:pt x="9" y="252"/>
                      <a:pt x="9" y="251"/>
                      <a:pt x="9" y="251"/>
                    </a:cubicBezTo>
                    <a:cubicBezTo>
                      <a:pt x="9" y="251"/>
                      <a:pt x="9" y="251"/>
                      <a:pt x="9" y="251"/>
                    </a:cubicBezTo>
                    <a:cubicBezTo>
                      <a:pt x="9" y="252"/>
                      <a:pt x="9" y="252"/>
                      <a:pt x="9" y="252"/>
                    </a:cubicBezTo>
                    <a:cubicBezTo>
                      <a:pt x="9" y="252"/>
                      <a:pt x="9" y="252"/>
                      <a:pt x="9" y="252"/>
                    </a:cubicBezTo>
                    <a:close/>
                    <a:moveTo>
                      <a:pt x="6" y="252"/>
                    </a:moveTo>
                    <a:cubicBezTo>
                      <a:pt x="6" y="252"/>
                      <a:pt x="6" y="252"/>
                      <a:pt x="6" y="252"/>
                    </a:cubicBezTo>
                    <a:cubicBezTo>
                      <a:pt x="6" y="252"/>
                      <a:pt x="6" y="252"/>
                      <a:pt x="6" y="252"/>
                    </a:cubicBezTo>
                    <a:cubicBezTo>
                      <a:pt x="5" y="252"/>
                      <a:pt x="5" y="252"/>
                      <a:pt x="5" y="252"/>
                    </a:cubicBezTo>
                    <a:cubicBezTo>
                      <a:pt x="5" y="252"/>
                      <a:pt x="5" y="252"/>
                      <a:pt x="5" y="253"/>
                    </a:cubicBezTo>
                    <a:cubicBezTo>
                      <a:pt x="6" y="253"/>
                      <a:pt x="6" y="252"/>
                      <a:pt x="6" y="252"/>
                    </a:cubicBezTo>
                    <a:close/>
                    <a:moveTo>
                      <a:pt x="21" y="242"/>
                    </a:moveTo>
                    <a:cubicBezTo>
                      <a:pt x="21" y="242"/>
                      <a:pt x="20" y="243"/>
                      <a:pt x="20" y="243"/>
                    </a:cubicBezTo>
                    <a:cubicBezTo>
                      <a:pt x="20" y="243"/>
                      <a:pt x="21" y="243"/>
                      <a:pt x="21" y="242"/>
                    </a:cubicBezTo>
                    <a:close/>
                    <a:moveTo>
                      <a:pt x="6" y="253"/>
                    </a:moveTo>
                    <a:cubicBezTo>
                      <a:pt x="6" y="252"/>
                      <a:pt x="7" y="252"/>
                      <a:pt x="7" y="252"/>
                    </a:cubicBezTo>
                    <a:cubicBezTo>
                      <a:pt x="6" y="252"/>
                      <a:pt x="6" y="252"/>
                      <a:pt x="6" y="252"/>
                    </a:cubicBezTo>
                    <a:cubicBezTo>
                      <a:pt x="6" y="252"/>
                      <a:pt x="5" y="252"/>
                      <a:pt x="5" y="253"/>
                    </a:cubicBezTo>
                    <a:cubicBezTo>
                      <a:pt x="6" y="253"/>
                      <a:pt x="6" y="253"/>
                      <a:pt x="6" y="253"/>
                    </a:cubicBezTo>
                    <a:close/>
                    <a:moveTo>
                      <a:pt x="1433" y="197"/>
                    </a:moveTo>
                    <a:cubicBezTo>
                      <a:pt x="1425" y="224"/>
                      <a:pt x="1408" y="241"/>
                      <a:pt x="1383" y="250"/>
                    </a:cubicBezTo>
                    <a:cubicBezTo>
                      <a:pt x="1372" y="254"/>
                      <a:pt x="1361" y="256"/>
                      <a:pt x="1350" y="256"/>
                    </a:cubicBezTo>
                    <a:cubicBezTo>
                      <a:pt x="1335" y="256"/>
                      <a:pt x="1321" y="256"/>
                      <a:pt x="1307" y="256"/>
                    </a:cubicBezTo>
                    <a:cubicBezTo>
                      <a:pt x="1306" y="256"/>
                      <a:pt x="1306" y="256"/>
                      <a:pt x="1305" y="256"/>
                    </a:cubicBezTo>
                    <a:cubicBezTo>
                      <a:pt x="1304" y="256"/>
                      <a:pt x="1304" y="255"/>
                      <a:pt x="1304" y="254"/>
                    </a:cubicBezTo>
                    <a:cubicBezTo>
                      <a:pt x="1304" y="253"/>
                      <a:pt x="1304" y="253"/>
                      <a:pt x="1304" y="252"/>
                    </a:cubicBezTo>
                    <a:cubicBezTo>
                      <a:pt x="1304" y="226"/>
                      <a:pt x="1304" y="199"/>
                      <a:pt x="1304" y="173"/>
                    </a:cubicBezTo>
                    <a:cubicBezTo>
                      <a:pt x="1304" y="147"/>
                      <a:pt x="1304" y="122"/>
                      <a:pt x="1304" y="96"/>
                    </a:cubicBezTo>
                    <a:cubicBezTo>
                      <a:pt x="1304" y="95"/>
                      <a:pt x="1304" y="94"/>
                      <a:pt x="1304" y="94"/>
                    </a:cubicBezTo>
                    <a:cubicBezTo>
                      <a:pt x="1304" y="91"/>
                      <a:pt x="1304" y="91"/>
                      <a:pt x="1307" y="91"/>
                    </a:cubicBezTo>
                    <a:cubicBezTo>
                      <a:pt x="1322" y="91"/>
                      <a:pt x="1338" y="91"/>
                      <a:pt x="1353" y="91"/>
                    </a:cubicBezTo>
                    <a:cubicBezTo>
                      <a:pt x="1366" y="92"/>
                      <a:pt x="1378" y="93"/>
                      <a:pt x="1390" y="97"/>
                    </a:cubicBezTo>
                    <a:cubicBezTo>
                      <a:pt x="1412" y="105"/>
                      <a:pt x="1426" y="120"/>
                      <a:pt x="1432" y="142"/>
                    </a:cubicBezTo>
                    <a:cubicBezTo>
                      <a:pt x="1437" y="160"/>
                      <a:pt x="1438" y="179"/>
                      <a:pt x="1433" y="197"/>
                    </a:cubicBezTo>
                    <a:close/>
                    <a:moveTo>
                      <a:pt x="1412" y="147"/>
                    </a:moveTo>
                    <a:cubicBezTo>
                      <a:pt x="1408" y="131"/>
                      <a:pt x="1397" y="120"/>
                      <a:pt x="1381" y="114"/>
                    </a:cubicBezTo>
                    <a:cubicBezTo>
                      <a:pt x="1372" y="110"/>
                      <a:pt x="1363" y="109"/>
                      <a:pt x="1353" y="109"/>
                    </a:cubicBezTo>
                    <a:cubicBezTo>
                      <a:pt x="1344" y="109"/>
                      <a:pt x="1335" y="109"/>
                      <a:pt x="1326" y="109"/>
                    </a:cubicBezTo>
                    <a:cubicBezTo>
                      <a:pt x="1325" y="109"/>
                      <a:pt x="1325" y="109"/>
                      <a:pt x="1325" y="109"/>
                    </a:cubicBezTo>
                    <a:cubicBezTo>
                      <a:pt x="1324" y="109"/>
                      <a:pt x="1323" y="109"/>
                      <a:pt x="1323" y="110"/>
                    </a:cubicBezTo>
                    <a:cubicBezTo>
                      <a:pt x="1323" y="111"/>
                      <a:pt x="1323" y="112"/>
                      <a:pt x="1323" y="112"/>
                    </a:cubicBezTo>
                    <a:cubicBezTo>
                      <a:pt x="1323" y="133"/>
                      <a:pt x="1323" y="153"/>
                      <a:pt x="1323" y="173"/>
                    </a:cubicBezTo>
                    <a:cubicBezTo>
                      <a:pt x="1323" y="194"/>
                      <a:pt x="1323" y="215"/>
                      <a:pt x="1323" y="235"/>
                    </a:cubicBezTo>
                    <a:cubicBezTo>
                      <a:pt x="1323" y="238"/>
                      <a:pt x="1323" y="238"/>
                      <a:pt x="1326" y="238"/>
                    </a:cubicBezTo>
                    <a:cubicBezTo>
                      <a:pt x="1333" y="238"/>
                      <a:pt x="1339" y="238"/>
                      <a:pt x="1346" y="238"/>
                    </a:cubicBezTo>
                    <a:cubicBezTo>
                      <a:pt x="1354" y="238"/>
                      <a:pt x="1363" y="238"/>
                      <a:pt x="1371" y="236"/>
                    </a:cubicBezTo>
                    <a:cubicBezTo>
                      <a:pt x="1391" y="230"/>
                      <a:pt x="1406" y="218"/>
                      <a:pt x="1412" y="198"/>
                    </a:cubicBezTo>
                    <a:cubicBezTo>
                      <a:pt x="1417" y="181"/>
                      <a:pt x="1417" y="164"/>
                      <a:pt x="1412" y="147"/>
                    </a:cubicBezTo>
                    <a:close/>
                    <a:moveTo>
                      <a:pt x="1772" y="256"/>
                    </a:moveTo>
                    <a:cubicBezTo>
                      <a:pt x="1769" y="256"/>
                      <a:pt x="1765" y="256"/>
                      <a:pt x="1762" y="256"/>
                    </a:cubicBezTo>
                    <a:cubicBezTo>
                      <a:pt x="1760" y="256"/>
                      <a:pt x="1757" y="256"/>
                      <a:pt x="1756" y="255"/>
                    </a:cubicBezTo>
                    <a:cubicBezTo>
                      <a:pt x="1755" y="254"/>
                      <a:pt x="1756" y="251"/>
                      <a:pt x="1756" y="249"/>
                    </a:cubicBezTo>
                    <a:cubicBezTo>
                      <a:pt x="1756" y="245"/>
                      <a:pt x="1756" y="242"/>
                      <a:pt x="1756" y="238"/>
                    </a:cubicBezTo>
                    <a:cubicBezTo>
                      <a:pt x="1754" y="238"/>
                      <a:pt x="1754" y="239"/>
                      <a:pt x="1754" y="240"/>
                    </a:cubicBezTo>
                    <a:cubicBezTo>
                      <a:pt x="1749" y="248"/>
                      <a:pt x="1742" y="254"/>
                      <a:pt x="1733" y="256"/>
                    </a:cubicBezTo>
                    <a:cubicBezTo>
                      <a:pt x="1723" y="260"/>
                      <a:pt x="1713" y="259"/>
                      <a:pt x="1703" y="256"/>
                    </a:cubicBezTo>
                    <a:cubicBezTo>
                      <a:pt x="1690" y="251"/>
                      <a:pt x="1682" y="240"/>
                      <a:pt x="1682" y="226"/>
                    </a:cubicBezTo>
                    <a:cubicBezTo>
                      <a:pt x="1682" y="222"/>
                      <a:pt x="1682" y="217"/>
                      <a:pt x="1683" y="213"/>
                    </a:cubicBezTo>
                    <a:cubicBezTo>
                      <a:pt x="1685" y="203"/>
                      <a:pt x="1692" y="196"/>
                      <a:pt x="1701" y="192"/>
                    </a:cubicBezTo>
                    <a:cubicBezTo>
                      <a:pt x="1707" y="189"/>
                      <a:pt x="1714" y="187"/>
                      <a:pt x="1721" y="186"/>
                    </a:cubicBezTo>
                    <a:cubicBezTo>
                      <a:pt x="1731" y="185"/>
                      <a:pt x="1742" y="183"/>
                      <a:pt x="1752" y="182"/>
                    </a:cubicBezTo>
                    <a:cubicBezTo>
                      <a:pt x="1756" y="181"/>
                      <a:pt x="1756" y="181"/>
                      <a:pt x="1755" y="178"/>
                    </a:cubicBezTo>
                    <a:cubicBezTo>
                      <a:pt x="1755" y="175"/>
                      <a:pt x="1755" y="172"/>
                      <a:pt x="1754" y="168"/>
                    </a:cubicBezTo>
                    <a:cubicBezTo>
                      <a:pt x="1751" y="157"/>
                      <a:pt x="1744" y="152"/>
                      <a:pt x="1732" y="152"/>
                    </a:cubicBezTo>
                    <a:cubicBezTo>
                      <a:pt x="1719" y="151"/>
                      <a:pt x="1707" y="155"/>
                      <a:pt x="1696" y="164"/>
                    </a:cubicBezTo>
                    <a:cubicBezTo>
                      <a:pt x="1695" y="164"/>
                      <a:pt x="1695" y="165"/>
                      <a:pt x="1693" y="165"/>
                    </a:cubicBezTo>
                    <a:cubicBezTo>
                      <a:pt x="1693" y="159"/>
                      <a:pt x="1693" y="154"/>
                      <a:pt x="1693" y="148"/>
                    </a:cubicBezTo>
                    <a:cubicBezTo>
                      <a:pt x="1693" y="147"/>
                      <a:pt x="1694" y="146"/>
                      <a:pt x="1695" y="145"/>
                    </a:cubicBezTo>
                    <a:cubicBezTo>
                      <a:pt x="1696" y="145"/>
                      <a:pt x="1697" y="144"/>
                      <a:pt x="1699" y="143"/>
                    </a:cubicBezTo>
                    <a:cubicBezTo>
                      <a:pt x="1711" y="138"/>
                      <a:pt x="1724" y="135"/>
                      <a:pt x="1738" y="136"/>
                    </a:cubicBezTo>
                    <a:cubicBezTo>
                      <a:pt x="1742" y="136"/>
                      <a:pt x="1746" y="137"/>
                      <a:pt x="1750" y="138"/>
                    </a:cubicBezTo>
                    <a:cubicBezTo>
                      <a:pt x="1763" y="142"/>
                      <a:pt x="1770" y="151"/>
                      <a:pt x="1773" y="163"/>
                    </a:cubicBezTo>
                    <a:cubicBezTo>
                      <a:pt x="1774" y="169"/>
                      <a:pt x="1774" y="175"/>
                      <a:pt x="1774" y="181"/>
                    </a:cubicBezTo>
                    <a:cubicBezTo>
                      <a:pt x="1775" y="205"/>
                      <a:pt x="1775" y="229"/>
                      <a:pt x="1775" y="253"/>
                    </a:cubicBezTo>
                    <a:cubicBezTo>
                      <a:pt x="1775" y="256"/>
                      <a:pt x="1775" y="256"/>
                      <a:pt x="1772" y="256"/>
                    </a:cubicBezTo>
                    <a:close/>
                    <a:moveTo>
                      <a:pt x="1756" y="204"/>
                    </a:moveTo>
                    <a:cubicBezTo>
                      <a:pt x="1756" y="202"/>
                      <a:pt x="1756" y="200"/>
                      <a:pt x="1756" y="199"/>
                    </a:cubicBezTo>
                    <a:cubicBezTo>
                      <a:pt x="1756" y="196"/>
                      <a:pt x="1756" y="196"/>
                      <a:pt x="1753" y="197"/>
                    </a:cubicBezTo>
                    <a:cubicBezTo>
                      <a:pt x="1753" y="197"/>
                      <a:pt x="1753" y="197"/>
                      <a:pt x="1753" y="197"/>
                    </a:cubicBezTo>
                    <a:cubicBezTo>
                      <a:pt x="1746" y="198"/>
                      <a:pt x="1739" y="199"/>
                      <a:pt x="1732" y="200"/>
                    </a:cubicBezTo>
                    <a:cubicBezTo>
                      <a:pt x="1726" y="201"/>
                      <a:pt x="1720" y="201"/>
                      <a:pt x="1714" y="203"/>
                    </a:cubicBezTo>
                    <a:cubicBezTo>
                      <a:pt x="1706" y="206"/>
                      <a:pt x="1702" y="211"/>
                      <a:pt x="1701" y="219"/>
                    </a:cubicBezTo>
                    <a:cubicBezTo>
                      <a:pt x="1700" y="231"/>
                      <a:pt x="1706" y="239"/>
                      <a:pt x="1717" y="242"/>
                    </a:cubicBezTo>
                    <a:cubicBezTo>
                      <a:pt x="1736" y="246"/>
                      <a:pt x="1749" y="234"/>
                      <a:pt x="1753" y="221"/>
                    </a:cubicBezTo>
                    <a:cubicBezTo>
                      <a:pt x="1755" y="216"/>
                      <a:pt x="1756" y="210"/>
                      <a:pt x="1756" y="204"/>
                    </a:cubicBezTo>
                    <a:close/>
                    <a:moveTo>
                      <a:pt x="1099" y="203"/>
                    </a:moveTo>
                    <a:cubicBezTo>
                      <a:pt x="1098" y="211"/>
                      <a:pt x="1097" y="219"/>
                      <a:pt x="1093" y="226"/>
                    </a:cubicBezTo>
                    <a:cubicBezTo>
                      <a:pt x="1084" y="245"/>
                      <a:pt x="1070" y="256"/>
                      <a:pt x="1049" y="258"/>
                    </a:cubicBezTo>
                    <a:cubicBezTo>
                      <a:pt x="1040" y="259"/>
                      <a:pt x="1031" y="259"/>
                      <a:pt x="1022" y="256"/>
                    </a:cubicBezTo>
                    <a:cubicBezTo>
                      <a:pt x="1005" y="251"/>
                      <a:pt x="994" y="240"/>
                      <a:pt x="988" y="224"/>
                    </a:cubicBezTo>
                    <a:cubicBezTo>
                      <a:pt x="981" y="205"/>
                      <a:pt x="982" y="186"/>
                      <a:pt x="990" y="167"/>
                    </a:cubicBezTo>
                    <a:cubicBezTo>
                      <a:pt x="997" y="150"/>
                      <a:pt x="1010" y="140"/>
                      <a:pt x="1028" y="137"/>
                    </a:cubicBezTo>
                    <a:cubicBezTo>
                      <a:pt x="1033" y="136"/>
                      <a:pt x="1038" y="135"/>
                      <a:pt x="1044" y="135"/>
                    </a:cubicBezTo>
                    <a:cubicBezTo>
                      <a:pt x="1051" y="135"/>
                      <a:pt x="1059" y="136"/>
                      <a:pt x="1067" y="140"/>
                    </a:cubicBezTo>
                    <a:cubicBezTo>
                      <a:pt x="1081" y="145"/>
                      <a:pt x="1090" y="156"/>
                      <a:pt x="1095" y="170"/>
                    </a:cubicBezTo>
                    <a:cubicBezTo>
                      <a:pt x="1099" y="180"/>
                      <a:pt x="1100" y="192"/>
                      <a:pt x="1099" y="203"/>
                    </a:cubicBezTo>
                    <a:close/>
                    <a:moveTo>
                      <a:pt x="1079" y="189"/>
                    </a:moveTo>
                    <a:cubicBezTo>
                      <a:pt x="1079" y="183"/>
                      <a:pt x="1078" y="178"/>
                      <a:pt x="1075" y="172"/>
                    </a:cubicBezTo>
                    <a:cubicBezTo>
                      <a:pt x="1071" y="162"/>
                      <a:pt x="1064" y="156"/>
                      <a:pt x="1053" y="153"/>
                    </a:cubicBezTo>
                    <a:cubicBezTo>
                      <a:pt x="1049" y="152"/>
                      <a:pt x="1044" y="151"/>
                      <a:pt x="1039" y="152"/>
                    </a:cubicBezTo>
                    <a:cubicBezTo>
                      <a:pt x="1023" y="152"/>
                      <a:pt x="1011" y="161"/>
                      <a:pt x="1006" y="177"/>
                    </a:cubicBezTo>
                    <a:cubicBezTo>
                      <a:pt x="1004" y="183"/>
                      <a:pt x="1003" y="190"/>
                      <a:pt x="1003" y="198"/>
                    </a:cubicBezTo>
                    <a:cubicBezTo>
                      <a:pt x="1003" y="201"/>
                      <a:pt x="1003" y="205"/>
                      <a:pt x="1004" y="208"/>
                    </a:cubicBezTo>
                    <a:cubicBezTo>
                      <a:pt x="1004" y="210"/>
                      <a:pt x="1004" y="212"/>
                      <a:pt x="1005" y="214"/>
                    </a:cubicBezTo>
                    <a:cubicBezTo>
                      <a:pt x="1009" y="227"/>
                      <a:pt x="1016" y="237"/>
                      <a:pt x="1030" y="241"/>
                    </a:cubicBezTo>
                    <a:cubicBezTo>
                      <a:pt x="1035" y="243"/>
                      <a:pt x="1042" y="243"/>
                      <a:pt x="1048" y="242"/>
                    </a:cubicBezTo>
                    <a:cubicBezTo>
                      <a:pt x="1060" y="241"/>
                      <a:pt x="1069" y="235"/>
                      <a:pt x="1075" y="223"/>
                    </a:cubicBezTo>
                    <a:cubicBezTo>
                      <a:pt x="1076" y="221"/>
                      <a:pt x="1077" y="219"/>
                      <a:pt x="1077" y="217"/>
                    </a:cubicBezTo>
                    <a:cubicBezTo>
                      <a:pt x="1080" y="208"/>
                      <a:pt x="1080" y="198"/>
                      <a:pt x="1079" y="189"/>
                    </a:cubicBezTo>
                    <a:close/>
                    <a:moveTo>
                      <a:pt x="886" y="195"/>
                    </a:moveTo>
                    <a:cubicBezTo>
                      <a:pt x="886" y="206"/>
                      <a:pt x="885" y="218"/>
                      <a:pt x="879" y="228"/>
                    </a:cubicBezTo>
                    <a:cubicBezTo>
                      <a:pt x="870" y="246"/>
                      <a:pt x="855" y="256"/>
                      <a:pt x="836" y="258"/>
                    </a:cubicBezTo>
                    <a:cubicBezTo>
                      <a:pt x="826" y="259"/>
                      <a:pt x="817" y="259"/>
                      <a:pt x="808" y="256"/>
                    </a:cubicBezTo>
                    <a:cubicBezTo>
                      <a:pt x="791" y="251"/>
                      <a:pt x="780" y="239"/>
                      <a:pt x="774" y="223"/>
                    </a:cubicBezTo>
                    <a:cubicBezTo>
                      <a:pt x="768" y="205"/>
                      <a:pt x="769" y="186"/>
                      <a:pt x="776" y="169"/>
                    </a:cubicBezTo>
                    <a:cubicBezTo>
                      <a:pt x="784" y="150"/>
                      <a:pt x="798" y="139"/>
                      <a:pt x="819" y="136"/>
                    </a:cubicBezTo>
                    <a:cubicBezTo>
                      <a:pt x="828" y="135"/>
                      <a:pt x="837" y="135"/>
                      <a:pt x="846" y="137"/>
                    </a:cubicBezTo>
                    <a:cubicBezTo>
                      <a:pt x="865" y="142"/>
                      <a:pt x="876" y="154"/>
                      <a:pt x="882" y="172"/>
                    </a:cubicBezTo>
                    <a:cubicBezTo>
                      <a:pt x="885" y="179"/>
                      <a:pt x="886" y="186"/>
                      <a:pt x="886" y="195"/>
                    </a:cubicBezTo>
                    <a:close/>
                    <a:moveTo>
                      <a:pt x="867" y="198"/>
                    </a:moveTo>
                    <a:cubicBezTo>
                      <a:pt x="867" y="190"/>
                      <a:pt x="866" y="183"/>
                      <a:pt x="864" y="176"/>
                    </a:cubicBezTo>
                    <a:cubicBezTo>
                      <a:pt x="860" y="164"/>
                      <a:pt x="852" y="156"/>
                      <a:pt x="840" y="153"/>
                    </a:cubicBezTo>
                    <a:cubicBezTo>
                      <a:pt x="836" y="152"/>
                      <a:pt x="831" y="151"/>
                      <a:pt x="827" y="152"/>
                    </a:cubicBezTo>
                    <a:cubicBezTo>
                      <a:pt x="811" y="152"/>
                      <a:pt x="799" y="161"/>
                      <a:pt x="793" y="176"/>
                    </a:cubicBezTo>
                    <a:cubicBezTo>
                      <a:pt x="788" y="189"/>
                      <a:pt x="788" y="203"/>
                      <a:pt x="793" y="217"/>
                    </a:cubicBezTo>
                    <a:cubicBezTo>
                      <a:pt x="796" y="229"/>
                      <a:pt x="804" y="237"/>
                      <a:pt x="816" y="241"/>
                    </a:cubicBezTo>
                    <a:cubicBezTo>
                      <a:pt x="822" y="242"/>
                      <a:pt x="827" y="243"/>
                      <a:pt x="833" y="242"/>
                    </a:cubicBezTo>
                    <a:cubicBezTo>
                      <a:pt x="847" y="241"/>
                      <a:pt x="857" y="234"/>
                      <a:pt x="862" y="221"/>
                    </a:cubicBezTo>
                    <a:cubicBezTo>
                      <a:pt x="866" y="214"/>
                      <a:pt x="867" y="205"/>
                      <a:pt x="867" y="198"/>
                    </a:cubicBezTo>
                    <a:close/>
                  </a:path>
                </a:pathLst>
              </a:custGeom>
              <a:solidFill>
                <a:schemeClr val="bg1"/>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sz="1800" kern="0">
                  <a:solidFill>
                    <a:prstClr val="black"/>
                  </a:solidFill>
                </a:endParaRPr>
              </a:p>
            </p:txBody>
          </p:sp>
          <p:sp>
            <p:nvSpPr>
              <p:cNvPr id="72" name="Freeform 26"/>
              <p:cNvSpPr>
                <a:spLocks noChangeAspect="1" noEditPoints="1"/>
              </p:cNvSpPr>
              <p:nvPr/>
            </p:nvSpPr>
            <p:spPr bwMode="black">
              <a:xfrm>
                <a:off x="1962380" y="2610463"/>
                <a:ext cx="999521" cy="220466"/>
              </a:xfrm>
              <a:custGeom>
                <a:avLst/>
                <a:gdLst>
                  <a:gd name="T0" fmla="*/ 1225 w 3933"/>
                  <a:gd name="T1" fmla="*/ 701 h 865"/>
                  <a:gd name="T2" fmla="*/ 1013 w 3933"/>
                  <a:gd name="T3" fmla="*/ 295 h 865"/>
                  <a:gd name="T4" fmla="*/ 1442 w 3933"/>
                  <a:gd name="T5" fmla="*/ 291 h 865"/>
                  <a:gd name="T6" fmla="*/ 1229 w 3933"/>
                  <a:gd name="T7" fmla="*/ 220 h 865"/>
                  <a:gd name="T8" fmla="*/ 1068 w 3933"/>
                  <a:gd name="T9" fmla="*/ 545 h 865"/>
                  <a:gd name="T10" fmla="*/ 1409 w 3933"/>
                  <a:gd name="T11" fmla="*/ 435 h 865"/>
                  <a:gd name="T12" fmla="*/ 1633 w 3933"/>
                  <a:gd name="T13" fmla="*/ 322 h 865"/>
                  <a:gd name="T14" fmla="*/ 1633 w 3933"/>
                  <a:gd name="T15" fmla="*/ 692 h 865"/>
                  <a:gd name="T16" fmla="*/ 1511 w 3933"/>
                  <a:gd name="T17" fmla="*/ 322 h 865"/>
                  <a:gd name="T18" fmla="*/ 1692 w 3933"/>
                  <a:gd name="T19" fmla="*/ 136 h 865"/>
                  <a:gd name="T20" fmla="*/ 1899 w 3933"/>
                  <a:gd name="T21" fmla="*/ 186 h 865"/>
                  <a:gd name="T22" fmla="*/ 1924 w 3933"/>
                  <a:gd name="T23" fmla="*/ 372 h 865"/>
                  <a:gd name="T24" fmla="*/ 1777 w 3933"/>
                  <a:gd name="T25" fmla="*/ 372 h 865"/>
                  <a:gd name="T26" fmla="*/ 1777 w 3933"/>
                  <a:gd name="T27" fmla="*/ 262 h 865"/>
                  <a:gd name="T28" fmla="*/ 1938 w 3933"/>
                  <a:gd name="T29" fmla="*/ 196 h 865"/>
                  <a:gd name="T30" fmla="*/ 1981 w 3933"/>
                  <a:gd name="T31" fmla="*/ 217 h 865"/>
                  <a:gd name="T32" fmla="*/ 2037 w 3933"/>
                  <a:gd name="T33" fmla="*/ 162 h 865"/>
                  <a:gd name="T34" fmla="*/ 1978 w 3933"/>
                  <a:gd name="T35" fmla="*/ 322 h 865"/>
                  <a:gd name="T36" fmla="*/ 2275 w 3933"/>
                  <a:gd name="T37" fmla="*/ 701 h 865"/>
                  <a:gd name="T38" fmla="*/ 2151 w 3933"/>
                  <a:gd name="T39" fmla="*/ 369 h 865"/>
                  <a:gd name="T40" fmla="*/ 2289 w 3933"/>
                  <a:gd name="T41" fmla="*/ 364 h 865"/>
                  <a:gd name="T42" fmla="*/ 2285 w 3933"/>
                  <a:gd name="T43" fmla="*/ 651 h 865"/>
                  <a:gd name="T44" fmla="*/ 2480 w 3933"/>
                  <a:gd name="T45" fmla="*/ 522 h 865"/>
                  <a:gd name="T46" fmla="*/ 2716 w 3933"/>
                  <a:gd name="T47" fmla="*/ 666 h 865"/>
                  <a:gd name="T48" fmla="*/ 2441 w 3933"/>
                  <a:gd name="T49" fmla="*/ 408 h 865"/>
                  <a:gd name="T50" fmla="*/ 2742 w 3933"/>
                  <a:gd name="T51" fmla="*/ 491 h 865"/>
                  <a:gd name="T52" fmla="*/ 2588 w 3933"/>
                  <a:gd name="T53" fmla="*/ 364 h 865"/>
                  <a:gd name="T54" fmla="*/ 3193 w 3933"/>
                  <a:gd name="T55" fmla="*/ 546 h 865"/>
                  <a:gd name="T56" fmla="*/ 2892 w 3933"/>
                  <a:gd name="T57" fmla="*/ 610 h 865"/>
                  <a:gd name="T58" fmla="*/ 2987 w 3933"/>
                  <a:gd name="T59" fmla="*/ 449 h 865"/>
                  <a:gd name="T60" fmla="*/ 3113 w 3933"/>
                  <a:gd name="T61" fmla="*/ 304 h 865"/>
                  <a:gd name="T62" fmla="*/ 3030 w 3933"/>
                  <a:gd name="T63" fmla="*/ 165 h 865"/>
                  <a:gd name="T64" fmla="*/ 3070 w 3933"/>
                  <a:gd name="T65" fmla="*/ 422 h 865"/>
                  <a:gd name="T66" fmla="*/ 3563 w 3933"/>
                  <a:gd name="T67" fmla="*/ 617 h 865"/>
                  <a:gd name="T68" fmla="*/ 3254 w 3933"/>
                  <a:gd name="T69" fmla="*/ 464 h 865"/>
                  <a:gd name="T70" fmla="*/ 3552 w 3933"/>
                  <a:gd name="T71" fmla="*/ 180 h 865"/>
                  <a:gd name="T72" fmla="*/ 3316 w 3933"/>
                  <a:gd name="T73" fmla="*/ 441 h 865"/>
                  <a:gd name="T74" fmla="*/ 3584 w 3933"/>
                  <a:gd name="T75" fmla="*/ 528 h 865"/>
                  <a:gd name="T76" fmla="*/ 3349 w 3933"/>
                  <a:gd name="T77" fmla="*/ 449 h 865"/>
                  <a:gd name="T78" fmla="*/ 3495 w 3933"/>
                  <a:gd name="T79" fmla="*/ 619 h 865"/>
                  <a:gd name="T80" fmla="*/ 3749 w 3933"/>
                  <a:gd name="T81" fmla="*/ 701 h 865"/>
                  <a:gd name="T82" fmla="*/ 3838 w 3933"/>
                  <a:gd name="T83" fmla="*/ 620 h 865"/>
                  <a:gd name="T84" fmla="*/ 3651 w 3933"/>
                  <a:gd name="T85" fmla="*/ 434 h 865"/>
                  <a:gd name="T86" fmla="*/ 3721 w 3933"/>
                  <a:gd name="T87" fmla="*/ 227 h 865"/>
                  <a:gd name="T88" fmla="*/ 3933 w 3933"/>
                  <a:gd name="T89" fmla="*/ 534 h 865"/>
                  <a:gd name="T90" fmla="*/ 464 w 3933"/>
                  <a:gd name="T91" fmla="*/ 0 h 865"/>
                  <a:gd name="T92" fmla="*/ 158 w 3933"/>
                  <a:gd name="T93" fmla="*/ 632 h 865"/>
                  <a:gd name="T94" fmla="*/ 1 w 3933"/>
                  <a:gd name="T95" fmla="*/ 694 h 865"/>
                  <a:gd name="T96" fmla="*/ 722 w 3933"/>
                  <a:gd name="T97" fmla="*/ 793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933" h="865">
                    <a:moveTo>
                      <a:pt x="1472" y="427"/>
                    </a:moveTo>
                    <a:cubicBezTo>
                      <a:pt x="1472" y="482"/>
                      <a:pt x="1462" y="530"/>
                      <a:pt x="1442" y="572"/>
                    </a:cubicBezTo>
                    <a:cubicBezTo>
                      <a:pt x="1422" y="613"/>
                      <a:pt x="1393" y="645"/>
                      <a:pt x="1355" y="668"/>
                    </a:cubicBezTo>
                    <a:cubicBezTo>
                      <a:pt x="1318" y="690"/>
                      <a:pt x="1274" y="701"/>
                      <a:pt x="1225" y="701"/>
                    </a:cubicBezTo>
                    <a:cubicBezTo>
                      <a:pt x="1177" y="701"/>
                      <a:pt x="1135" y="691"/>
                      <a:pt x="1098" y="669"/>
                    </a:cubicBezTo>
                    <a:cubicBezTo>
                      <a:pt x="1061" y="647"/>
                      <a:pt x="1033" y="616"/>
                      <a:pt x="1012" y="576"/>
                    </a:cubicBezTo>
                    <a:cubicBezTo>
                      <a:pt x="992" y="536"/>
                      <a:pt x="982" y="490"/>
                      <a:pt x="982" y="439"/>
                    </a:cubicBezTo>
                    <a:cubicBezTo>
                      <a:pt x="982" y="384"/>
                      <a:pt x="992" y="336"/>
                      <a:pt x="1013" y="295"/>
                    </a:cubicBezTo>
                    <a:cubicBezTo>
                      <a:pt x="1033" y="253"/>
                      <a:pt x="1063" y="221"/>
                      <a:pt x="1101" y="199"/>
                    </a:cubicBezTo>
                    <a:cubicBezTo>
                      <a:pt x="1139" y="176"/>
                      <a:pt x="1184" y="165"/>
                      <a:pt x="1234" y="165"/>
                    </a:cubicBezTo>
                    <a:cubicBezTo>
                      <a:pt x="1280" y="165"/>
                      <a:pt x="1321" y="176"/>
                      <a:pt x="1358" y="198"/>
                    </a:cubicBezTo>
                    <a:cubicBezTo>
                      <a:pt x="1394" y="220"/>
                      <a:pt x="1423" y="251"/>
                      <a:pt x="1442" y="291"/>
                    </a:cubicBezTo>
                    <a:cubicBezTo>
                      <a:pt x="1462" y="330"/>
                      <a:pt x="1472" y="376"/>
                      <a:pt x="1472" y="427"/>
                    </a:cubicBezTo>
                    <a:close/>
                    <a:moveTo>
                      <a:pt x="1409" y="435"/>
                    </a:moveTo>
                    <a:cubicBezTo>
                      <a:pt x="1409" y="367"/>
                      <a:pt x="1393" y="314"/>
                      <a:pt x="1361" y="276"/>
                    </a:cubicBezTo>
                    <a:cubicBezTo>
                      <a:pt x="1330" y="239"/>
                      <a:pt x="1286" y="220"/>
                      <a:pt x="1229" y="220"/>
                    </a:cubicBezTo>
                    <a:cubicBezTo>
                      <a:pt x="1194" y="220"/>
                      <a:pt x="1162" y="229"/>
                      <a:pt x="1134" y="247"/>
                    </a:cubicBezTo>
                    <a:cubicBezTo>
                      <a:pt x="1106" y="265"/>
                      <a:pt x="1084" y="290"/>
                      <a:pt x="1069" y="323"/>
                    </a:cubicBezTo>
                    <a:cubicBezTo>
                      <a:pt x="1053" y="356"/>
                      <a:pt x="1046" y="393"/>
                      <a:pt x="1046" y="434"/>
                    </a:cubicBezTo>
                    <a:cubicBezTo>
                      <a:pt x="1046" y="475"/>
                      <a:pt x="1053" y="512"/>
                      <a:pt x="1068" y="545"/>
                    </a:cubicBezTo>
                    <a:cubicBezTo>
                      <a:pt x="1083" y="577"/>
                      <a:pt x="1104" y="602"/>
                      <a:pt x="1131" y="620"/>
                    </a:cubicBezTo>
                    <a:cubicBezTo>
                      <a:pt x="1159" y="638"/>
                      <a:pt x="1190" y="646"/>
                      <a:pt x="1225" y="646"/>
                    </a:cubicBezTo>
                    <a:cubicBezTo>
                      <a:pt x="1282" y="646"/>
                      <a:pt x="1327" y="628"/>
                      <a:pt x="1360" y="590"/>
                    </a:cubicBezTo>
                    <a:cubicBezTo>
                      <a:pt x="1392" y="552"/>
                      <a:pt x="1409" y="501"/>
                      <a:pt x="1409" y="435"/>
                    </a:cubicBezTo>
                    <a:close/>
                    <a:moveTo>
                      <a:pt x="1735" y="196"/>
                    </a:moveTo>
                    <a:cubicBezTo>
                      <a:pt x="1723" y="190"/>
                      <a:pt x="1710" y="186"/>
                      <a:pt x="1695" y="186"/>
                    </a:cubicBezTo>
                    <a:cubicBezTo>
                      <a:pt x="1654" y="186"/>
                      <a:pt x="1633" y="213"/>
                      <a:pt x="1633" y="265"/>
                    </a:cubicBezTo>
                    <a:cubicBezTo>
                      <a:pt x="1633" y="322"/>
                      <a:pt x="1633" y="322"/>
                      <a:pt x="1633" y="322"/>
                    </a:cubicBezTo>
                    <a:cubicBezTo>
                      <a:pt x="1720" y="322"/>
                      <a:pt x="1720" y="322"/>
                      <a:pt x="1720" y="322"/>
                    </a:cubicBezTo>
                    <a:cubicBezTo>
                      <a:pt x="1720" y="372"/>
                      <a:pt x="1720" y="372"/>
                      <a:pt x="1720" y="372"/>
                    </a:cubicBezTo>
                    <a:cubicBezTo>
                      <a:pt x="1633" y="372"/>
                      <a:pt x="1633" y="372"/>
                      <a:pt x="1633" y="372"/>
                    </a:cubicBezTo>
                    <a:cubicBezTo>
                      <a:pt x="1633" y="692"/>
                      <a:pt x="1633" y="692"/>
                      <a:pt x="1633" y="692"/>
                    </a:cubicBezTo>
                    <a:cubicBezTo>
                      <a:pt x="1574" y="692"/>
                      <a:pt x="1574" y="692"/>
                      <a:pt x="1574" y="692"/>
                    </a:cubicBezTo>
                    <a:cubicBezTo>
                      <a:pt x="1574" y="372"/>
                      <a:pt x="1574" y="372"/>
                      <a:pt x="1574" y="372"/>
                    </a:cubicBezTo>
                    <a:cubicBezTo>
                      <a:pt x="1511" y="372"/>
                      <a:pt x="1511" y="372"/>
                      <a:pt x="1511" y="372"/>
                    </a:cubicBezTo>
                    <a:cubicBezTo>
                      <a:pt x="1511" y="322"/>
                      <a:pt x="1511" y="322"/>
                      <a:pt x="1511" y="322"/>
                    </a:cubicBezTo>
                    <a:cubicBezTo>
                      <a:pt x="1574" y="322"/>
                      <a:pt x="1574" y="322"/>
                      <a:pt x="1574" y="322"/>
                    </a:cubicBezTo>
                    <a:cubicBezTo>
                      <a:pt x="1574" y="262"/>
                      <a:pt x="1574" y="262"/>
                      <a:pt x="1574" y="262"/>
                    </a:cubicBezTo>
                    <a:cubicBezTo>
                      <a:pt x="1574" y="224"/>
                      <a:pt x="1585" y="194"/>
                      <a:pt x="1607" y="171"/>
                    </a:cubicBezTo>
                    <a:cubicBezTo>
                      <a:pt x="1629" y="148"/>
                      <a:pt x="1657" y="136"/>
                      <a:pt x="1692" y="136"/>
                    </a:cubicBezTo>
                    <a:cubicBezTo>
                      <a:pt x="1710" y="136"/>
                      <a:pt x="1724" y="138"/>
                      <a:pt x="1735" y="143"/>
                    </a:cubicBezTo>
                    <a:lnTo>
                      <a:pt x="1735" y="196"/>
                    </a:lnTo>
                    <a:close/>
                    <a:moveTo>
                      <a:pt x="1938" y="196"/>
                    </a:moveTo>
                    <a:cubicBezTo>
                      <a:pt x="1927" y="190"/>
                      <a:pt x="1914" y="186"/>
                      <a:pt x="1899" y="186"/>
                    </a:cubicBezTo>
                    <a:cubicBezTo>
                      <a:pt x="1858" y="186"/>
                      <a:pt x="1837" y="213"/>
                      <a:pt x="1837" y="265"/>
                    </a:cubicBezTo>
                    <a:cubicBezTo>
                      <a:pt x="1837" y="322"/>
                      <a:pt x="1837" y="322"/>
                      <a:pt x="1837" y="322"/>
                    </a:cubicBezTo>
                    <a:cubicBezTo>
                      <a:pt x="1924" y="322"/>
                      <a:pt x="1924" y="322"/>
                      <a:pt x="1924" y="322"/>
                    </a:cubicBezTo>
                    <a:cubicBezTo>
                      <a:pt x="1924" y="372"/>
                      <a:pt x="1924" y="372"/>
                      <a:pt x="1924" y="372"/>
                    </a:cubicBezTo>
                    <a:cubicBezTo>
                      <a:pt x="1837" y="372"/>
                      <a:pt x="1837" y="372"/>
                      <a:pt x="1837" y="372"/>
                    </a:cubicBezTo>
                    <a:cubicBezTo>
                      <a:pt x="1837" y="692"/>
                      <a:pt x="1837" y="692"/>
                      <a:pt x="1837" y="692"/>
                    </a:cubicBezTo>
                    <a:cubicBezTo>
                      <a:pt x="1777" y="692"/>
                      <a:pt x="1777" y="692"/>
                      <a:pt x="1777" y="692"/>
                    </a:cubicBezTo>
                    <a:cubicBezTo>
                      <a:pt x="1777" y="372"/>
                      <a:pt x="1777" y="372"/>
                      <a:pt x="1777" y="372"/>
                    </a:cubicBezTo>
                    <a:cubicBezTo>
                      <a:pt x="1715" y="372"/>
                      <a:pt x="1715" y="372"/>
                      <a:pt x="1715" y="372"/>
                    </a:cubicBezTo>
                    <a:cubicBezTo>
                      <a:pt x="1715" y="322"/>
                      <a:pt x="1715" y="322"/>
                      <a:pt x="1715" y="322"/>
                    </a:cubicBezTo>
                    <a:cubicBezTo>
                      <a:pt x="1777" y="322"/>
                      <a:pt x="1777" y="322"/>
                      <a:pt x="1777" y="322"/>
                    </a:cubicBezTo>
                    <a:cubicBezTo>
                      <a:pt x="1777" y="262"/>
                      <a:pt x="1777" y="262"/>
                      <a:pt x="1777" y="262"/>
                    </a:cubicBezTo>
                    <a:cubicBezTo>
                      <a:pt x="1777" y="224"/>
                      <a:pt x="1789" y="194"/>
                      <a:pt x="1811" y="171"/>
                    </a:cubicBezTo>
                    <a:cubicBezTo>
                      <a:pt x="1833" y="148"/>
                      <a:pt x="1861" y="136"/>
                      <a:pt x="1895" y="136"/>
                    </a:cubicBezTo>
                    <a:cubicBezTo>
                      <a:pt x="1913" y="136"/>
                      <a:pt x="1928" y="138"/>
                      <a:pt x="1938" y="143"/>
                    </a:cubicBezTo>
                    <a:lnTo>
                      <a:pt x="1938" y="196"/>
                    </a:lnTo>
                    <a:close/>
                    <a:moveTo>
                      <a:pt x="2048" y="189"/>
                    </a:moveTo>
                    <a:cubicBezTo>
                      <a:pt x="2048" y="200"/>
                      <a:pt x="2044" y="210"/>
                      <a:pt x="2036" y="217"/>
                    </a:cubicBezTo>
                    <a:cubicBezTo>
                      <a:pt x="2029" y="224"/>
                      <a:pt x="2019" y="228"/>
                      <a:pt x="2009" y="228"/>
                    </a:cubicBezTo>
                    <a:cubicBezTo>
                      <a:pt x="1998" y="228"/>
                      <a:pt x="1989" y="224"/>
                      <a:pt x="1981" y="217"/>
                    </a:cubicBezTo>
                    <a:cubicBezTo>
                      <a:pt x="1974" y="210"/>
                      <a:pt x="1970" y="201"/>
                      <a:pt x="1970" y="189"/>
                    </a:cubicBezTo>
                    <a:cubicBezTo>
                      <a:pt x="1970" y="179"/>
                      <a:pt x="1974" y="170"/>
                      <a:pt x="1981" y="162"/>
                    </a:cubicBezTo>
                    <a:cubicBezTo>
                      <a:pt x="1988" y="155"/>
                      <a:pt x="1998" y="151"/>
                      <a:pt x="2009" y="151"/>
                    </a:cubicBezTo>
                    <a:cubicBezTo>
                      <a:pt x="2020" y="151"/>
                      <a:pt x="2029" y="155"/>
                      <a:pt x="2037" y="162"/>
                    </a:cubicBezTo>
                    <a:cubicBezTo>
                      <a:pt x="2044" y="170"/>
                      <a:pt x="2048" y="179"/>
                      <a:pt x="2048" y="189"/>
                    </a:cubicBezTo>
                    <a:close/>
                    <a:moveTo>
                      <a:pt x="2038" y="692"/>
                    </a:moveTo>
                    <a:cubicBezTo>
                      <a:pt x="1978" y="692"/>
                      <a:pt x="1978" y="692"/>
                      <a:pt x="1978" y="692"/>
                    </a:cubicBezTo>
                    <a:cubicBezTo>
                      <a:pt x="1978" y="322"/>
                      <a:pt x="1978" y="322"/>
                      <a:pt x="1978" y="322"/>
                    </a:cubicBezTo>
                    <a:cubicBezTo>
                      <a:pt x="2038" y="322"/>
                      <a:pt x="2038" y="322"/>
                      <a:pt x="2038" y="322"/>
                    </a:cubicBezTo>
                    <a:lnTo>
                      <a:pt x="2038" y="692"/>
                    </a:lnTo>
                    <a:close/>
                    <a:moveTo>
                      <a:pt x="2376" y="675"/>
                    </a:moveTo>
                    <a:cubicBezTo>
                      <a:pt x="2348" y="693"/>
                      <a:pt x="2314" y="701"/>
                      <a:pt x="2275" y="701"/>
                    </a:cubicBezTo>
                    <a:cubicBezTo>
                      <a:pt x="2241" y="701"/>
                      <a:pt x="2211" y="694"/>
                      <a:pt x="2184" y="678"/>
                    </a:cubicBezTo>
                    <a:cubicBezTo>
                      <a:pt x="2157" y="663"/>
                      <a:pt x="2136" y="641"/>
                      <a:pt x="2121" y="612"/>
                    </a:cubicBezTo>
                    <a:cubicBezTo>
                      <a:pt x="2106" y="584"/>
                      <a:pt x="2099" y="552"/>
                      <a:pt x="2099" y="516"/>
                    </a:cubicBezTo>
                    <a:cubicBezTo>
                      <a:pt x="2099" y="455"/>
                      <a:pt x="2116" y="406"/>
                      <a:pt x="2151" y="369"/>
                    </a:cubicBezTo>
                    <a:cubicBezTo>
                      <a:pt x="2186" y="332"/>
                      <a:pt x="2233" y="313"/>
                      <a:pt x="2291" y="313"/>
                    </a:cubicBezTo>
                    <a:cubicBezTo>
                      <a:pt x="2324" y="313"/>
                      <a:pt x="2352" y="319"/>
                      <a:pt x="2377" y="332"/>
                    </a:cubicBezTo>
                    <a:cubicBezTo>
                      <a:pt x="2377" y="393"/>
                      <a:pt x="2377" y="393"/>
                      <a:pt x="2377" y="393"/>
                    </a:cubicBezTo>
                    <a:cubicBezTo>
                      <a:pt x="2349" y="373"/>
                      <a:pt x="2320" y="364"/>
                      <a:pt x="2289" y="364"/>
                    </a:cubicBezTo>
                    <a:cubicBezTo>
                      <a:pt x="2250" y="364"/>
                      <a:pt x="2219" y="377"/>
                      <a:pt x="2195" y="405"/>
                    </a:cubicBezTo>
                    <a:cubicBezTo>
                      <a:pt x="2171" y="432"/>
                      <a:pt x="2159" y="467"/>
                      <a:pt x="2159" y="511"/>
                    </a:cubicBezTo>
                    <a:cubicBezTo>
                      <a:pt x="2159" y="554"/>
                      <a:pt x="2171" y="588"/>
                      <a:pt x="2193" y="613"/>
                    </a:cubicBezTo>
                    <a:cubicBezTo>
                      <a:pt x="2216" y="638"/>
                      <a:pt x="2247" y="651"/>
                      <a:pt x="2285" y="651"/>
                    </a:cubicBezTo>
                    <a:cubicBezTo>
                      <a:pt x="2317" y="651"/>
                      <a:pt x="2348" y="640"/>
                      <a:pt x="2376" y="619"/>
                    </a:cubicBezTo>
                    <a:lnTo>
                      <a:pt x="2376" y="675"/>
                    </a:lnTo>
                    <a:close/>
                    <a:moveTo>
                      <a:pt x="2742" y="522"/>
                    </a:moveTo>
                    <a:cubicBezTo>
                      <a:pt x="2480" y="522"/>
                      <a:pt x="2480" y="522"/>
                      <a:pt x="2480" y="522"/>
                    </a:cubicBezTo>
                    <a:cubicBezTo>
                      <a:pt x="2481" y="564"/>
                      <a:pt x="2492" y="596"/>
                      <a:pt x="2513" y="618"/>
                    </a:cubicBezTo>
                    <a:cubicBezTo>
                      <a:pt x="2534" y="640"/>
                      <a:pt x="2564" y="651"/>
                      <a:pt x="2601" y="651"/>
                    </a:cubicBezTo>
                    <a:cubicBezTo>
                      <a:pt x="2643" y="651"/>
                      <a:pt x="2681" y="637"/>
                      <a:pt x="2716" y="610"/>
                    </a:cubicBezTo>
                    <a:cubicBezTo>
                      <a:pt x="2716" y="666"/>
                      <a:pt x="2716" y="666"/>
                      <a:pt x="2716" y="666"/>
                    </a:cubicBezTo>
                    <a:cubicBezTo>
                      <a:pt x="2683" y="689"/>
                      <a:pt x="2640" y="701"/>
                      <a:pt x="2587" y="701"/>
                    </a:cubicBezTo>
                    <a:cubicBezTo>
                      <a:pt x="2534" y="701"/>
                      <a:pt x="2493" y="684"/>
                      <a:pt x="2463" y="650"/>
                    </a:cubicBezTo>
                    <a:cubicBezTo>
                      <a:pt x="2433" y="616"/>
                      <a:pt x="2419" y="569"/>
                      <a:pt x="2419" y="509"/>
                    </a:cubicBezTo>
                    <a:cubicBezTo>
                      <a:pt x="2419" y="472"/>
                      <a:pt x="2426" y="439"/>
                      <a:pt x="2441" y="408"/>
                    </a:cubicBezTo>
                    <a:cubicBezTo>
                      <a:pt x="2456" y="378"/>
                      <a:pt x="2476" y="355"/>
                      <a:pt x="2502" y="338"/>
                    </a:cubicBezTo>
                    <a:cubicBezTo>
                      <a:pt x="2528" y="321"/>
                      <a:pt x="2557" y="313"/>
                      <a:pt x="2589" y="313"/>
                    </a:cubicBezTo>
                    <a:cubicBezTo>
                      <a:pt x="2637" y="313"/>
                      <a:pt x="2674" y="329"/>
                      <a:pt x="2701" y="360"/>
                    </a:cubicBezTo>
                    <a:cubicBezTo>
                      <a:pt x="2728" y="391"/>
                      <a:pt x="2742" y="435"/>
                      <a:pt x="2742" y="491"/>
                    </a:cubicBezTo>
                    <a:lnTo>
                      <a:pt x="2742" y="522"/>
                    </a:lnTo>
                    <a:close/>
                    <a:moveTo>
                      <a:pt x="2681" y="472"/>
                    </a:moveTo>
                    <a:cubicBezTo>
                      <a:pt x="2680" y="438"/>
                      <a:pt x="2672" y="411"/>
                      <a:pt x="2656" y="392"/>
                    </a:cubicBezTo>
                    <a:cubicBezTo>
                      <a:pt x="2640" y="373"/>
                      <a:pt x="2617" y="364"/>
                      <a:pt x="2588" y="364"/>
                    </a:cubicBezTo>
                    <a:cubicBezTo>
                      <a:pt x="2561" y="364"/>
                      <a:pt x="2537" y="374"/>
                      <a:pt x="2518" y="393"/>
                    </a:cubicBezTo>
                    <a:cubicBezTo>
                      <a:pt x="2498" y="413"/>
                      <a:pt x="2486" y="439"/>
                      <a:pt x="2481" y="472"/>
                    </a:cubicBezTo>
                    <a:lnTo>
                      <a:pt x="2681" y="472"/>
                    </a:lnTo>
                    <a:close/>
                    <a:moveTo>
                      <a:pt x="3193" y="546"/>
                    </a:moveTo>
                    <a:cubicBezTo>
                      <a:pt x="3193" y="592"/>
                      <a:pt x="3176" y="630"/>
                      <a:pt x="3142" y="659"/>
                    </a:cubicBezTo>
                    <a:cubicBezTo>
                      <a:pt x="3109" y="687"/>
                      <a:pt x="3065" y="701"/>
                      <a:pt x="3010" y="701"/>
                    </a:cubicBezTo>
                    <a:cubicBezTo>
                      <a:pt x="2961" y="701"/>
                      <a:pt x="2922" y="692"/>
                      <a:pt x="2892" y="673"/>
                    </a:cubicBezTo>
                    <a:cubicBezTo>
                      <a:pt x="2892" y="610"/>
                      <a:pt x="2892" y="610"/>
                      <a:pt x="2892" y="610"/>
                    </a:cubicBezTo>
                    <a:cubicBezTo>
                      <a:pt x="2927" y="637"/>
                      <a:pt x="2967" y="651"/>
                      <a:pt x="3013" y="651"/>
                    </a:cubicBezTo>
                    <a:cubicBezTo>
                      <a:pt x="3049" y="651"/>
                      <a:pt x="3078" y="642"/>
                      <a:pt x="3100" y="624"/>
                    </a:cubicBezTo>
                    <a:cubicBezTo>
                      <a:pt x="3121" y="606"/>
                      <a:pt x="3132" y="582"/>
                      <a:pt x="3132" y="551"/>
                    </a:cubicBezTo>
                    <a:cubicBezTo>
                      <a:pt x="3132" y="483"/>
                      <a:pt x="3084" y="449"/>
                      <a:pt x="2987" y="449"/>
                    </a:cubicBezTo>
                    <a:cubicBezTo>
                      <a:pt x="2944" y="449"/>
                      <a:pt x="2944" y="449"/>
                      <a:pt x="2944" y="449"/>
                    </a:cubicBezTo>
                    <a:cubicBezTo>
                      <a:pt x="2944" y="399"/>
                      <a:pt x="2944" y="399"/>
                      <a:pt x="2944" y="399"/>
                    </a:cubicBezTo>
                    <a:cubicBezTo>
                      <a:pt x="2985" y="399"/>
                      <a:pt x="2985" y="399"/>
                      <a:pt x="2985" y="399"/>
                    </a:cubicBezTo>
                    <a:cubicBezTo>
                      <a:pt x="3070" y="399"/>
                      <a:pt x="3113" y="367"/>
                      <a:pt x="3113" y="304"/>
                    </a:cubicBezTo>
                    <a:cubicBezTo>
                      <a:pt x="3113" y="245"/>
                      <a:pt x="3081" y="215"/>
                      <a:pt x="3015" y="215"/>
                    </a:cubicBezTo>
                    <a:cubicBezTo>
                      <a:pt x="2979" y="215"/>
                      <a:pt x="2944" y="228"/>
                      <a:pt x="2912" y="252"/>
                    </a:cubicBezTo>
                    <a:cubicBezTo>
                      <a:pt x="2912" y="195"/>
                      <a:pt x="2912" y="195"/>
                      <a:pt x="2912" y="195"/>
                    </a:cubicBezTo>
                    <a:cubicBezTo>
                      <a:pt x="2945" y="175"/>
                      <a:pt x="2985" y="165"/>
                      <a:pt x="3030" y="165"/>
                    </a:cubicBezTo>
                    <a:cubicBezTo>
                      <a:pt x="3073" y="165"/>
                      <a:pt x="3108" y="176"/>
                      <a:pt x="3134" y="199"/>
                    </a:cubicBezTo>
                    <a:cubicBezTo>
                      <a:pt x="3161" y="222"/>
                      <a:pt x="3174" y="252"/>
                      <a:pt x="3174" y="289"/>
                    </a:cubicBezTo>
                    <a:cubicBezTo>
                      <a:pt x="3174" y="357"/>
                      <a:pt x="3139" y="401"/>
                      <a:pt x="3070" y="420"/>
                    </a:cubicBezTo>
                    <a:cubicBezTo>
                      <a:pt x="3070" y="422"/>
                      <a:pt x="3070" y="422"/>
                      <a:pt x="3070" y="422"/>
                    </a:cubicBezTo>
                    <a:cubicBezTo>
                      <a:pt x="3107" y="426"/>
                      <a:pt x="3137" y="439"/>
                      <a:pt x="3159" y="462"/>
                    </a:cubicBezTo>
                    <a:cubicBezTo>
                      <a:pt x="3181" y="484"/>
                      <a:pt x="3193" y="512"/>
                      <a:pt x="3193" y="546"/>
                    </a:cubicBezTo>
                    <a:close/>
                    <a:moveTo>
                      <a:pt x="3584" y="528"/>
                    </a:moveTo>
                    <a:cubicBezTo>
                      <a:pt x="3584" y="561"/>
                      <a:pt x="3577" y="590"/>
                      <a:pt x="3563" y="617"/>
                    </a:cubicBezTo>
                    <a:cubicBezTo>
                      <a:pt x="3548" y="644"/>
                      <a:pt x="3529" y="665"/>
                      <a:pt x="3504" y="679"/>
                    </a:cubicBezTo>
                    <a:cubicBezTo>
                      <a:pt x="3479" y="694"/>
                      <a:pt x="3451" y="701"/>
                      <a:pt x="3421" y="701"/>
                    </a:cubicBezTo>
                    <a:cubicBezTo>
                      <a:pt x="3369" y="701"/>
                      <a:pt x="3328" y="681"/>
                      <a:pt x="3299" y="639"/>
                    </a:cubicBezTo>
                    <a:cubicBezTo>
                      <a:pt x="3269" y="597"/>
                      <a:pt x="3254" y="539"/>
                      <a:pt x="3254" y="464"/>
                    </a:cubicBezTo>
                    <a:cubicBezTo>
                      <a:pt x="3254" y="405"/>
                      <a:pt x="3263" y="352"/>
                      <a:pt x="3280" y="307"/>
                    </a:cubicBezTo>
                    <a:cubicBezTo>
                      <a:pt x="3298" y="262"/>
                      <a:pt x="3323" y="227"/>
                      <a:pt x="3355" y="202"/>
                    </a:cubicBezTo>
                    <a:cubicBezTo>
                      <a:pt x="3387" y="177"/>
                      <a:pt x="3424" y="165"/>
                      <a:pt x="3466" y="165"/>
                    </a:cubicBezTo>
                    <a:cubicBezTo>
                      <a:pt x="3502" y="165"/>
                      <a:pt x="3530" y="170"/>
                      <a:pt x="3552" y="180"/>
                    </a:cubicBezTo>
                    <a:cubicBezTo>
                      <a:pt x="3552" y="236"/>
                      <a:pt x="3552" y="236"/>
                      <a:pt x="3552" y="236"/>
                    </a:cubicBezTo>
                    <a:cubicBezTo>
                      <a:pt x="3525" y="222"/>
                      <a:pt x="3497" y="215"/>
                      <a:pt x="3467" y="215"/>
                    </a:cubicBezTo>
                    <a:cubicBezTo>
                      <a:pt x="3421" y="215"/>
                      <a:pt x="3385" y="236"/>
                      <a:pt x="3357" y="277"/>
                    </a:cubicBezTo>
                    <a:cubicBezTo>
                      <a:pt x="3330" y="318"/>
                      <a:pt x="3316" y="373"/>
                      <a:pt x="3316" y="441"/>
                    </a:cubicBezTo>
                    <a:cubicBezTo>
                      <a:pt x="3317" y="441"/>
                      <a:pt x="3317" y="441"/>
                      <a:pt x="3317" y="441"/>
                    </a:cubicBezTo>
                    <a:cubicBezTo>
                      <a:pt x="3341" y="392"/>
                      <a:pt x="3380" y="368"/>
                      <a:pt x="3435" y="368"/>
                    </a:cubicBezTo>
                    <a:cubicBezTo>
                      <a:pt x="3480" y="368"/>
                      <a:pt x="3516" y="383"/>
                      <a:pt x="3543" y="412"/>
                    </a:cubicBezTo>
                    <a:cubicBezTo>
                      <a:pt x="3570" y="441"/>
                      <a:pt x="3584" y="480"/>
                      <a:pt x="3584" y="528"/>
                    </a:cubicBezTo>
                    <a:close/>
                    <a:moveTo>
                      <a:pt x="3523" y="535"/>
                    </a:moveTo>
                    <a:cubicBezTo>
                      <a:pt x="3523" y="499"/>
                      <a:pt x="3514" y="471"/>
                      <a:pt x="3496" y="450"/>
                    </a:cubicBezTo>
                    <a:cubicBezTo>
                      <a:pt x="3479" y="429"/>
                      <a:pt x="3454" y="418"/>
                      <a:pt x="3422" y="418"/>
                    </a:cubicBezTo>
                    <a:cubicBezTo>
                      <a:pt x="3393" y="418"/>
                      <a:pt x="3369" y="428"/>
                      <a:pt x="3349" y="449"/>
                    </a:cubicBezTo>
                    <a:cubicBezTo>
                      <a:pt x="3329" y="469"/>
                      <a:pt x="3319" y="494"/>
                      <a:pt x="3319" y="523"/>
                    </a:cubicBezTo>
                    <a:cubicBezTo>
                      <a:pt x="3319" y="559"/>
                      <a:pt x="3329" y="590"/>
                      <a:pt x="3349" y="614"/>
                    </a:cubicBezTo>
                    <a:cubicBezTo>
                      <a:pt x="3368" y="639"/>
                      <a:pt x="3393" y="651"/>
                      <a:pt x="3423" y="651"/>
                    </a:cubicBezTo>
                    <a:cubicBezTo>
                      <a:pt x="3453" y="651"/>
                      <a:pt x="3477" y="640"/>
                      <a:pt x="3495" y="619"/>
                    </a:cubicBezTo>
                    <a:cubicBezTo>
                      <a:pt x="3514" y="597"/>
                      <a:pt x="3523" y="570"/>
                      <a:pt x="3523" y="535"/>
                    </a:cubicBezTo>
                    <a:close/>
                    <a:moveTo>
                      <a:pt x="3933" y="534"/>
                    </a:moveTo>
                    <a:cubicBezTo>
                      <a:pt x="3933" y="584"/>
                      <a:pt x="3916" y="625"/>
                      <a:pt x="3883" y="655"/>
                    </a:cubicBezTo>
                    <a:cubicBezTo>
                      <a:pt x="3849" y="686"/>
                      <a:pt x="3805" y="701"/>
                      <a:pt x="3749" y="701"/>
                    </a:cubicBezTo>
                    <a:cubicBezTo>
                      <a:pt x="3701" y="701"/>
                      <a:pt x="3665" y="694"/>
                      <a:pt x="3642" y="680"/>
                    </a:cubicBezTo>
                    <a:cubicBezTo>
                      <a:pt x="3642" y="617"/>
                      <a:pt x="3642" y="617"/>
                      <a:pt x="3642" y="617"/>
                    </a:cubicBezTo>
                    <a:cubicBezTo>
                      <a:pt x="3677" y="639"/>
                      <a:pt x="3713" y="651"/>
                      <a:pt x="3750" y="651"/>
                    </a:cubicBezTo>
                    <a:cubicBezTo>
                      <a:pt x="3786" y="651"/>
                      <a:pt x="3816" y="641"/>
                      <a:pt x="3838" y="620"/>
                    </a:cubicBezTo>
                    <a:cubicBezTo>
                      <a:pt x="3861" y="600"/>
                      <a:pt x="3872" y="572"/>
                      <a:pt x="3872" y="538"/>
                    </a:cubicBezTo>
                    <a:cubicBezTo>
                      <a:pt x="3872" y="504"/>
                      <a:pt x="3861" y="477"/>
                      <a:pt x="3838" y="458"/>
                    </a:cubicBezTo>
                    <a:cubicBezTo>
                      <a:pt x="3815" y="439"/>
                      <a:pt x="3782" y="429"/>
                      <a:pt x="3739" y="429"/>
                    </a:cubicBezTo>
                    <a:cubicBezTo>
                      <a:pt x="3705" y="429"/>
                      <a:pt x="3676" y="431"/>
                      <a:pt x="3651" y="434"/>
                    </a:cubicBezTo>
                    <a:cubicBezTo>
                      <a:pt x="3669" y="174"/>
                      <a:pt x="3669" y="174"/>
                      <a:pt x="3669" y="174"/>
                    </a:cubicBezTo>
                    <a:cubicBezTo>
                      <a:pt x="3909" y="174"/>
                      <a:pt x="3909" y="174"/>
                      <a:pt x="3909" y="174"/>
                    </a:cubicBezTo>
                    <a:cubicBezTo>
                      <a:pt x="3909" y="227"/>
                      <a:pt x="3909" y="227"/>
                      <a:pt x="3909" y="227"/>
                    </a:cubicBezTo>
                    <a:cubicBezTo>
                      <a:pt x="3721" y="227"/>
                      <a:pt x="3721" y="227"/>
                      <a:pt x="3721" y="227"/>
                    </a:cubicBezTo>
                    <a:cubicBezTo>
                      <a:pt x="3710" y="380"/>
                      <a:pt x="3710" y="380"/>
                      <a:pt x="3710" y="380"/>
                    </a:cubicBezTo>
                    <a:cubicBezTo>
                      <a:pt x="3758" y="378"/>
                      <a:pt x="3758" y="378"/>
                      <a:pt x="3758" y="378"/>
                    </a:cubicBezTo>
                    <a:cubicBezTo>
                      <a:pt x="3812" y="378"/>
                      <a:pt x="3854" y="391"/>
                      <a:pt x="3886" y="419"/>
                    </a:cubicBezTo>
                    <a:cubicBezTo>
                      <a:pt x="3917" y="446"/>
                      <a:pt x="3933" y="484"/>
                      <a:pt x="3933" y="534"/>
                    </a:cubicBezTo>
                    <a:close/>
                    <a:moveTo>
                      <a:pt x="722" y="793"/>
                    </a:moveTo>
                    <a:cubicBezTo>
                      <a:pt x="722" y="793"/>
                      <a:pt x="722" y="793"/>
                      <a:pt x="722" y="793"/>
                    </a:cubicBezTo>
                    <a:cubicBezTo>
                      <a:pt x="722" y="74"/>
                      <a:pt x="722" y="74"/>
                      <a:pt x="722" y="74"/>
                    </a:cubicBezTo>
                    <a:cubicBezTo>
                      <a:pt x="464" y="0"/>
                      <a:pt x="464" y="0"/>
                      <a:pt x="464" y="0"/>
                    </a:cubicBezTo>
                    <a:cubicBezTo>
                      <a:pt x="2" y="174"/>
                      <a:pt x="2" y="174"/>
                      <a:pt x="2"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1" y="694"/>
                      <a:pt x="1" y="694"/>
                      <a:pt x="1" y="694"/>
                    </a:cubicBezTo>
                    <a:cubicBezTo>
                      <a:pt x="464" y="865"/>
                      <a:pt x="464" y="865"/>
                      <a:pt x="464" y="865"/>
                    </a:cubicBezTo>
                    <a:cubicBezTo>
                      <a:pt x="464" y="865"/>
                      <a:pt x="464" y="865"/>
                      <a:pt x="464" y="865"/>
                    </a:cubicBezTo>
                    <a:cubicBezTo>
                      <a:pt x="722" y="794"/>
                      <a:pt x="722" y="794"/>
                      <a:pt x="722" y="794"/>
                    </a:cubicBezTo>
                    <a:cubicBezTo>
                      <a:pt x="722" y="793"/>
                      <a:pt x="722" y="793"/>
                      <a:pt x="722" y="793"/>
                    </a:cubicBezTo>
                    <a:close/>
                  </a:path>
                </a:pathLst>
              </a:custGeom>
              <a:solidFill>
                <a:schemeClr val="bg1"/>
              </a:solidFill>
              <a:ln>
                <a:noFill/>
              </a:ln>
            </p:spPr>
            <p:txBody>
              <a:bodyPr vert="horz" wrap="square" lIns="89618" tIns="44809" rIns="89618" bIns="44809" numCol="1" anchor="t" anchorCtr="0" compatLnSpc="1">
                <a:prstTxWarp prst="textNoShape">
                  <a:avLst/>
                </a:prstTxWarp>
              </a:bodyPr>
              <a:lstStyle/>
              <a:p>
                <a:pPr defTabSz="914191">
                  <a:defRPr/>
                </a:pPr>
                <a:endParaRPr lang="en-US" sz="1764" kern="0">
                  <a:solidFill>
                    <a:srgbClr val="505050"/>
                  </a:solidFill>
                </a:endParaRPr>
              </a:p>
            </p:txBody>
          </p:sp>
          <p:grpSp>
            <p:nvGrpSpPr>
              <p:cNvPr id="52" name="Group 25"/>
              <p:cNvGrpSpPr>
                <a:grpSpLocks noChangeAspect="1"/>
              </p:cNvGrpSpPr>
              <p:nvPr/>
            </p:nvGrpSpPr>
            <p:grpSpPr bwMode="auto">
              <a:xfrm>
                <a:off x="463940" y="2653554"/>
                <a:ext cx="1160019" cy="140576"/>
                <a:chOff x="-1699" y="1488"/>
                <a:chExt cx="11074" cy="1342"/>
              </a:xfrm>
              <a:solidFill>
                <a:schemeClr val="accent6"/>
              </a:solidFill>
            </p:grpSpPr>
            <p:sp>
              <p:nvSpPr>
                <p:cNvPr id="53" name="Freeform 26"/>
                <p:cNvSpPr>
                  <a:spLocks/>
                </p:cNvSpPr>
                <p:nvPr/>
              </p:nvSpPr>
              <p:spPr bwMode="auto">
                <a:xfrm>
                  <a:off x="-1699" y="1578"/>
                  <a:ext cx="1250" cy="1231"/>
                </a:xfrm>
                <a:custGeom>
                  <a:avLst/>
                  <a:gdLst>
                    <a:gd name="T0" fmla="*/ 1250 w 1250"/>
                    <a:gd name="T1" fmla="*/ 1231 h 1231"/>
                    <a:gd name="T2" fmla="*/ 1109 w 1250"/>
                    <a:gd name="T3" fmla="*/ 1231 h 1231"/>
                    <a:gd name="T4" fmla="*/ 1109 w 1250"/>
                    <a:gd name="T5" fmla="*/ 228 h 1231"/>
                    <a:gd name="T6" fmla="*/ 1104 w 1250"/>
                    <a:gd name="T7" fmla="*/ 228 h 1231"/>
                    <a:gd name="T8" fmla="*/ 662 w 1250"/>
                    <a:gd name="T9" fmla="*/ 1231 h 1231"/>
                    <a:gd name="T10" fmla="*/ 591 w 1250"/>
                    <a:gd name="T11" fmla="*/ 1231 h 1231"/>
                    <a:gd name="T12" fmla="*/ 142 w 1250"/>
                    <a:gd name="T13" fmla="*/ 223 h 1231"/>
                    <a:gd name="T14" fmla="*/ 139 w 1250"/>
                    <a:gd name="T15" fmla="*/ 223 h 1231"/>
                    <a:gd name="T16" fmla="*/ 139 w 1250"/>
                    <a:gd name="T17" fmla="*/ 1231 h 1231"/>
                    <a:gd name="T18" fmla="*/ 0 w 1250"/>
                    <a:gd name="T19" fmla="*/ 1231 h 1231"/>
                    <a:gd name="T20" fmla="*/ 0 w 1250"/>
                    <a:gd name="T21" fmla="*/ 0 h 1231"/>
                    <a:gd name="T22" fmla="*/ 191 w 1250"/>
                    <a:gd name="T23" fmla="*/ 0 h 1231"/>
                    <a:gd name="T24" fmla="*/ 622 w 1250"/>
                    <a:gd name="T25" fmla="*/ 986 h 1231"/>
                    <a:gd name="T26" fmla="*/ 629 w 1250"/>
                    <a:gd name="T27" fmla="*/ 986 h 1231"/>
                    <a:gd name="T28" fmla="*/ 1071 w 1250"/>
                    <a:gd name="T29" fmla="*/ 0 h 1231"/>
                    <a:gd name="T30" fmla="*/ 1250 w 1250"/>
                    <a:gd name="T31" fmla="*/ 0 h 1231"/>
                    <a:gd name="T32" fmla="*/ 1250 w 1250"/>
                    <a:gd name="T33" fmla="*/ 1231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0" h="1231">
                      <a:moveTo>
                        <a:pt x="1250" y="1231"/>
                      </a:moveTo>
                      <a:lnTo>
                        <a:pt x="1109" y="1231"/>
                      </a:lnTo>
                      <a:lnTo>
                        <a:pt x="1109" y="228"/>
                      </a:lnTo>
                      <a:lnTo>
                        <a:pt x="1104" y="228"/>
                      </a:lnTo>
                      <a:lnTo>
                        <a:pt x="662" y="1231"/>
                      </a:lnTo>
                      <a:lnTo>
                        <a:pt x="591" y="1231"/>
                      </a:lnTo>
                      <a:lnTo>
                        <a:pt x="142" y="223"/>
                      </a:lnTo>
                      <a:lnTo>
                        <a:pt x="139" y="223"/>
                      </a:lnTo>
                      <a:lnTo>
                        <a:pt x="139" y="1231"/>
                      </a:lnTo>
                      <a:lnTo>
                        <a:pt x="0" y="1231"/>
                      </a:lnTo>
                      <a:lnTo>
                        <a:pt x="0" y="0"/>
                      </a:lnTo>
                      <a:lnTo>
                        <a:pt x="191" y="0"/>
                      </a:lnTo>
                      <a:lnTo>
                        <a:pt x="622" y="986"/>
                      </a:lnTo>
                      <a:lnTo>
                        <a:pt x="629" y="986"/>
                      </a:lnTo>
                      <a:lnTo>
                        <a:pt x="1071" y="0"/>
                      </a:lnTo>
                      <a:lnTo>
                        <a:pt x="1250" y="0"/>
                      </a:lnTo>
                      <a:lnTo>
                        <a:pt x="1250" y="123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sp>
              <p:nvSpPr>
                <p:cNvPr id="54" name="Freeform 27"/>
                <p:cNvSpPr>
                  <a:spLocks noEditPoints="1"/>
                </p:cNvSpPr>
                <p:nvPr/>
              </p:nvSpPr>
              <p:spPr bwMode="auto">
                <a:xfrm>
                  <a:off x="-222" y="1523"/>
                  <a:ext cx="185" cy="1286"/>
                </a:xfrm>
                <a:custGeom>
                  <a:avLst/>
                  <a:gdLst>
                    <a:gd name="T0" fmla="*/ 78 w 78"/>
                    <a:gd name="T1" fmla="*/ 38 h 541"/>
                    <a:gd name="T2" fmla="*/ 67 w 78"/>
                    <a:gd name="T3" fmla="*/ 66 h 541"/>
                    <a:gd name="T4" fmla="*/ 39 w 78"/>
                    <a:gd name="T5" fmla="*/ 77 h 541"/>
                    <a:gd name="T6" fmla="*/ 12 w 78"/>
                    <a:gd name="T7" fmla="*/ 66 h 541"/>
                    <a:gd name="T8" fmla="*/ 0 w 78"/>
                    <a:gd name="T9" fmla="*/ 38 h 541"/>
                    <a:gd name="T10" fmla="*/ 11 w 78"/>
                    <a:gd name="T11" fmla="*/ 11 h 541"/>
                    <a:gd name="T12" fmla="*/ 39 w 78"/>
                    <a:gd name="T13" fmla="*/ 0 h 541"/>
                    <a:gd name="T14" fmla="*/ 67 w 78"/>
                    <a:gd name="T15" fmla="*/ 11 h 541"/>
                    <a:gd name="T16" fmla="*/ 78 w 78"/>
                    <a:gd name="T17" fmla="*/ 38 h 541"/>
                    <a:gd name="T18" fmla="*/ 68 w 78"/>
                    <a:gd name="T19" fmla="*/ 541 h 541"/>
                    <a:gd name="T20" fmla="*/ 9 w 78"/>
                    <a:gd name="T21" fmla="*/ 541 h 541"/>
                    <a:gd name="T22" fmla="*/ 9 w 78"/>
                    <a:gd name="T23" fmla="*/ 171 h 541"/>
                    <a:gd name="T24" fmla="*/ 68 w 78"/>
                    <a:gd name="T25" fmla="*/ 171 h 541"/>
                    <a:gd name="T26" fmla="*/ 68 w 78"/>
                    <a:gd name="T27" fmla="*/ 541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41">
                      <a:moveTo>
                        <a:pt x="78" y="38"/>
                      </a:moveTo>
                      <a:cubicBezTo>
                        <a:pt x="78" y="49"/>
                        <a:pt x="74" y="59"/>
                        <a:pt x="67" y="66"/>
                      </a:cubicBezTo>
                      <a:cubicBezTo>
                        <a:pt x="59" y="73"/>
                        <a:pt x="50" y="77"/>
                        <a:pt x="39" y="77"/>
                      </a:cubicBezTo>
                      <a:cubicBezTo>
                        <a:pt x="28" y="77"/>
                        <a:pt x="19" y="73"/>
                        <a:pt x="12" y="66"/>
                      </a:cubicBezTo>
                      <a:cubicBezTo>
                        <a:pt x="4" y="59"/>
                        <a:pt x="0" y="50"/>
                        <a:pt x="0" y="38"/>
                      </a:cubicBezTo>
                      <a:cubicBezTo>
                        <a:pt x="0" y="28"/>
                        <a:pt x="4" y="19"/>
                        <a:pt x="11" y="11"/>
                      </a:cubicBezTo>
                      <a:cubicBezTo>
                        <a:pt x="19" y="4"/>
                        <a:pt x="28" y="0"/>
                        <a:pt x="39" y="0"/>
                      </a:cubicBezTo>
                      <a:cubicBezTo>
                        <a:pt x="50" y="0"/>
                        <a:pt x="59" y="4"/>
                        <a:pt x="67" y="11"/>
                      </a:cubicBezTo>
                      <a:cubicBezTo>
                        <a:pt x="74" y="19"/>
                        <a:pt x="78" y="28"/>
                        <a:pt x="78" y="38"/>
                      </a:cubicBezTo>
                      <a:close/>
                      <a:moveTo>
                        <a:pt x="68" y="541"/>
                      </a:moveTo>
                      <a:cubicBezTo>
                        <a:pt x="9" y="541"/>
                        <a:pt x="9" y="541"/>
                        <a:pt x="9" y="541"/>
                      </a:cubicBezTo>
                      <a:cubicBezTo>
                        <a:pt x="9" y="171"/>
                        <a:pt x="9" y="171"/>
                        <a:pt x="9" y="171"/>
                      </a:cubicBezTo>
                      <a:cubicBezTo>
                        <a:pt x="68" y="171"/>
                        <a:pt x="68" y="171"/>
                        <a:pt x="68" y="171"/>
                      </a:cubicBezTo>
                      <a:lnTo>
                        <a:pt x="68" y="5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sp>
              <p:nvSpPr>
                <p:cNvPr id="56" name="Freeform 28"/>
                <p:cNvSpPr>
                  <a:spLocks/>
                </p:cNvSpPr>
                <p:nvPr/>
              </p:nvSpPr>
              <p:spPr bwMode="auto">
                <a:xfrm>
                  <a:off x="100" y="1908"/>
                  <a:ext cx="659" cy="922"/>
                </a:xfrm>
                <a:custGeom>
                  <a:avLst/>
                  <a:gdLst>
                    <a:gd name="T0" fmla="*/ 278 w 279"/>
                    <a:gd name="T1" fmla="*/ 362 h 388"/>
                    <a:gd name="T2" fmla="*/ 176 w 279"/>
                    <a:gd name="T3" fmla="*/ 388 h 388"/>
                    <a:gd name="T4" fmla="*/ 85 w 279"/>
                    <a:gd name="T5" fmla="*/ 365 h 388"/>
                    <a:gd name="T6" fmla="*/ 23 w 279"/>
                    <a:gd name="T7" fmla="*/ 299 h 388"/>
                    <a:gd name="T8" fmla="*/ 0 w 279"/>
                    <a:gd name="T9" fmla="*/ 203 h 388"/>
                    <a:gd name="T10" fmla="*/ 53 w 279"/>
                    <a:gd name="T11" fmla="*/ 56 h 388"/>
                    <a:gd name="T12" fmla="*/ 193 w 279"/>
                    <a:gd name="T13" fmla="*/ 0 h 388"/>
                    <a:gd name="T14" fmla="*/ 279 w 279"/>
                    <a:gd name="T15" fmla="*/ 19 h 388"/>
                    <a:gd name="T16" fmla="*/ 279 w 279"/>
                    <a:gd name="T17" fmla="*/ 80 h 388"/>
                    <a:gd name="T18" fmla="*/ 191 w 279"/>
                    <a:gd name="T19" fmla="*/ 51 h 388"/>
                    <a:gd name="T20" fmla="*/ 97 w 279"/>
                    <a:gd name="T21" fmla="*/ 92 h 388"/>
                    <a:gd name="T22" fmla="*/ 61 w 279"/>
                    <a:gd name="T23" fmla="*/ 198 h 388"/>
                    <a:gd name="T24" fmla="*/ 95 w 279"/>
                    <a:gd name="T25" fmla="*/ 300 h 388"/>
                    <a:gd name="T26" fmla="*/ 187 w 279"/>
                    <a:gd name="T27" fmla="*/ 338 h 388"/>
                    <a:gd name="T28" fmla="*/ 278 w 279"/>
                    <a:gd name="T29" fmla="*/ 306 h 388"/>
                    <a:gd name="T30" fmla="*/ 278 w 279"/>
                    <a:gd name="T31" fmla="*/ 36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9" h="388">
                      <a:moveTo>
                        <a:pt x="278" y="362"/>
                      </a:moveTo>
                      <a:cubicBezTo>
                        <a:pt x="249" y="380"/>
                        <a:pt x="215" y="388"/>
                        <a:pt x="176" y="388"/>
                      </a:cubicBezTo>
                      <a:cubicBezTo>
                        <a:pt x="143" y="388"/>
                        <a:pt x="112" y="381"/>
                        <a:pt x="85" y="365"/>
                      </a:cubicBezTo>
                      <a:cubicBezTo>
                        <a:pt x="59" y="349"/>
                        <a:pt x="38" y="327"/>
                        <a:pt x="23" y="299"/>
                      </a:cubicBezTo>
                      <a:cubicBezTo>
                        <a:pt x="8" y="271"/>
                        <a:pt x="0" y="239"/>
                        <a:pt x="0" y="203"/>
                      </a:cubicBezTo>
                      <a:cubicBezTo>
                        <a:pt x="0" y="142"/>
                        <a:pt x="18" y="93"/>
                        <a:pt x="53" y="56"/>
                      </a:cubicBezTo>
                      <a:cubicBezTo>
                        <a:pt x="88" y="19"/>
                        <a:pt x="135" y="0"/>
                        <a:pt x="193" y="0"/>
                      </a:cubicBezTo>
                      <a:cubicBezTo>
                        <a:pt x="225" y="0"/>
                        <a:pt x="254" y="6"/>
                        <a:pt x="279" y="19"/>
                      </a:cubicBezTo>
                      <a:cubicBezTo>
                        <a:pt x="279" y="80"/>
                        <a:pt x="279" y="80"/>
                        <a:pt x="279" y="80"/>
                      </a:cubicBezTo>
                      <a:cubicBezTo>
                        <a:pt x="251" y="60"/>
                        <a:pt x="222" y="51"/>
                        <a:pt x="191" y="51"/>
                      </a:cubicBezTo>
                      <a:cubicBezTo>
                        <a:pt x="152" y="51"/>
                        <a:pt x="121" y="64"/>
                        <a:pt x="97" y="92"/>
                      </a:cubicBezTo>
                      <a:cubicBezTo>
                        <a:pt x="73" y="119"/>
                        <a:pt x="61" y="154"/>
                        <a:pt x="61" y="198"/>
                      </a:cubicBezTo>
                      <a:cubicBezTo>
                        <a:pt x="61" y="241"/>
                        <a:pt x="72" y="275"/>
                        <a:pt x="95" y="300"/>
                      </a:cubicBezTo>
                      <a:cubicBezTo>
                        <a:pt x="118" y="325"/>
                        <a:pt x="149" y="338"/>
                        <a:pt x="187" y="338"/>
                      </a:cubicBezTo>
                      <a:cubicBezTo>
                        <a:pt x="219" y="338"/>
                        <a:pt x="250" y="327"/>
                        <a:pt x="278" y="306"/>
                      </a:cubicBezTo>
                      <a:lnTo>
                        <a:pt x="278" y="36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sp>
              <p:nvSpPr>
                <p:cNvPr id="57" name="Freeform 29"/>
                <p:cNvSpPr>
                  <a:spLocks/>
                </p:cNvSpPr>
                <p:nvPr/>
              </p:nvSpPr>
              <p:spPr bwMode="auto">
                <a:xfrm>
                  <a:off x="913" y="1913"/>
                  <a:ext cx="456" cy="896"/>
                </a:xfrm>
                <a:custGeom>
                  <a:avLst/>
                  <a:gdLst>
                    <a:gd name="T0" fmla="*/ 193 w 193"/>
                    <a:gd name="T1" fmla="*/ 67 h 377"/>
                    <a:gd name="T2" fmla="*/ 148 w 193"/>
                    <a:gd name="T3" fmla="*/ 55 h 377"/>
                    <a:gd name="T4" fmla="*/ 84 w 193"/>
                    <a:gd name="T5" fmla="*/ 92 h 377"/>
                    <a:gd name="T6" fmla="*/ 59 w 193"/>
                    <a:gd name="T7" fmla="*/ 189 h 377"/>
                    <a:gd name="T8" fmla="*/ 59 w 193"/>
                    <a:gd name="T9" fmla="*/ 377 h 377"/>
                    <a:gd name="T10" fmla="*/ 0 w 193"/>
                    <a:gd name="T11" fmla="*/ 377 h 377"/>
                    <a:gd name="T12" fmla="*/ 0 w 193"/>
                    <a:gd name="T13" fmla="*/ 7 h 377"/>
                    <a:gd name="T14" fmla="*/ 59 w 193"/>
                    <a:gd name="T15" fmla="*/ 7 h 377"/>
                    <a:gd name="T16" fmla="*/ 59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0" y="67"/>
                        <a:pt x="84" y="92"/>
                      </a:cubicBezTo>
                      <a:cubicBezTo>
                        <a:pt x="68" y="117"/>
                        <a:pt x="59" y="149"/>
                        <a:pt x="59" y="189"/>
                      </a:cubicBezTo>
                      <a:cubicBezTo>
                        <a:pt x="59" y="377"/>
                        <a:pt x="59" y="377"/>
                        <a:pt x="59" y="377"/>
                      </a:cubicBezTo>
                      <a:cubicBezTo>
                        <a:pt x="0" y="377"/>
                        <a:pt x="0" y="377"/>
                        <a:pt x="0" y="377"/>
                      </a:cubicBezTo>
                      <a:cubicBezTo>
                        <a:pt x="0" y="7"/>
                        <a:pt x="0" y="7"/>
                        <a:pt x="0" y="7"/>
                      </a:cubicBezTo>
                      <a:cubicBezTo>
                        <a:pt x="59" y="7"/>
                        <a:pt x="59" y="7"/>
                        <a:pt x="59" y="7"/>
                      </a:cubicBezTo>
                      <a:cubicBezTo>
                        <a:pt x="59" y="83"/>
                        <a:pt x="59" y="83"/>
                        <a:pt x="59"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sp>
              <p:nvSpPr>
                <p:cNvPr id="58" name="Freeform 30"/>
                <p:cNvSpPr>
                  <a:spLocks noEditPoints="1"/>
                </p:cNvSpPr>
                <p:nvPr/>
              </p:nvSpPr>
              <p:spPr bwMode="auto">
                <a:xfrm>
                  <a:off x="1376" y="1908"/>
                  <a:ext cx="863" cy="922"/>
                </a:xfrm>
                <a:custGeom>
                  <a:avLst/>
                  <a:gdLst>
                    <a:gd name="T0" fmla="*/ 365 w 365"/>
                    <a:gd name="T1" fmla="*/ 193 h 388"/>
                    <a:gd name="T2" fmla="*/ 315 w 365"/>
                    <a:gd name="T3" fmla="*/ 335 h 388"/>
                    <a:gd name="T4" fmla="*/ 181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1"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sp>
              <p:nvSpPr>
                <p:cNvPr id="59" name="Freeform 31"/>
                <p:cNvSpPr>
                  <a:spLocks/>
                </p:cNvSpPr>
                <p:nvPr/>
              </p:nvSpPr>
              <p:spPr bwMode="auto">
                <a:xfrm>
                  <a:off x="2341" y="1908"/>
                  <a:ext cx="536" cy="922"/>
                </a:xfrm>
                <a:custGeom>
                  <a:avLst/>
                  <a:gdLst>
                    <a:gd name="T0" fmla="*/ 227 w 227"/>
                    <a:gd name="T1" fmla="*/ 280 h 388"/>
                    <a:gd name="T2" fmla="*/ 190 w 227"/>
                    <a:gd name="T3" fmla="*/ 358 h 388"/>
                    <a:gd name="T4" fmla="*/ 92 w 227"/>
                    <a:gd name="T5" fmla="*/ 388 h 388"/>
                    <a:gd name="T6" fmla="*/ 0 w 227"/>
                    <a:gd name="T7" fmla="*/ 366 h 388"/>
                    <a:gd name="T8" fmla="*/ 0 w 227"/>
                    <a:gd name="T9" fmla="*/ 302 h 388"/>
                    <a:gd name="T10" fmla="*/ 96 w 227"/>
                    <a:gd name="T11" fmla="*/ 338 h 388"/>
                    <a:gd name="T12" fmla="*/ 167 w 227"/>
                    <a:gd name="T13" fmla="*/ 286 h 388"/>
                    <a:gd name="T14" fmla="*/ 153 w 227"/>
                    <a:gd name="T15" fmla="*/ 252 h 388"/>
                    <a:gd name="T16" fmla="*/ 90 w 227"/>
                    <a:gd name="T17" fmla="*/ 216 h 388"/>
                    <a:gd name="T18" fmla="*/ 21 w 227"/>
                    <a:gd name="T19" fmla="*/ 171 h 388"/>
                    <a:gd name="T20" fmla="*/ 1 w 227"/>
                    <a:gd name="T21" fmla="*/ 107 h 388"/>
                    <a:gd name="T22" fmla="*/ 38 w 227"/>
                    <a:gd name="T23" fmla="*/ 31 h 388"/>
                    <a:gd name="T24" fmla="*/ 131 w 227"/>
                    <a:gd name="T25" fmla="*/ 0 h 388"/>
                    <a:gd name="T26" fmla="*/ 210 w 227"/>
                    <a:gd name="T27" fmla="*/ 17 h 388"/>
                    <a:gd name="T28" fmla="*/ 210 w 227"/>
                    <a:gd name="T29" fmla="*/ 77 h 388"/>
                    <a:gd name="T30" fmla="*/ 126 w 227"/>
                    <a:gd name="T31" fmla="*/ 51 h 388"/>
                    <a:gd name="T32" fmla="*/ 79 w 227"/>
                    <a:gd name="T33" fmla="*/ 65 h 388"/>
                    <a:gd name="T34" fmla="*/ 61 w 227"/>
                    <a:gd name="T35" fmla="*/ 102 h 388"/>
                    <a:gd name="T36" fmla="*/ 75 w 227"/>
                    <a:gd name="T37" fmla="*/ 140 h 388"/>
                    <a:gd name="T38" fmla="*/ 132 w 227"/>
                    <a:gd name="T39" fmla="*/ 171 h 388"/>
                    <a:gd name="T40" fmla="*/ 206 w 227"/>
                    <a:gd name="T41" fmla="*/ 218 h 388"/>
                    <a:gd name="T42" fmla="*/ 227 w 227"/>
                    <a:gd name="T43" fmla="*/ 28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8">
                      <a:moveTo>
                        <a:pt x="227" y="280"/>
                      </a:moveTo>
                      <a:cubicBezTo>
                        <a:pt x="227" y="312"/>
                        <a:pt x="215" y="338"/>
                        <a:pt x="190" y="358"/>
                      </a:cubicBezTo>
                      <a:cubicBezTo>
                        <a:pt x="166" y="378"/>
                        <a:pt x="133" y="388"/>
                        <a:pt x="92" y="388"/>
                      </a:cubicBezTo>
                      <a:cubicBezTo>
                        <a:pt x="57" y="388"/>
                        <a:pt x="26" y="381"/>
                        <a:pt x="0" y="366"/>
                      </a:cubicBezTo>
                      <a:cubicBezTo>
                        <a:pt x="0" y="302"/>
                        <a:pt x="0" y="302"/>
                        <a:pt x="0" y="302"/>
                      </a:cubicBezTo>
                      <a:cubicBezTo>
                        <a:pt x="29" y="326"/>
                        <a:pt x="61" y="338"/>
                        <a:pt x="96" y="338"/>
                      </a:cubicBezTo>
                      <a:cubicBezTo>
                        <a:pt x="143" y="338"/>
                        <a:pt x="167" y="320"/>
                        <a:pt x="167" y="286"/>
                      </a:cubicBezTo>
                      <a:cubicBezTo>
                        <a:pt x="167" y="272"/>
                        <a:pt x="162" y="261"/>
                        <a:pt x="153" y="252"/>
                      </a:cubicBezTo>
                      <a:cubicBezTo>
                        <a:pt x="144" y="243"/>
                        <a:pt x="123" y="231"/>
                        <a:pt x="90" y="216"/>
                      </a:cubicBezTo>
                      <a:cubicBezTo>
                        <a:pt x="58" y="202"/>
                        <a:pt x="34" y="187"/>
                        <a:pt x="21" y="171"/>
                      </a:cubicBezTo>
                      <a:cubicBezTo>
                        <a:pt x="7" y="155"/>
                        <a:pt x="1" y="134"/>
                        <a:pt x="1" y="107"/>
                      </a:cubicBezTo>
                      <a:cubicBezTo>
                        <a:pt x="1" y="77"/>
                        <a:pt x="13" y="51"/>
                        <a:pt x="38" y="31"/>
                      </a:cubicBezTo>
                      <a:cubicBezTo>
                        <a:pt x="62" y="10"/>
                        <a:pt x="93" y="0"/>
                        <a:pt x="131" y="0"/>
                      </a:cubicBezTo>
                      <a:cubicBezTo>
                        <a:pt x="160" y="0"/>
                        <a:pt x="187" y="6"/>
                        <a:pt x="210" y="17"/>
                      </a:cubicBezTo>
                      <a:cubicBezTo>
                        <a:pt x="210" y="77"/>
                        <a:pt x="210" y="77"/>
                        <a:pt x="210" y="77"/>
                      </a:cubicBezTo>
                      <a:cubicBezTo>
                        <a:pt x="186" y="59"/>
                        <a:pt x="158" y="51"/>
                        <a:pt x="126" y="51"/>
                      </a:cubicBezTo>
                      <a:cubicBezTo>
                        <a:pt x="107" y="51"/>
                        <a:pt x="91" y="55"/>
                        <a:pt x="79" y="65"/>
                      </a:cubicBezTo>
                      <a:cubicBezTo>
                        <a:pt x="67" y="75"/>
                        <a:pt x="61" y="87"/>
                        <a:pt x="61" y="102"/>
                      </a:cubicBezTo>
                      <a:cubicBezTo>
                        <a:pt x="61" y="119"/>
                        <a:pt x="66" y="131"/>
                        <a:pt x="75" y="140"/>
                      </a:cubicBezTo>
                      <a:cubicBezTo>
                        <a:pt x="84" y="149"/>
                        <a:pt x="103" y="159"/>
                        <a:pt x="132" y="171"/>
                      </a:cubicBezTo>
                      <a:cubicBezTo>
                        <a:pt x="167" y="186"/>
                        <a:pt x="192" y="202"/>
                        <a:pt x="206" y="218"/>
                      </a:cubicBezTo>
                      <a:cubicBezTo>
                        <a:pt x="220" y="235"/>
                        <a:pt x="227" y="255"/>
                        <a:pt x="227" y="28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sp>
              <p:nvSpPr>
                <p:cNvPr id="60" name="Freeform 32"/>
                <p:cNvSpPr>
                  <a:spLocks noEditPoints="1"/>
                </p:cNvSpPr>
                <p:nvPr/>
              </p:nvSpPr>
              <p:spPr bwMode="auto">
                <a:xfrm>
                  <a:off x="2960" y="1908"/>
                  <a:ext cx="863" cy="922"/>
                </a:xfrm>
                <a:custGeom>
                  <a:avLst/>
                  <a:gdLst>
                    <a:gd name="T0" fmla="*/ 365 w 365"/>
                    <a:gd name="T1" fmla="*/ 193 h 388"/>
                    <a:gd name="T2" fmla="*/ 315 w 365"/>
                    <a:gd name="T3" fmla="*/ 335 h 388"/>
                    <a:gd name="T4" fmla="*/ 180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0"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sp>
              <p:nvSpPr>
                <p:cNvPr id="61" name="Freeform 33"/>
                <p:cNvSpPr>
                  <a:spLocks/>
                </p:cNvSpPr>
                <p:nvPr/>
              </p:nvSpPr>
              <p:spPr bwMode="auto">
                <a:xfrm>
                  <a:off x="3856" y="1488"/>
                  <a:ext cx="529" cy="1321"/>
                </a:xfrm>
                <a:custGeom>
                  <a:avLst/>
                  <a:gdLst>
                    <a:gd name="T0" fmla="*/ 224 w 224"/>
                    <a:gd name="T1" fmla="*/ 60 h 556"/>
                    <a:gd name="T2" fmla="*/ 184 w 224"/>
                    <a:gd name="T3" fmla="*/ 50 h 556"/>
                    <a:gd name="T4" fmla="*/ 122 w 224"/>
                    <a:gd name="T5" fmla="*/ 129 h 556"/>
                    <a:gd name="T6" fmla="*/ 122 w 224"/>
                    <a:gd name="T7" fmla="*/ 186 h 556"/>
                    <a:gd name="T8" fmla="*/ 209 w 224"/>
                    <a:gd name="T9" fmla="*/ 186 h 556"/>
                    <a:gd name="T10" fmla="*/ 209 w 224"/>
                    <a:gd name="T11" fmla="*/ 236 h 556"/>
                    <a:gd name="T12" fmla="*/ 122 w 224"/>
                    <a:gd name="T13" fmla="*/ 236 h 556"/>
                    <a:gd name="T14" fmla="*/ 122 w 224"/>
                    <a:gd name="T15" fmla="*/ 556 h 556"/>
                    <a:gd name="T16" fmla="*/ 63 w 224"/>
                    <a:gd name="T17" fmla="*/ 556 h 556"/>
                    <a:gd name="T18" fmla="*/ 63 w 224"/>
                    <a:gd name="T19" fmla="*/ 236 h 556"/>
                    <a:gd name="T20" fmla="*/ 0 w 224"/>
                    <a:gd name="T21" fmla="*/ 236 h 556"/>
                    <a:gd name="T22" fmla="*/ 0 w 224"/>
                    <a:gd name="T23" fmla="*/ 186 h 556"/>
                    <a:gd name="T24" fmla="*/ 63 w 224"/>
                    <a:gd name="T25" fmla="*/ 186 h 556"/>
                    <a:gd name="T26" fmla="*/ 63 w 224"/>
                    <a:gd name="T27" fmla="*/ 126 h 556"/>
                    <a:gd name="T28" fmla="*/ 96 w 224"/>
                    <a:gd name="T29" fmla="*/ 35 h 556"/>
                    <a:gd name="T30" fmla="*/ 181 w 224"/>
                    <a:gd name="T31" fmla="*/ 0 h 556"/>
                    <a:gd name="T32" fmla="*/ 224 w 224"/>
                    <a:gd name="T33" fmla="*/ 7 h 556"/>
                    <a:gd name="T34" fmla="*/ 224 w 224"/>
                    <a:gd name="T35" fmla="*/ 6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556">
                      <a:moveTo>
                        <a:pt x="224" y="60"/>
                      </a:moveTo>
                      <a:cubicBezTo>
                        <a:pt x="212" y="54"/>
                        <a:pt x="199" y="50"/>
                        <a:pt x="184" y="50"/>
                      </a:cubicBezTo>
                      <a:cubicBezTo>
                        <a:pt x="143" y="50"/>
                        <a:pt x="122" y="77"/>
                        <a:pt x="122" y="129"/>
                      </a:cubicBezTo>
                      <a:cubicBezTo>
                        <a:pt x="122" y="186"/>
                        <a:pt x="122" y="186"/>
                        <a:pt x="122" y="186"/>
                      </a:cubicBezTo>
                      <a:cubicBezTo>
                        <a:pt x="209" y="186"/>
                        <a:pt x="209" y="186"/>
                        <a:pt x="209" y="186"/>
                      </a:cubicBezTo>
                      <a:cubicBezTo>
                        <a:pt x="209" y="236"/>
                        <a:pt x="209" y="236"/>
                        <a:pt x="209" y="236"/>
                      </a:cubicBezTo>
                      <a:cubicBezTo>
                        <a:pt x="122" y="236"/>
                        <a:pt x="122" y="236"/>
                        <a:pt x="122" y="236"/>
                      </a:cubicBezTo>
                      <a:cubicBezTo>
                        <a:pt x="122" y="556"/>
                        <a:pt x="122" y="556"/>
                        <a:pt x="122" y="556"/>
                      </a:cubicBezTo>
                      <a:cubicBezTo>
                        <a:pt x="63" y="556"/>
                        <a:pt x="63" y="556"/>
                        <a:pt x="63" y="556"/>
                      </a:cubicBezTo>
                      <a:cubicBezTo>
                        <a:pt x="63" y="236"/>
                        <a:pt x="63" y="236"/>
                        <a:pt x="63" y="236"/>
                      </a:cubicBezTo>
                      <a:cubicBezTo>
                        <a:pt x="0" y="236"/>
                        <a:pt x="0" y="236"/>
                        <a:pt x="0" y="236"/>
                      </a:cubicBezTo>
                      <a:cubicBezTo>
                        <a:pt x="0" y="186"/>
                        <a:pt x="0" y="186"/>
                        <a:pt x="0" y="186"/>
                      </a:cubicBezTo>
                      <a:cubicBezTo>
                        <a:pt x="63" y="186"/>
                        <a:pt x="63" y="186"/>
                        <a:pt x="63" y="186"/>
                      </a:cubicBezTo>
                      <a:cubicBezTo>
                        <a:pt x="63" y="126"/>
                        <a:pt x="63" y="126"/>
                        <a:pt x="63" y="126"/>
                      </a:cubicBezTo>
                      <a:cubicBezTo>
                        <a:pt x="63" y="88"/>
                        <a:pt x="74" y="58"/>
                        <a:pt x="96" y="35"/>
                      </a:cubicBezTo>
                      <a:cubicBezTo>
                        <a:pt x="118" y="12"/>
                        <a:pt x="146" y="0"/>
                        <a:pt x="181" y="0"/>
                      </a:cubicBezTo>
                      <a:cubicBezTo>
                        <a:pt x="199" y="0"/>
                        <a:pt x="213" y="2"/>
                        <a:pt x="224" y="7"/>
                      </a:cubicBezTo>
                      <a:lnTo>
                        <a:pt x="224" y="6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sp>
              <p:nvSpPr>
                <p:cNvPr id="62" name="Freeform 34"/>
                <p:cNvSpPr>
                  <a:spLocks/>
                </p:cNvSpPr>
                <p:nvPr/>
              </p:nvSpPr>
              <p:spPr bwMode="auto">
                <a:xfrm>
                  <a:off x="4338" y="1668"/>
                  <a:ext cx="513" cy="1162"/>
                </a:xfrm>
                <a:custGeom>
                  <a:avLst/>
                  <a:gdLst>
                    <a:gd name="T0" fmla="*/ 217 w 217"/>
                    <a:gd name="T1" fmla="*/ 477 h 489"/>
                    <a:gd name="T2" fmla="*/ 161 w 217"/>
                    <a:gd name="T3" fmla="*/ 489 h 489"/>
                    <a:gd name="T4" fmla="*/ 64 w 217"/>
                    <a:gd name="T5" fmla="*/ 379 h 489"/>
                    <a:gd name="T6" fmla="*/ 64 w 217"/>
                    <a:gd name="T7" fmla="*/ 160 h 489"/>
                    <a:gd name="T8" fmla="*/ 0 w 217"/>
                    <a:gd name="T9" fmla="*/ 160 h 489"/>
                    <a:gd name="T10" fmla="*/ 0 w 217"/>
                    <a:gd name="T11" fmla="*/ 110 h 489"/>
                    <a:gd name="T12" fmla="*/ 64 w 217"/>
                    <a:gd name="T13" fmla="*/ 110 h 489"/>
                    <a:gd name="T14" fmla="*/ 64 w 217"/>
                    <a:gd name="T15" fmla="*/ 20 h 489"/>
                    <a:gd name="T16" fmla="*/ 123 w 217"/>
                    <a:gd name="T17" fmla="*/ 0 h 489"/>
                    <a:gd name="T18" fmla="*/ 123 w 217"/>
                    <a:gd name="T19" fmla="*/ 110 h 489"/>
                    <a:gd name="T20" fmla="*/ 217 w 217"/>
                    <a:gd name="T21" fmla="*/ 110 h 489"/>
                    <a:gd name="T22" fmla="*/ 217 w 217"/>
                    <a:gd name="T23" fmla="*/ 160 h 489"/>
                    <a:gd name="T24" fmla="*/ 123 w 217"/>
                    <a:gd name="T25" fmla="*/ 160 h 489"/>
                    <a:gd name="T26" fmla="*/ 123 w 217"/>
                    <a:gd name="T27" fmla="*/ 369 h 489"/>
                    <a:gd name="T28" fmla="*/ 136 w 217"/>
                    <a:gd name="T29" fmla="*/ 422 h 489"/>
                    <a:gd name="T30" fmla="*/ 178 w 217"/>
                    <a:gd name="T31" fmla="*/ 438 h 489"/>
                    <a:gd name="T32" fmla="*/ 217 w 217"/>
                    <a:gd name="T33" fmla="*/ 426 h 489"/>
                    <a:gd name="T34" fmla="*/ 217 w 217"/>
                    <a:gd name="T35" fmla="*/ 477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489">
                      <a:moveTo>
                        <a:pt x="217" y="477"/>
                      </a:moveTo>
                      <a:cubicBezTo>
                        <a:pt x="203" y="485"/>
                        <a:pt x="184" y="489"/>
                        <a:pt x="161" y="489"/>
                      </a:cubicBezTo>
                      <a:cubicBezTo>
                        <a:pt x="96" y="489"/>
                        <a:pt x="64" y="452"/>
                        <a:pt x="64" y="379"/>
                      </a:cubicBezTo>
                      <a:cubicBezTo>
                        <a:pt x="64" y="160"/>
                        <a:pt x="64" y="160"/>
                        <a:pt x="64" y="160"/>
                      </a:cubicBezTo>
                      <a:cubicBezTo>
                        <a:pt x="0" y="160"/>
                        <a:pt x="0" y="160"/>
                        <a:pt x="0" y="160"/>
                      </a:cubicBezTo>
                      <a:cubicBezTo>
                        <a:pt x="0" y="110"/>
                        <a:pt x="0" y="110"/>
                        <a:pt x="0" y="110"/>
                      </a:cubicBezTo>
                      <a:cubicBezTo>
                        <a:pt x="64" y="110"/>
                        <a:pt x="64" y="110"/>
                        <a:pt x="64" y="110"/>
                      </a:cubicBezTo>
                      <a:cubicBezTo>
                        <a:pt x="64" y="20"/>
                        <a:pt x="64" y="20"/>
                        <a:pt x="64" y="20"/>
                      </a:cubicBezTo>
                      <a:cubicBezTo>
                        <a:pt x="123" y="0"/>
                        <a:pt x="123" y="0"/>
                        <a:pt x="123" y="0"/>
                      </a:cubicBezTo>
                      <a:cubicBezTo>
                        <a:pt x="123" y="110"/>
                        <a:pt x="123" y="110"/>
                        <a:pt x="123" y="110"/>
                      </a:cubicBezTo>
                      <a:cubicBezTo>
                        <a:pt x="217" y="110"/>
                        <a:pt x="217" y="110"/>
                        <a:pt x="217" y="110"/>
                      </a:cubicBezTo>
                      <a:cubicBezTo>
                        <a:pt x="217" y="160"/>
                        <a:pt x="217" y="160"/>
                        <a:pt x="217" y="160"/>
                      </a:cubicBezTo>
                      <a:cubicBezTo>
                        <a:pt x="123" y="160"/>
                        <a:pt x="123" y="160"/>
                        <a:pt x="123" y="160"/>
                      </a:cubicBezTo>
                      <a:cubicBezTo>
                        <a:pt x="123" y="369"/>
                        <a:pt x="123" y="369"/>
                        <a:pt x="123" y="369"/>
                      </a:cubicBezTo>
                      <a:cubicBezTo>
                        <a:pt x="123" y="394"/>
                        <a:pt x="128" y="412"/>
                        <a:pt x="136" y="422"/>
                      </a:cubicBezTo>
                      <a:cubicBezTo>
                        <a:pt x="145" y="433"/>
                        <a:pt x="159" y="438"/>
                        <a:pt x="178" y="438"/>
                      </a:cubicBezTo>
                      <a:cubicBezTo>
                        <a:pt x="193" y="438"/>
                        <a:pt x="206" y="434"/>
                        <a:pt x="217" y="426"/>
                      </a:cubicBezTo>
                      <a:lnTo>
                        <a:pt x="217" y="47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sp>
              <p:nvSpPr>
                <p:cNvPr id="63" name="Freeform 35"/>
                <p:cNvSpPr>
                  <a:spLocks noEditPoints="1"/>
                </p:cNvSpPr>
                <p:nvPr/>
              </p:nvSpPr>
              <p:spPr bwMode="auto">
                <a:xfrm>
                  <a:off x="5212" y="1578"/>
                  <a:ext cx="1090" cy="1231"/>
                </a:xfrm>
                <a:custGeom>
                  <a:avLst/>
                  <a:gdLst>
                    <a:gd name="T0" fmla="*/ 1090 w 1090"/>
                    <a:gd name="T1" fmla="*/ 1231 h 1231"/>
                    <a:gd name="T2" fmla="*/ 932 w 1090"/>
                    <a:gd name="T3" fmla="*/ 1231 h 1231"/>
                    <a:gd name="T4" fmla="*/ 802 w 1090"/>
                    <a:gd name="T5" fmla="*/ 886 h 1231"/>
                    <a:gd name="T6" fmla="*/ 282 w 1090"/>
                    <a:gd name="T7" fmla="*/ 886 h 1231"/>
                    <a:gd name="T8" fmla="*/ 159 w 1090"/>
                    <a:gd name="T9" fmla="*/ 1231 h 1231"/>
                    <a:gd name="T10" fmla="*/ 0 w 1090"/>
                    <a:gd name="T11" fmla="*/ 1231 h 1231"/>
                    <a:gd name="T12" fmla="*/ 468 w 1090"/>
                    <a:gd name="T13" fmla="*/ 0 h 1231"/>
                    <a:gd name="T14" fmla="*/ 617 w 1090"/>
                    <a:gd name="T15" fmla="*/ 0 h 1231"/>
                    <a:gd name="T16" fmla="*/ 1090 w 1090"/>
                    <a:gd name="T17" fmla="*/ 1231 h 1231"/>
                    <a:gd name="T18" fmla="*/ 754 w 1090"/>
                    <a:gd name="T19" fmla="*/ 755 h 1231"/>
                    <a:gd name="T20" fmla="*/ 542 w 1090"/>
                    <a:gd name="T21" fmla="*/ 180 h 1231"/>
                    <a:gd name="T22" fmla="*/ 539 w 1090"/>
                    <a:gd name="T23" fmla="*/ 180 h 1231"/>
                    <a:gd name="T24" fmla="*/ 329 w 1090"/>
                    <a:gd name="T25" fmla="*/ 755 h 1231"/>
                    <a:gd name="T26" fmla="*/ 754 w 1090"/>
                    <a:gd name="T27" fmla="*/ 755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0" h="1231">
                      <a:moveTo>
                        <a:pt x="1090" y="1231"/>
                      </a:moveTo>
                      <a:lnTo>
                        <a:pt x="932" y="1231"/>
                      </a:lnTo>
                      <a:lnTo>
                        <a:pt x="802" y="886"/>
                      </a:lnTo>
                      <a:lnTo>
                        <a:pt x="282" y="886"/>
                      </a:lnTo>
                      <a:lnTo>
                        <a:pt x="159" y="1231"/>
                      </a:lnTo>
                      <a:lnTo>
                        <a:pt x="0" y="1231"/>
                      </a:lnTo>
                      <a:lnTo>
                        <a:pt x="468" y="0"/>
                      </a:lnTo>
                      <a:lnTo>
                        <a:pt x="617" y="0"/>
                      </a:lnTo>
                      <a:lnTo>
                        <a:pt x="1090" y="1231"/>
                      </a:lnTo>
                      <a:close/>
                      <a:moveTo>
                        <a:pt x="754" y="755"/>
                      </a:moveTo>
                      <a:lnTo>
                        <a:pt x="542" y="180"/>
                      </a:lnTo>
                      <a:lnTo>
                        <a:pt x="539" y="180"/>
                      </a:lnTo>
                      <a:lnTo>
                        <a:pt x="329" y="755"/>
                      </a:lnTo>
                      <a:lnTo>
                        <a:pt x="754" y="75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sp>
              <p:nvSpPr>
                <p:cNvPr id="64" name="Freeform 36"/>
                <p:cNvSpPr>
                  <a:spLocks/>
                </p:cNvSpPr>
                <p:nvPr/>
              </p:nvSpPr>
              <p:spPr bwMode="auto">
                <a:xfrm>
                  <a:off x="6363" y="1930"/>
                  <a:ext cx="726" cy="879"/>
                </a:xfrm>
                <a:custGeom>
                  <a:avLst/>
                  <a:gdLst>
                    <a:gd name="T0" fmla="*/ 726 w 726"/>
                    <a:gd name="T1" fmla="*/ 40 h 879"/>
                    <a:gd name="T2" fmla="*/ 206 w 726"/>
                    <a:gd name="T3" fmla="*/ 760 h 879"/>
                    <a:gd name="T4" fmla="*/ 719 w 726"/>
                    <a:gd name="T5" fmla="*/ 760 h 879"/>
                    <a:gd name="T6" fmla="*/ 719 w 726"/>
                    <a:gd name="T7" fmla="*/ 879 h 879"/>
                    <a:gd name="T8" fmla="*/ 0 w 726"/>
                    <a:gd name="T9" fmla="*/ 879 h 879"/>
                    <a:gd name="T10" fmla="*/ 0 w 726"/>
                    <a:gd name="T11" fmla="*/ 836 h 879"/>
                    <a:gd name="T12" fmla="*/ 518 w 726"/>
                    <a:gd name="T13" fmla="*/ 118 h 879"/>
                    <a:gd name="T14" fmla="*/ 50 w 726"/>
                    <a:gd name="T15" fmla="*/ 118 h 879"/>
                    <a:gd name="T16" fmla="*/ 50 w 726"/>
                    <a:gd name="T17" fmla="*/ 0 h 879"/>
                    <a:gd name="T18" fmla="*/ 726 w 726"/>
                    <a:gd name="T19" fmla="*/ 0 h 879"/>
                    <a:gd name="T20" fmla="*/ 726 w 726"/>
                    <a:gd name="T21" fmla="*/ 40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6" h="879">
                      <a:moveTo>
                        <a:pt x="726" y="40"/>
                      </a:moveTo>
                      <a:lnTo>
                        <a:pt x="206" y="760"/>
                      </a:lnTo>
                      <a:lnTo>
                        <a:pt x="719" y="760"/>
                      </a:lnTo>
                      <a:lnTo>
                        <a:pt x="719" y="879"/>
                      </a:lnTo>
                      <a:lnTo>
                        <a:pt x="0" y="879"/>
                      </a:lnTo>
                      <a:lnTo>
                        <a:pt x="0" y="836"/>
                      </a:lnTo>
                      <a:lnTo>
                        <a:pt x="518" y="118"/>
                      </a:lnTo>
                      <a:lnTo>
                        <a:pt x="50" y="118"/>
                      </a:lnTo>
                      <a:lnTo>
                        <a:pt x="50" y="0"/>
                      </a:lnTo>
                      <a:lnTo>
                        <a:pt x="726" y="0"/>
                      </a:lnTo>
                      <a:lnTo>
                        <a:pt x="726" y="4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sp>
              <p:nvSpPr>
                <p:cNvPr id="65" name="Freeform 37"/>
                <p:cNvSpPr>
                  <a:spLocks/>
                </p:cNvSpPr>
                <p:nvPr/>
              </p:nvSpPr>
              <p:spPr bwMode="auto">
                <a:xfrm>
                  <a:off x="7193" y="1930"/>
                  <a:ext cx="728" cy="900"/>
                </a:xfrm>
                <a:custGeom>
                  <a:avLst/>
                  <a:gdLst>
                    <a:gd name="T0" fmla="*/ 308 w 308"/>
                    <a:gd name="T1" fmla="*/ 370 h 379"/>
                    <a:gd name="T2" fmla="*/ 248 w 308"/>
                    <a:gd name="T3" fmla="*/ 370 h 379"/>
                    <a:gd name="T4" fmla="*/ 248 w 308"/>
                    <a:gd name="T5" fmla="*/ 312 h 379"/>
                    <a:gd name="T6" fmla="*/ 247 w 308"/>
                    <a:gd name="T7" fmla="*/ 312 h 379"/>
                    <a:gd name="T8" fmla="*/ 133 w 308"/>
                    <a:gd name="T9" fmla="*/ 379 h 379"/>
                    <a:gd name="T10" fmla="*/ 0 w 308"/>
                    <a:gd name="T11" fmla="*/ 221 h 379"/>
                    <a:gd name="T12" fmla="*/ 0 w 308"/>
                    <a:gd name="T13" fmla="*/ 0 h 379"/>
                    <a:gd name="T14" fmla="*/ 60 w 308"/>
                    <a:gd name="T15" fmla="*/ 0 h 379"/>
                    <a:gd name="T16" fmla="*/ 60 w 308"/>
                    <a:gd name="T17" fmla="*/ 212 h 379"/>
                    <a:gd name="T18" fmla="*/ 149 w 308"/>
                    <a:gd name="T19" fmla="*/ 329 h 379"/>
                    <a:gd name="T20" fmla="*/ 221 w 308"/>
                    <a:gd name="T21" fmla="*/ 297 h 379"/>
                    <a:gd name="T22" fmla="*/ 248 w 308"/>
                    <a:gd name="T23" fmla="*/ 213 h 379"/>
                    <a:gd name="T24" fmla="*/ 248 w 308"/>
                    <a:gd name="T25" fmla="*/ 0 h 379"/>
                    <a:gd name="T26" fmla="*/ 308 w 308"/>
                    <a:gd name="T27" fmla="*/ 0 h 379"/>
                    <a:gd name="T28" fmla="*/ 308 w 308"/>
                    <a:gd name="T29" fmla="*/ 37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8" h="379">
                      <a:moveTo>
                        <a:pt x="308" y="370"/>
                      </a:moveTo>
                      <a:cubicBezTo>
                        <a:pt x="248" y="370"/>
                        <a:pt x="248" y="370"/>
                        <a:pt x="248" y="370"/>
                      </a:cubicBezTo>
                      <a:cubicBezTo>
                        <a:pt x="248" y="312"/>
                        <a:pt x="248" y="312"/>
                        <a:pt x="248" y="312"/>
                      </a:cubicBezTo>
                      <a:cubicBezTo>
                        <a:pt x="247" y="312"/>
                        <a:pt x="247" y="312"/>
                        <a:pt x="247" y="312"/>
                      </a:cubicBezTo>
                      <a:cubicBezTo>
                        <a:pt x="222" y="357"/>
                        <a:pt x="184" y="379"/>
                        <a:pt x="133" y="379"/>
                      </a:cubicBezTo>
                      <a:cubicBezTo>
                        <a:pt x="45" y="379"/>
                        <a:pt x="0" y="327"/>
                        <a:pt x="0" y="221"/>
                      </a:cubicBezTo>
                      <a:cubicBezTo>
                        <a:pt x="0" y="0"/>
                        <a:pt x="0" y="0"/>
                        <a:pt x="0" y="0"/>
                      </a:cubicBezTo>
                      <a:cubicBezTo>
                        <a:pt x="60" y="0"/>
                        <a:pt x="60" y="0"/>
                        <a:pt x="60" y="0"/>
                      </a:cubicBezTo>
                      <a:cubicBezTo>
                        <a:pt x="60" y="212"/>
                        <a:pt x="60" y="212"/>
                        <a:pt x="60" y="212"/>
                      </a:cubicBezTo>
                      <a:cubicBezTo>
                        <a:pt x="60" y="290"/>
                        <a:pt x="90" y="329"/>
                        <a:pt x="149" y="329"/>
                      </a:cubicBezTo>
                      <a:cubicBezTo>
                        <a:pt x="179" y="329"/>
                        <a:pt x="203" y="318"/>
                        <a:pt x="221" y="297"/>
                      </a:cubicBezTo>
                      <a:cubicBezTo>
                        <a:pt x="239" y="275"/>
                        <a:pt x="248" y="248"/>
                        <a:pt x="248" y="213"/>
                      </a:cubicBezTo>
                      <a:cubicBezTo>
                        <a:pt x="248" y="0"/>
                        <a:pt x="248" y="0"/>
                        <a:pt x="248" y="0"/>
                      </a:cubicBezTo>
                      <a:cubicBezTo>
                        <a:pt x="308" y="0"/>
                        <a:pt x="308" y="0"/>
                        <a:pt x="308" y="0"/>
                      </a:cubicBezTo>
                      <a:lnTo>
                        <a:pt x="308" y="37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sp>
              <p:nvSpPr>
                <p:cNvPr id="66" name="Freeform 38"/>
                <p:cNvSpPr>
                  <a:spLocks/>
                </p:cNvSpPr>
                <p:nvPr/>
              </p:nvSpPr>
              <p:spPr bwMode="auto">
                <a:xfrm>
                  <a:off x="8148" y="1913"/>
                  <a:ext cx="456" cy="896"/>
                </a:xfrm>
                <a:custGeom>
                  <a:avLst/>
                  <a:gdLst>
                    <a:gd name="T0" fmla="*/ 193 w 193"/>
                    <a:gd name="T1" fmla="*/ 67 h 377"/>
                    <a:gd name="T2" fmla="*/ 148 w 193"/>
                    <a:gd name="T3" fmla="*/ 55 h 377"/>
                    <a:gd name="T4" fmla="*/ 84 w 193"/>
                    <a:gd name="T5" fmla="*/ 92 h 377"/>
                    <a:gd name="T6" fmla="*/ 60 w 193"/>
                    <a:gd name="T7" fmla="*/ 189 h 377"/>
                    <a:gd name="T8" fmla="*/ 60 w 193"/>
                    <a:gd name="T9" fmla="*/ 377 h 377"/>
                    <a:gd name="T10" fmla="*/ 0 w 193"/>
                    <a:gd name="T11" fmla="*/ 377 h 377"/>
                    <a:gd name="T12" fmla="*/ 0 w 193"/>
                    <a:gd name="T13" fmla="*/ 7 h 377"/>
                    <a:gd name="T14" fmla="*/ 60 w 193"/>
                    <a:gd name="T15" fmla="*/ 7 h 377"/>
                    <a:gd name="T16" fmla="*/ 60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1" y="67"/>
                        <a:pt x="84" y="92"/>
                      </a:cubicBezTo>
                      <a:cubicBezTo>
                        <a:pt x="68" y="117"/>
                        <a:pt x="60" y="149"/>
                        <a:pt x="60" y="189"/>
                      </a:cubicBezTo>
                      <a:cubicBezTo>
                        <a:pt x="60" y="377"/>
                        <a:pt x="60" y="377"/>
                        <a:pt x="60" y="377"/>
                      </a:cubicBezTo>
                      <a:cubicBezTo>
                        <a:pt x="0" y="377"/>
                        <a:pt x="0" y="377"/>
                        <a:pt x="0" y="377"/>
                      </a:cubicBezTo>
                      <a:cubicBezTo>
                        <a:pt x="0" y="7"/>
                        <a:pt x="0" y="7"/>
                        <a:pt x="0" y="7"/>
                      </a:cubicBezTo>
                      <a:cubicBezTo>
                        <a:pt x="60" y="7"/>
                        <a:pt x="60" y="7"/>
                        <a:pt x="60" y="7"/>
                      </a:cubicBezTo>
                      <a:cubicBezTo>
                        <a:pt x="60" y="83"/>
                        <a:pt x="60" y="83"/>
                        <a:pt x="60"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sp>
              <p:nvSpPr>
                <p:cNvPr id="68" name="Freeform 39"/>
                <p:cNvSpPr>
                  <a:spLocks noEditPoints="1"/>
                </p:cNvSpPr>
                <p:nvPr/>
              </p:nvSpPr>
              <p:spPr bwMode="auto">
                <a:xfrm>
                  <a:off x="8611" y="1908"/>
                  <a:ext cx="764" cy="922"/>
                </a:xfrm>
                <a:custGeom>
                  <a:avLst/>
                  <a:gdLst>
                    <a:gd name="T0" fmla="*/ 323 w 323"/>
                    <a:gd name="T1" fmla="*/ 209 h 388"/>
                    <a:gd name="T2" fmla="*/ 62 w 323"/>
                    <a:gd name="T3" fmla="*/ 209 h 388"/>
                    <a:gd name="T4" fmla="*/ 95 w 323"/>
                    <a:gd name="T5" fmla="*/ 305 h 388"/>
                    <a:gd name="T6" fmla="*/ 183 w 323"/>
                    <a:gd name="T7" fmla="*/ 338 h 388"/>
                    <a:gd name="T8" fmla="*/ 297 w 323"/>
                    <a:gd name="T9" fmla="*/ 297 h 388"/>
                    <a:gd name="T10" fmla="*/ 297 w 323"/>
                    <a:gd name="T11" fmla="*/ 353 h 388"/>
                    <a:gd name="T12" fmla="*/ 169 w 323"/>
                    <a:gd name="T13" fmla="*/ 388 h 388"/>
                    <a:gd name="T14" fmla="*/ 45 w 323"/>
                    <a:gd name="T15" fmla="*/ 337 h 388"/>
                    <a:gd name="T16" fmla="*/ 0 w 323"/>
                    <a:gd name="T17" fmla="*/ 196 h 388"/>
                    <a:gd name="T18" fmla="*/ 23 w 323"/>
                    <a:gd name="T19" fmla="*/ 95 h 388"/>
                    <a:gd name="T20" fmla="*/ 84 w 323"/>
                    <a:gd name="T21" fmla="*/ 25 h 388"/>
                    <a:gd name="T22" fmla="*/ 171 w 323"/>
                    <a:gd name="T23" fmla="*/ 0 h 388"/>
                    <a:gd name="T24" fmla="*/ 283 w 323"/>
                    <a:gd name="T25" fmla="*/ 47 h 388"/>
                    <a:gd name="T26" fmla="*/ 323 w 323"/>
                    <a:gd name="T27" fmla="*/ 178 h 388"/>
                    <a:gd name="T28" fmla="*/ 323 w 323"/>
                    <a:gd name="T29" fmla="*/ 209 h 388"/>
                    <a:gd name="T30" fmla="*/ 263 w 323"/>
                    <a:gd name="T31" fmla="*/ 159 h 388"/>
                    <a:gd name="T32" fmla="*/ 238 w 323"/>
                    <a:gd name="T33" fmla="*/ 79 h 388"/>
                    <a:gd name="T34" fmla="*/ 170 w 323"/>
                    <a:gd name="T35" fmla="*/ 51 h 388"/>
                    <a:gd name="T36" fmla="*/ 100 w 323"/>
                    <a:gd name="T37" fmla="*/ 80 h 388"/>
                    <a:gd name="T38" fmla="*/ 63 w 323"/>
                    <a:gd name="T39" fmla="*/ 159 h 388"/>
                    <a:gd name="T40" fmla="*/ 263 w 323"/>
                    <a:gd name="T41" fmla="*/ 159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3" h="388">
                      <a:moveTo>
                        <a:pt x="323" y="209"/>
                      </a:moveTo>
                      <a:cubicBezTo>
                        <a:pt x="62" y="209"/>
                        <a:pt x="62" y="209"/>
                        <a:pt x="62" y="209"/>
                      </a:cubicBezTo>
                      <a:cubicBezTo>
                        <a:pt x="63" y="251"/>
                        <a:pt x="74" y="283"/>
                        <a:pt x="95" y="305"/>
                      </a:cubicBezTo>
                      <a:cubicBezTo>
                        <a:pt x="116" y="327"/>
                        <a:pt x="145" y="338"/>
                        <a:pt x="183" y="338"/>
                      </a:cubicBezTo>
                      <a:cubicBezTo>
                        <a:pt x="225" y="338"/>
                        <a:pt x="263" y="324"/>
                        <a:pt x="297" y="297"/>
                      </a:cubicBezTo>
                      <a:cubicBezTo>
                        <a:pt x="297" y="353"/>
                        <a:pt x="297" y="353"/>
                        <a:pt x="297" y="353"/>
                      </a:cubicBezTo>
                      <a:cubicBezTo>
                        <a:pt x="265" y="376"/>
                        <a:pt x="222" y="388"/>
                        <a:pt x="169" y="388"/>
                      </a:cubicBezTo>
                      <a:cubicBezTo>
                        <a:pt x="116" y="388"/>
                        <a:pt x="75" y="371"/>
                        <a:pt x="45" y="337"/>
                      </a:cubicBezTo>
                      <a:cubicBezTo>
                        <a:pt x="15" y="303"/>
                        <a:pt x="0" y="256"/>
                        <a:pt x="0" y="196"/>
                      </a:cubicBezTo>
                      <a:cubicBezTo>
                        <a:pt x="0" y="159"/>
                        <a:pt x="8" y="125"/>
                        <a:pt x="23" y="95"/>
                      </a:cubicBezTo>
                      <a:cubicBezTo>
                        <a:pt x="38" y="65"/>
                        <a:pt x="58" y="42"/>
                        <a:pt x="84" y="25"/>
                      </a:cubicBezTo>
                      <a:cubicBezTo>
                        <a:pt x="110" y="8"/>
                        <a:pt x="139" y="0"/>
                        <a:pt x="171" y="0"/>
                      </a:cubicBezTo>
                      <a:cubicBezTo>
                        <a:pt x="219" y="0"/>
                        <a:pt x="256" y="16"/>
                        <a:pt x="283" y="47"/>
                      </a:cubicBezTo>
                      <a:cubicBezTo>
                        <a:pt x="310" y="78"/>
                        <a:pt x="323" y="122"/>
                        <a:pt x="323" y="178"/>
                      </a:cubicBezTo>
                      <a:lnTo>
                        <a:pt x="323" y="209"/>
                      </a:lnTo>
                      <a:close/>
                      <a:moveTo>
                        <a:pt x="263" y="159"/>
                      </a:moveTo>
                      <a:cubicBezTo>
                        <a:pt x="262" y="124"/>
                        <a:pt x="254" y="98"/>
                        <a:pt x="238" y="79"/>
                      </a:cubicBezTo>
                      <a:cubicBezTo>
                        <a:pt x="222" y="60"/>
                        <a:pt x="199" y="51"/>
                        <a:pt x="170" y="51"/>
                      </a:cubicBezTo>
                      <a:cubicBezTo>
                        <a:pt x="143" y="51"/>
                        <a:pt x="119" y="60"/>
                        <a:pt x="100" y="80"/>
                      </a:cubicBezTo>
                      <a:cubicBezTo>
                        <a:pt x="80" y="100"/>
                        <a:pt x="68" y="126"/>
                        <a:pt x="63" y="159"/>
                      </a:cubicBezTo>
                      <a:lnTo>
                        <a:pt x="263" y="15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rgbClr val="505050"/>
                    </a:solidFill>
                  </a:endParaRPr>
                </a:p>
              </p:txBody>
            </p:sp>
          </p:grpSp>
        </p:grpSp>
        <p:grpSp>
          <p:nvGrpSpPr>
            <p:cNvPr id="18" name="Group 17"/>
            <p:cNvGrpSpPr/>
            <p:nvPr/>
          </p:nvGrpSpPr>
          <p:grpSpPr>
            <a:xfrm>
              <a:off x="350126" y="4111232"/>
              <a:ext cx="3790601" cy="811206"/>
              <a:chOff x="350126" y="4111232"/>
              <a:chExt cx="3790601" cy="811206"/>
            </a:xfrm>
          </p:grpSpPr>
          <p:pic>
            <p:nvPicPr>
              <p:cNvPr id="73" name="Picture 72"/>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427775" y="4664834"/>
                <a:ext cx="1104830" cy="200541"/>
              </a:xfrm>
              <a:prstGeom prst="rect">
                <a:avLst/>
              </a:prstGeom>
            </p:spPr>
          </p:pic>
          <p:pic>
            <p:nvPicPr>
              <p:cNvPr id="74" name="Picture 73"/>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3620229" y="4282463"/>
                <a:ext cx="520498" cy="142180"/>
              </a:xfrm>
              <a:prstGeom prst="rect">
                <a:avLst/>
              </a:prstGeom>
            </p:spPr>
          </p:pic>
          <p:pic>
            <p:nvPicPr>
              <p:cNvPr id="75" name="Picture 74"/>
              <p:cNvPicPr>
                <a:picLocks noChangeAspect="1"/>
              </p:cNvPicPr>
              <p:nvPr/>
            </p:nvPicPr>
            <p:blipFill rotWithShape="1">
              <a:blip r:embed="rId7" cstate="screen">
                <a:extLst>
                  <a:ext uri="{28A0092B-C50C-407E-A947-70E740481C1C}">
                    <a14:useLocalDpi xmlns:a14="http://schemas.microsoft.com/office/drawing/2010/main" val="0"/>
                  </a:ext>
                </a:extLst>
              </a:blip>
              <a:srcRect/>
              <a:stretch/>
            </p:blipFill>
            <p:spPr>
              <a:xfrm>
                <a:off x="1730077" y="4111232"/>
                <a:ext cx="791901" cy="361753"/>
              </a:xfrm>
              <a:prstGeom prst="rect">
                <a:avLst/>
              </a:prstGeom>
            </p:spPr>
          </p:pic>
          <p:pic>
            <p:nvPicPr>
              <p:cNvPr id="76" name="Picture 2"/>
              <p:cNvPicPr>
                <a:picLocks noChangeAspect="1" noChangeArrowheads="1"/>
              </p:cNvPicPr>
              <p:nvPr/>
            </p:nvPicPr>
            <p:blipFill>
              <a:blip r:embed="rId8">
                <a:extLst>
                  <a:ext uri="{28A0092B-C50C-407E-A947-70E740481C1C}">
                    <a14:useLocalDpi xmlns:a14="http://schemas.microsoft.com/office/drawing/2010/main" val="0"/>
                  </a:ext>
                </a:extLst>
              </a:blip>
              <a:stretch>
                <a:fillRect/>
              </a:stretch>
            </p:blipFill>
            <p:spPr bwMode="auto">
              <a:xfrm>
                <a:off x="350126" y="4128257"/>
                <a:ext cx="1270438" cy="440120"/>
              </a:xfrm>
              <a:prstGeom prst="rect">
                <a:avLst/>
              </a:prstGeom>
              <a:noFill/>
              <a:extLst>
                <a:ext uri="{909E8E84-426E-40DD-AFC4-6F175D3DCCD1}">
                  <a14:hiddenFill xmlns:a14="http://schemas.microsoft.com/office/drawing/2010/main">
                    <a:solidFill>
                      <a:srgbClr val="FFFFFF"/>
                    </a:solidFill>
                  </a14:hiddenFill>
                </a:ext>
              </a:extLst>
            </p:spPr>
          </p:pic>
          <p:grpSp>
            <p:nvGrpSpPr>
              <p:cNvPr id="80" name="Group 79"/>
              <p:cNvGrpSpPr/>
              <p:nvPr/>
            </p:nvGrpSpPr>
            <p:grpSpPr>
              <a:xfrm>
                <a:off x="1725225" y="4607122"/>
                <a:ext cx="1105742" cy="315316"/>
                <a:chOff x="10957261" y="3258670"/>
                <a:chExt cx="881667" cy="251419"/>
              </a:xfrm>
            </p:grpSpPr>
            <p:pic>
              <p:nvPicPr>
                <p:cNvPr id="81" name="Picture 80"/>
                <p:cNvPicPr>
                  <a:picLocks noChangeAspect="1"/>
                </p:cNvPicPr>
                <p:nvPr/>
              </p:nvPicPr>
              <p:blipFill rotWithShape="1">
                <a:blip r:embed="rId9" cstate="screen">
                  <a:clrChange>
                    <a:clrFrom>
                      <a:srgbClr val="FFFFFF"/>
                    </a:clrFrom>
                    <a:clrTo>
                      <a:srgbClr val="FFFFFF">
                        <a:alpha val="0"/>
                      </a:srgbClr>
                    </a:clrTo>
                  </a:clrChange>
                  <a:lum bright="51000"/>
                  <a:extLst>
                    <a:ext uri="{28A0092B-C50C-407E-A947-70E740481C1C}">
                      <a14:useLocalDpi xmlns:a14="http://schemas.microsoft.com/office/drawing/2010/main" val="0"/>
                    </a:ext>
                  </a:extLst>
                </a:blip>
                <a:srcRect/>
                <a:stretch/>
              </p:blipFill>
              <p:spPr>
                <a:xfrm>
                  <a:off x="10957261" y="3269634"/>
                  <a:ext cx="219488" cy="240455"/>
                </a:xfrm>
                <a:prstGeom prst="rect">
                  <a:avLst/>
                </a:prstGeom>
                <a:noFill/>
                <a:ln>
                  <a:noFill/>
                </a:ln>
              </p:spPr>
            </p:pic>
            <p:pic>
              <p:nvPicPr>
                <p:cNvPr id="82" name="Picture 81"/>
                <p:cNvPicPr>
                  <a:picLocks noChangeAspect="1"/>
                </p:cNvPicPr>
                <p:nvPr/>
              </p:nvPicPr>
              <p:blipFill rotWithShape="1">
                <a:blip r:embed="rId10" cstate="screen">
                  <a:extLst>
                    <a:ext uri="{28A0092B-C50C-407E-A947-70E740481C1C}">
                      <a14:useLocalDpi xmlns:a14="http://schemas.microsoft.com/office/drawing/2010/main" val="0"/>
                    </a:ext>
                  </a:extLst>
                </a:blip>
                <a:srcRect/>
                <a:stretch/>
              </p:blipFill>
              <p:spPr>
                <a:xfrm>
                  <a:off x="11176749" y="3258670"/>
                  <a:ext cx="662179" cy="251419"/>
                </a:xfrm>
                <a:prstGeom prst="rect">
                  <a:avLst/>
                </a:prstGeom>
                <a:noFill/>
                <a:ln>
                  <a:noFill/>
                </a:ln>
              </p:spPr>
            </p:pic>
          </p:grpSp>
          <p:grpSp>
            <p:nvGrpSpPr>
              <p:cNvPr id="83" name="Group 82"/>
              <p:cNvGrpSpPr/>
              <p:nvPr/>
            </p:nvGrpSpPr>
            <p:grpSpPr>
              <a:xfrm>
                <a:off x="3169172" y="4650424"/>
                <a:ext cx="734207" cy="237416"/>
                <a:chOff x="12136828" y="3259592"/>
                <a:chExt cx="585422" cy="189305"/>
              </a:xfrm>
            </p:grpSpPr>
            <p:pic>
              <p:nvPicPr>
                <p:cNvPr id="84" name="Picture 4" descr="http://tctechcrunch2011.files.wordpress.com/2012/11/twilio-logo-6a141664f35a78e9ac08eed627c2a859.png"/>
                <p:cNvPicPr>
                  <a:picLocks noChangeAspect="1" noChangeArrowheads="1"/>
                </p:cNvPicPr>
                <p:nvPr/>
              </p:nvPicPr>
              <p:blipFill rotWithShape="1">
                <a:blip r:embed="rId11" cstate="screen">
                  <a:extLst>
                    <a:ext uri="{28A0092B-C50C-407E-A947-70E740481C1C}">
                      <a14:useLocalDpi xmlns:a14="http://schemas.microsoft.com/office/drawing/2010/main" val="0"/>
                    </a:ext>
                  </a:extLst>
                </a:blip>
                <a:srcRect/>
                <a:stretch/>
              </p:blipFill>
              <p:spPr bwMode="auto">
                <a:xfrm>
                  <a:off x="12332326" y="3259592"/>
                  <a:ext cx="389924" cy="189305"/>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85" name="Group 84"/>
                <p:cNvGrpSpPr/>
                <p:nvPr/>
              </p:nvGrpSpPr>
              <p:grpSpPr>
                <a:xfrm>
                  <a:off x="12136828" y="3268957"/>
                  <a:ext cx="178831" cy="178830"/>
                  <a:chOff x="12136828" y="3639206"/>
                  <a:chExt cx="178831" cy="178830"/>
                </a:xfrm>
              </p:grpSpPr>
              <p:sp>
                <p:nvSpPr>
                  <p:cNvPr id="86" name="Freeform 85"/>
                  <p:cNvSpPr/>
                  <p:nvPr/>
                </p:nvSpPr>
                <p:spPr bwMode="auto">
                  <a:xfrm>
                    <a:off x="12136828" y="3639206"/>
                    <a:ext cx="178831" cy="178830"/>
                  </a:xfrm>
                  <a:custGeom>
                    <a:avLst/>
                    <a:gdLst>
                      <a:gd name="connsiteX0" fmla="*/ 89415 w 178830"/>
                      <a:gd name="connsiteY0" fmla="*/ 0 h 178830"/>
                      <a:gd name="connsiteX1" fmla="*/ 178830 w 178830"/>
                      <a:gd name="connsiteY1" fmla="*/ 89415 h 178830"/>
                      <a:gd name="connsiteX2" fmla="*/ 89415 w 178830"/>
                      <a:gd name="connsiteY2" fmla="*/ 178830 h 178830"/>
                      <a:gd name="connsiteX3" fmla="*/ 0 w 178830"/>
                      <a:gd name="connsiteY3" fmla="*/ 89415 h 178830"/>
                      <a:gd name="connsiteX4" fmla="*/ 89415 w 178830"/>
                      <a:gd name="connsiteY4" fmla="*/ 0 h 178830"/>
                      <a:gd name="connsiteX5" fmla="*/ 89415 w 178830"/>
                      <a:gd name="connsiteY5" fmla="*/ 25937 h 178830"/>
                      <a:gd name="connsiteX6" fmla="*/ 25937 w 178830"/>
                      <a:gd name="connsiteY6" fmla="*/ 89415 h 178830"/>
                      <a:gd name="connsiteX7" fmla="*/ 89415 w 178830"/>
                      <a:gd name="connsiteY7" fmla="*/ 152893 h 178830"/>
                      <a:gd name="connsiteX8" fmla="*/ 152893 w 178830"/>
                      <a:gd name="connsiteY8" fmla="*/ 89415 h 178830"/>
                      <a:gd name="connsiteX9" fmla="*/ 89415 w 178830"/>
                      <a:gd name="connsiteY9" fmla="*/ 25937 h 17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830" h="178830">
                        <a:moveTo>
                          <a:pt x="89415" y="0"/>
                        </a:moveTo>
                        <a:cubicBezTo>
                          <a:pt x="138798" y="0"/>
                          <a:pt x="178830" y="40032"/>
                          <a:pt x="178830" y="89415"/>
                        </a:cubicBezTo>
                        <a:cubicBezTo>
                          <a:pt x="178830" y="138798"/>
                          <a:pt x="138798" y="178830"/>
                          <a:pt x="89415" y="178830"/>
                        </a:cubicBezTo>
                        <a:cubicBezTo>
                          <a:pt x="40032" y="178830"/>
                          <a:pt x="0" y="138798"/>
                          <a:pt x="0" y="89415"/>
                        </a:cubicBezTo>
                        <a:cubicBezTo>
                          <a:pt x="0" y="40032"/>
                          <a:pt x="40032" y="0"/>
                          <a:pt x="89415" y="0"/>
                        </a:cubicBezTo>
                        <a:close/>
                        <a:moveTo>
                          <a:pt x="89415" y="25937"/>
                        </a:moveTo>
                        <a:cubicBezTo>
                          <a:pt x="54357" y="25937"/>
                          <a:pt x="25937" y="54357"/>
                          <a:pt x="25937" y="89415"/>
                        </a:cubicBezTo>
                        <a:cubicBezTo>
                          <a:pt x="25937" y="124473"/>
                          <a:pt x="54357" y="152893"/>
                          <a:pt x="89415" y="152893"/>
                        </a:cubicBezTo>
                        <a:cubicBezTo>
                          <a:pt x="124473" y="152893"/>
                          <a:pt x="152893" y="124473"/>
                          <a:pt x="152893" y="89415"/>
                        </a:cubicBezTo>
                        <a:cubicBezTo>
                          <a:pt x="152893" y="54357"/>
                          <a:pt x="124473" y="25937"/>
                          <a:pt x="89415" y="25937"/>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17">
                            <a:srgbClr val="000000"/>
                          </a:gs>
                          <a:gs pos="100000">
                            <a:srgbClr val="000000"/>
                          </a:gs>
                        </a:gsLst>
                        <a:lin ang="5400000" scaled="0"/>
                      </a:gradFill>
                    </a:endParaRPr>
                  </a:p>
                </p:txBody>
              </p:sp>
              <p:grpSp>
                <p:nvGrpSpPr>
                  <p:cNvPr id="87" name="Group 86"/>
                  <p:cNvGrpSpPr/>
                  <p:nvPr/>
                </p:nvGrpSpPr>
                <p:grpSpPr>
                  <a:xfrm>
                    <a:off x="12187796" y="3692698"/>
                    <a:ext cx="76943" cy="71846"/>
                    <a:chOff x="12157225" y="3537324"/>
                    <a:chExt cx="65970" cy="61600"/>
                  </a:xfrm>
                  <a:solidFill>
                    <a:schemeClr val="bg1"/>
                  </a:solidFill>
                </p:grpSpPr>
                <p:sp>
                  <p:nvSpPr>
                    <p:cNvPr id="88" name="Oval 87"/>
                    <p:cNvSpPr/>
                    <p:nvPr/>
                  </p:nvSpPr>
                  <p:spPr bwMode="auto">
                    <a:xfrm>
                      <a:off x="12157225" y="3537325"/>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17">
                              <a:srgbClr val="000000"/>
                            </a:gs>
                            <a:gs pos="100000">
                              <a:srgbClr val="000000"/>
                            </a:gs>
                          </a:gsLst>
                          <a:lin ang="5400000" scaled="0"/>
                        </a:gradFill>
                      </a:endParaRPr>
                    </a:p>
                  </p:txBody>
                </p:sp>
                <p:sp>
                  <p:nvSpPr>
                    <p:cNvPr id="89" name="Oval 88"/>
                    <p:cNvSpPr/>
                    <p:nvPr/>
                  </p:nvSpPr>
                  <p:spPr bwMode="auto">
                    <a:xfrm>
                      <a:off x="12195763" y="3537324"/>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17">
                              <a:srgbClr val="000000"/>
                            </a:gs>
                            <a:gs pos="100000">
                              <a:srgbClr val="000000"/>
                            </a:gs>
                          </a:gsLst>
                          <a:lin ang="5400000" scaled="0"/>
                        </a:gradFill>
                      </a:endParaRPr>
                    </a:p>
                  </p:txBody>
                </p:sp>
                <p:sp>
                  <p:nvSpPr>
                    <p:cNvPr id="90" name="Oval 89"/>
                    <p:cNvSpPr/>
                    <p:nvPr/>
                  </p:nvSpPr>
                  <p:spPr bwMode="auto">
                    <a:xfrm>
                      <a:off x="12157225" y="3571492"/>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17">
                              <a:srgbClr val="000000"/>
                            </a:gs>
                            <a:gs pos="100000">
                              <a:srgbClr val="000000"/>
                            </a:gs>
                          </a:gsLst>
                          <a:lin ang="5400000" scaled="0"/>
                        </a:gradFill>
                      </a:endParaRPr>
                    </a:p>
                  </p:txBody>
                </p:sp>
                <p:sp>
                  <p:nvSpPr>
                    <p:cNvPr id="91" name="Oval 90"/>
                    <p:cNvSpPr/>
                    <p:nvPr/>
                  </p:nvSpPr>
                  <p:spPr bwMode="auto">
                    <a:xfrm>
                      <a:off x="12195763" y="3571492"/>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17">
                              <a:srgbClr val="000000"/>
                            </a:gs>
                            <a:gs pos="100000">
                              <a:srgbClr val="000000"/>
                            </a:gs>
                          </a:gsLst>
                          <a:lin ang="5400000" scaled="0"/>
                        </a:gradFill>
                      </a:endParaRPr>
                    </a:p>
                  </p:txBody>
                </p:sp>
              </p:grpSp>
            </p:grpSp>
          </p:grpSp>
          <p:pic>
            <p:nvPicPr>
              <p:cNvPr id="93" name="Picture 92"/>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2774348" y="4120591"/>
                <a:ext cx="585798" cy="446449"/>
              </a:xfrm>
              <a:prstGeom prst="rect">
                <a:avLst/>
              </a:prstGeom>
            </p:spPr>
          </p:pic>
        </p:grpSp>
        <p:sp>
          <p:nvSpPr>
            <p:cNvPr id="99" name="Rectangle 98"/>
            <p:cNvSpPr/>
            <p:nvPr/>
          </p:nvSpPr>
          <p:spPr bwMode="auto">
            <a:xfrm>
              <a:off x="274637" y="3555276"/>
              <a:ext cx="3274550" cy="57250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defRPr/>
              </a:pPr>
              <a:r>
                <a:rPr lang="en-US" sz="1800" b="1" kern="0" spc="50" dirty="0">
                  <a:gradFill>
                    <a:gsLst>
                      <a:gs pos="0">
                        <a:srgbClr val="FFFFFF"/>
                      </a:gs>
                      <a:gs pos="83000">
                        <a:srgbClr val="FFFFFF"/>
                      </a:gs>
                    </a:gsLst>
                    <a:lin ang="5400000" scaled="1"/>
                  </a:gradFill>
                </a:rPr>
                <a:t>NON-MICROSOFT CLOUD</a:t>
              </a:r>
            </a:p>
          </p:txBody>
        </p:sp>
        <p:grpSp>
          <p:nvGrpSpPr>
            <p:cNvPr id="9" name="Group 8"/>
            <p:cNvGrpSpPr/>
            <p:nvPr/>
          </p:nvGrpSpPr>
          <p:grpSpPr>
            <a:xfrm>
              <a:off x="274637" y="5033881"/>
              <a:ext cx="3499894" cy="1462273"/>
              <a:chOff x="274637" y="5033881"/>
              <a:chExt cx="3499894" cy="1462273"/>
            </a:xfrm>
          </p:grpSpPr>
          <p:sp>
            <p:nvSpPr>
              <p:cNvPr id="100" name="Rectangle 99"/>
              <p:cNvSpPr/>
              <p:nvPr/>
            </p:nvSpPr>
            <p:spPr bwMode="auto">
              <a:xfrm>
                <a:off x="274637" y="5033881"/>
                <a:ext cx="3274550" cy="86057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defRPr/>
                </a:pPr>
                <a:r>
                  <a:rPr lang="en-US" sz="1800" b="1" kern="0" spc="50" dirty="0">
                    <a:gradFill>
                      <a:gsLst>
                        <a:gs pos="0">
                          <a:srgbClr val="FFFFFF"/>
                        </a:gs>
                        <a:gs pos="83000">
                          <a:srgbClr val="FFFFFF"/>
                        </a:gs>
                      </a:gsLst>
                      <a:lin ang="5400000" scaled="1"/>
                    </a:gradFill>
                  </a:rPr>
                  <a:t>ON-PREMISE or DATA ON SERVICE PROVIDERS</a:t>
                </a:r>
              </a:p>
            </p:txBody>
          </p:sp>
          <p:pic>
            <p:nvPicPr>
              <p:cNvPr id="13" name="Picture 12"/>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457490" y="5790086"/>
                <a:ext cx="1100752" cy="285133"/>
              </a:xfrm>
              <a:prstGeom prst="rect">
                <a:avLst/>
              </a:prstGeom>
            </p:spPr>
          </p:pic>
          <p:pic>
            <p:nvPicPr>
              <p:cNvPr id="102" name="Picture 10" descr="\\sfp\Work\White_Whale\_Archive-Tracy\_Archive-Tracy\7-20642_Cloud_Services_Track\Art\Logos\PNGs\Oracle.png"/>
              <p:cNvPicPr>
                <a:picLocks noChangeAspect="1" noChangeArrowheads="1"/>
              </p:cNvPicPr>
              <p:nvPr/>
            </p:nvPicPr>
            <p:blipFill>
              <a:blip r:embed="rId14" cstate="screen">
                <a:extLst>
                  <a:ext uri="{28A0092B-C50C-407E-A947-70E740481C1C}">
                    <a14:useLocalDpi xmlns:a14="http://schemas.microsoft.com/office/drawing/2010/main" val="0"/>
                  </a:ext>
                </a:extLst>
              </a:blip>
              <a:srcRect/>
              <a:stretch>
                <a:fillRect/>
              </a:stretch>
            </p:blipFill>
            <p:spPr bwMode="auto">
              <a:xfrm>
                <a:off x="472534" y="6303466"/>
                <a:ext cx="1011393" cy="128281"/>
              </a:xfrm>
              <a:prstGeom prst="rect">
                <a:avLst/>
              </a:prstGeom>
              <a:noFill/>
              <a:extLst/>
            </p:spPr>
          </p:pic>
          <p:pic>
            <p:nvPicPr>
              <p:cNvPr id="103" name="Picture 102"/>
              <p:cNvPicPr>
                <a:picLocks noChangeAspect="1"/>
              </p:cNvPicPr>
              <p:nvPr/>
            </p:nvPicPr>
            <p:blipFill>
              <a:blip r:embed="rId15" cstate="screen">
                <a:extLst>
                  <a:ext uri="{28A0092B-C50C-407E-A947-70E740481C1C}">
                    <a14:useLocalDpi xmlns:a14="http://schemas.microsoft.com/office/drawing/2010/main" val="0"/>
                  </a:ext>
                </a:extLst>
              </a:blip>
              <a:stretch>
                <a:fillRect/>
              </a:stretch>
            </p:blipFill>
            <p:spPr>
              <a:xfrm>
                <a:off x="1811065" y="5790086"/>
                <a:ext cx="577203" cy="285882"/>
              </a:xfrm>
              <a:prstGeom prst="rect">
                <a:avLst/>
              </a:prstGeom>
            </p:spPr>
          </p:pic>
          <p:pic>
            <p:nvPicPr>
              <p:cNvPr id="4" name="Picture 3"/>
              <p:cNvPicPr>
                <a:picLocks noChangeAspect="1"/>
              </p:cNvPicPr>
              <p:nvPr/>
            </p:nvPicPr>
            <p:blipFill>
              <a:blip r:embed="rId16" cstate="screen">
                <a:extLst>
                  <a:ext uri="{28A0092B-C50C-407E-A947-70E740481C1C}">
                    <a14:useLocalDpi xmlns:a14="http://schemas.microsoft.com/office/drawing/2010/main" val="0"/>
                  </a:ext>
                </a:extLst>
              </a:blip>
              <a:stretch>
                <a:fillRect/>
              </a:stretch>
            </p:blipFill>
            <p:spPr>
              <a:xfrm>
                <a:off x="3176281" y="6264840"/>
                <a:ext cx="598250" cy="231314"/>
              </a:xfrm>
              <a:prstGeom prst="rect">
                <a:avLst/>
              </a:prstGeom>
              <a:noFill/>
              <a:ln>
                <a:noFill/>
              </a:ln>
            </p:spPr>
          </p:pic>
          <p:pic>
            <p:nvPicPr>
              <p:cNvPr id="7" name="Picture 6"/>
              <p:cNvPicPr>
                <a:picLocks noChangeAspect="1"/>
              </p:cNvPicPr>
              <p:nvPr/>
            </p:nvPicPr>
            <p:blipFill>
              <a:blip r:embed="rId17" cstate="screen">
                <a:extLst>
                  <a:ext uri="{28A0092B-C50C-407E-A947-70E740481C1C}">
                    <a14:useLocalDpi xmlns:a14="http://schemas.microsoft.com/office/drawing/2010/main" val="0"/>
                  </a:ext>
                </a:extLst>
              </a:blip>
              <a:stretch>
                <a:fillRect/>
              </a:stretch>
            </p:blipFill>
            <p:spPr>
              <a:xfrm>
                <a:off x="2641091" y="5766276"/>
                <a:ext cx="907024" cy="403877"/>
              </a:xfrm>
              <a:prstGeom prst="rect">
                <a:avLst/>
              </a:prstGeom>
            </p:spPr>
          </p:pic>
          <p:pic>
            <p:nvPicPr>
              <p:cNvPr id="8" name="Picture 7"/>
              <p:cNvPicPr>
                <a:picLocks noChangeAspect="1"/>
              </p:cNvPicPr>
              <p:nvPr/>
            </p:nvPicPr>
            <p:blipFill>
              <a:blip r:embed="rId18" cstate="screen">
                <a:extLst>
                  <a:ext uri="{28A0092B-C50C-407E-A947-70E740481C1C}">
                    <a14:useLocalDpi xmlns:a14="http://schemas.microsoft.com/office/drawing/2010/main" val="0"/>
                  </a:ext>
                </a:extLst>
              </a:blip>
              <a:stretch>
                <a:fillRect/>
              </a:stretch>
            </p:blipFill>
            <p:spPr>
              <a:xfrm>
                <a:off x="1776455" y="6290022"/>
                <a:ext cx="811650" cy="180951"/>
              </a:xfrm>
              <a:prstGeom prst="rect">
                <a:avLst/>
              </a:prstGeom>
            </p:spPr>
          </p:pic>
        </p:grpSp>
      </p:grpSp>
      <p:pic>
        <p:nvPicPr>
          <p:cNvPr id="96" name="Picture 95"/>
          <p:cNvPicPr>
            <a:picLocks noChangeAspect="1"/>
          </p:cNvPicPr>
          <p:nvPr/>
        </p:nvPicPr>
        <p:blipFill>
          <a:blip r:embed="rId19" cstate="screen">
            <a:extLst>
              <a:ext uri="{28A0092B-C50C-407E-A947-70E740481C1C}">
                <a14:useLocalDpi xmlns:a14="http://schemas.microsoft.com/office/drawing/2010/main" val="0"/>
              </a:ext>
            </a:extLst>
          </a:blip>
          <a:stretch>
            <a:fillRect/>
          </a:stretch>
        </p:blipFill>
        <p:spPr>
          <a:xfrm>
            <a:off x="5123346" y="3056628"/>
            <a:ext cx="4386576" cy="2109035"/>
          </a:xfrm>
          <a:prstGeom prst="rect">
            <a:avLst/>
          </a:prstGeom>
          <a:noFill/>
          <a:ln>
            <a:noFill/>
          </a:ln>
        </p:spPr>
      </p:pic>
    </p:spTree>
    <p:extLst>
      <p:ext uri="{BB962C8B-B14F-4D97-AF65-F5344CB8AC3E}">
        <p14:creationId xmlns:p14="http://schemas.microsoft.com/office/powerpoint/2010/main" val="4568382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6"/>
                                        </p:tgtEl>
                                        <p:attrNameLst>
                                          <p:attrName>style.visibility</p:attrName>
                                        </p:attrNameLst>
                                      </p:cBhvr>
                                      <p:to>
                                        <p:strVal val="visible"/>
                                      </p:to>
                                    </p:set>
                                    <p:animEffect transition="in" filter="fade">
                                      <p:cBhvr>
                                        <p:cTn id="7" dur="500"/>
                                        <p:tgtEl>
                                          <p:spTgt spid="96"/>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2" decel="10000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 calcmode="lin" valueType="num">
                                      <p:cBhvr additive="base">
                                        <p:cTn id="12" dur="500" fill="hold"/>
                                        <p:tgtEl>
                                          <p:spTgt spid="12"/>
                                        </p:tgtEl>
                                        <p:attrNameLst>
                                          <p:attrName>ppt_x</p:attrName>
                                        </p:attrNameLst>
                                      </p:cBhvr>
                                      <p:tavLst>
                                        <p:tav tm="0">
                                          <p:val>
                                            <p:strVal val="1+#ppt_w/2"/>
                                          </p:val>
                                        </p:tav>
                                        <p:tav tm="100000">
                                          <p:val>
                                            <p:strVal val="#ppt_x"/>
                                          </p:val>
                                        </p:tav>
                                      </p:tavLst>
                                    </p:anim>
                                    <p:anim calcmode="lin" valueType="num">
                                      <p:cBhvr additive="base">
                                        <p:cTn id="13" dur="500" fill="hold"/>
                                        <p:tgtEl>
                                          <p:spTgt spid="12"/>
                                        </p:tgtEl>
                                        <p:attrNameLst>
                                          <p:attrName>ppt_y</p:attrName>
                                        </p:attrNameLst>
                                      </p:cBhvr>
                                      <p:tavLst>
                                        <p:tav tm="0">
                                          <p:val>
                                            <p:strVal val="#ppt_y"/>
                                          </p:val>
                                        </p:tav>
                                        <p:tav tm="100000">
                                          <p:val>
                                            <p:strVal val="#ppt_y"/>
                                          </p:val>
                                        </p:tav>
                                      </p:tavLst>
                                    </p:anim>
                                  </p:childTnLst>
                                </p:cTn>
                              </p:par>
                              <p:par>
                                <p:cTn id="14" presetID="1" presetClass="entr" presetSubtype="0" fill="hold" grpId="2" nodeType="withEffect">
                                  <p:stCondLst>
                                    <p:cond delay="0"/>
                                  </p:stCondLst>
                                  <p:childTnLst>
                                    <p:set>
                                      <p:cBhvr>
                                        <p:cTn id="15" dur="1" fill="hold">
                                          <p:stCondLst>
                                            <p:cond delay="499"/>
                                          </p:stCondLst>
                                        </p:cTn>
                                        <p:tgtEl>
                                          <p:spTgt spid="95"/>
                                        </p:tgtEl>
                                        <p:attrNameLst>
                                          <p:attrName>style.visibility</p:attrName>
                                        </p:attrNameLst>
                                      </p:cBhvr>
                                      <p:to>
                                        <p:strVal val="visible"/>
                                      </p:to>
                                    </p:set>
                                  </p:childTnLst>
                                </p:cTn>
                              </p:par>
                              <p:par>
                                <p:cTn id="16" presetID="6" presetClass="emph" presetSubtype="0" accel="100000" autoRev="1" fill="hold" grpId="0" nodeType="withEffect">
                                  <p:stCondLst>
                                    <p:cond delay="0"/>
                                  </p:stCondLst>
                                  <p:childTnLst>
                                    <p:animScale>
                                      <p:cBhvr>
                                        <p:cTn id="17" dur="500" fill="hold"/>
                                        <p:tgtEl>
                                          <p:spTgt spid="95"/>
                                        </p:tgtEl>
                                      </p:cBhvr>
                                      <p:by x="0" y="100000"/>
                                    </p:animScale>
                                  </p:childTnLst>
                                </p:cTn>
                              </p:par>
                              <p:par>
                                <p:cTn id="18" presetID="63" presetClass="path" presetSubtype="0" accel="100000" decel="50000" autoRev="1" fill="hold" grpId="1" nodeType="withEffect">
                                  <p:stCondLst>
                                    <p:cond delay="0"/>
                                  </p:stCondLst>
                                  <p:childTnLst>
                                    <p:animMotion origin="layout" path="M -5.18254E-7 3.93554E-6 L 0.04378 3.93554E-6 " pathEditMode="relative" rAng="0" ptsTypes="AA">
                                      <p:cBhvr>
                                        <p:cTn id="19" dur="500" fill="hold"/>
                                        <p:tgtEl>
                                          <p:spTgt spid="95"/>
                                        </p:tgtEl>
                                        <p:attrNameLst>
                                          <p:attrName>ppt_x</p:attrName>
                                          <p:attrName>ppt_y</p:attrName>
                                        </p:attrNameLst>
                                      </p:cBhvr>
                                      <p:rCtr x="2183" y="0"/>
                                    </p:animMotion>
                                  </p:childTnLst>
                                </p:cTn>
                              </p:par>
                              <p:par>
                                <p:cTn id="20" presetID="1" presetClass="entr" presetSubtype="0" fill="hold" grpId="1" nodeType="withEffect">
                                  <p:stCondLst>
                                    <p:cond delay="0"/>
                                  </p:stCondLst>
                                  <p:childTnLst>
                                    <p:set>
                                      <p:cBhvr>
                                        <p:cTn id="21" dur="1" fill="hold">
                                          <p:stCondLst>
                                            <p:cond delay="499"/>
                                          </p:stCondLst>
                                        </p:cTn>
                                        <p:tgtEl>
                                          <p:spTgt spid="24"/>
                                        </p:tgtEl>
                                        <p:attrNameLst>
                                          <p:attrName>style.visibility</p:attrName>
                                        </p:attrNameLst>
                                      </p:cBhvr>
                                      <p:to>
                                        <p:strVal val="visible"/>
                                      </p:to>
                                    </p:set>
                                  </p:childTnLst>
                                </p:cTn>
                              </p:par>
                              <p:par>
                                <p:cTn id="22" presetID="6" presetClass="emph" presetSubtype="0" accel="100000" autoRev="1" fill="hold" grpId="0" nodeType="withEffect">
                                  <p:stCondLst>
                                    <p:cond delay="0"/>
                                  </p:stCondLst>
                                  <p:childTnLst>
                                    <p:animScale>
                                      <p:cBhvr>
                                        <p:cTn id="23" dur="500" fill="hold"/>
                                        <p:tgtEl>
                                          <p:spTgt spid="24"/>
                                        </p:tgtEl>
                                      </p:cBhvr>
                                      <p:by x="0" y="0"/>
                                    </p:animScale>
                                  </p:childTnLst>
                                </p:cTn>
                              </p:par>
                              <p:par>
                                <p:cTn id="24" presetID="42" presetClass="path" presetSubtype="0" accel="100000" autoRev="1" fill="hold" grpId="2" nodeType="withEffect">
                                  <p:stCondLst>
                                    <p:cond delay="0"/>
                                  </p:stCondLst>
                                  <p:childTnLst>
                                    <p:animMotion origin="layout" path="M 4.09242E-6 1.08942E-7 L 0.03293 1.08942E-7 " pathEditMode="relative" rAng="0" ptsTypes="AA">
                                      <p:cBhvr>
                                        <p:cTn id="25" dur="500" fill="hold"/>
                                        <p:tgtEl>
                                          <p:spTgt spid="24"/>
                                        </p:tgtEl>
                                        <p:attrNameLst>
                                          <p:attrName>ppt_x</p:attrName>
                                          <p:attrName>ppt_y</p:attrName>
                                        </p:attrNameLst>
                                      </p:cBhvr>
                                      <p:rCtr x="1647" y="0"/>
                                    </p:animMotion>
                                  </p:childTnLst>
                                </p:cTn>
                              </p:par>
                              <p:par>
                                <p:cTn id="26" presetID="1" presetClass="entr" presetSubtype="0" fill="hold" nodeType="withEffect">
                                  <p:stCondLst>
                                    <p:cond delay="100"/>
                                  </p:stCondLst>
                                  <p:childTnLst>
                                    <p:set>
                                      <p:cBhvr>
                                        <p:cTn id="27" dur="1" fill="hold">
                                          <p:stCondLst>
                                            <p:cond delay="499"/>
                                          </p:stCondLst>
                                        </p:cTn>
                                        <p:tgtEl>
                                          <p:spTgt spid="41"/>
                                        </p:tgtEl>
                                        <p:attrNameLst>
                                          <p:attrName>style.visibility</p:attrName>
                                        </p:attrNameLst>
                                      </p:cBhvr>
                                      <p:to>
                                        <p:strVal val="visible"/>
                                      </p:to>
                                    </p:set>
                                  </p:childTnLst>
                                </p:cTn>
                              </p:par>
                              <p:par>
                                <p:cTn id="28" presetID="6" presetClass="emph" presetSubtype="0" accel="100000" autoRev="1" fill="hold" nodeType="withEffect">
                                  <p:stCondLst>
                                    <p:cond delay="100"/>
                                  </p:stCondLst>
                                  <p:childTnLst>
                                    <p:animScale>
                                      <p:cBhvr>
                                        <p:cTn id="29" dur="500" fill="hold"/>
                                        <p:tgtEl>
                                          <p:spTgt spid="41"/>
                                        </p:tgtEl>
                                      </p:cBhvr>
                                      <p:by x="0" y="0"/>
                                    </p:animScale>
                                  </p:childTnLst>
                                </p:cTn>
                              </p:par>
                              <p:par>
                                <p:cTn id="30" presetID="42" presetClass="path" presetSubtype="0" accel="100000" autoRev="1" fill="hold" nodeType="withEffect">
                                  <p:stCondLst>
                                    <p:cond delay="100"/>
                                  </p:stCondLst>
                                  <p:childTnLst>
                                    <p:animMotion origin="layout" path="M 4.09242E-6 1.08942E-7 L 0.03293 1.08942E-7 " pathEditMode="relative" rAng="0" ptsTypes="AA">
                                      <p:cBhvr>
                                        <p:cTn id="31" dur="500" fill="hold"/>
                                        <p:tgtEl>
                                          <p:spTgt spid="41"/>
                                        </p:tgtEl>
                                        <p:attrNameLst>
                                          <p:attrName>ppt_x</p:attrName>
                                          <p:attrName>ppt_y</p:attrName>
                                        </p:attrNameLst>
                                      </p:cBhvr>
                                      <p:rCtr x="1647" y="0"/>
                                    </p:animMotion>
                                  </p:childTnLst>
                                </p:cTn>
                              </p:par>
                              <p:par>
                                <p:cTn id="32" presetID="10" presetClass="entr" presetSubtype="0" fill="hold" grpId="0" nodeType="withEffect">
                                  <p:stCondLst>
                                    <p:cond delay="600"/>
                                  </p:stCondLst>
                                  <p:childTnLst>
                                    <p:set>
                                      <p:cBhvr>
                                        <p:cTn id="33" dur="1" fill="hold">
                                          <p:stCondLst>
                                            <p:cond delay="0"/>
                                          </p:stCondLst>
                                        </p:cTn>
                                        <p:tgtEl>
                                          <p:spTgt spid="94"/>
                                        </p:tgtEl>
                                        <p:attrNameLst>
                                          <p:attrName>style.visibility</p:attrName>
                                        </p:attrNameLst>
                                      </p:cBhvr>
                                      <p:to>
                                        <p:strVal val="visible"/>
                                      </p:to>
                                    </p:set>
                                    <p:animEffect transition="in" filter="fade">
                                      <p:cBhvr>
                                        <p:cTn id="34" dur="500"/>
                                        <p:tgtEl>
                                          <p:spTgt spid="94"/>
                                        </p:tgtEl>
                                      </p:cBhvr>
                                    </p:animEffect>
                                  </p:childTnLst>
                                </p:cTn>
                              </p:par>
                              <p:par>
                                <p:cTn id="35" presetID="63" presetClass="path" presetSubtype="0" decel="100000" fill="hold" grpId="1" nodeType="withEffect">
                                  <p:stCondLst>
                                    <p:cond delay="600"/>
                                  </p:stCondLst>
                                  <p:childTnLst>
                                    <p:animMotion origin="layout" path="M -2.41767E-6 -1.76123E-6 L 0.02106 -1.76123E-6 " pathEditMode="relative" rAng="0" ptsTypes="AA">
                                      <p:cBhvr>
                                        <p:cTn id="36" dur="500" spd="-100000" fill="hold"/>
                                        <p:tgtEl>
                                          <p:spTgt spid="94"/>
                                        </p:tgtEl>
                                        <p:attrNameLst>
                                          <p:attrName>ppt_x</p:attrName>
                                          <p:attrName>ppt_y</p:attrName>
                                        </p:attrNameLst>
                                      </p:cBhvr>
                                      <p:rCtr x="1047" y="0"/>
                                    </p:animMotion>
                                  </p:childTnLst>
                                </p:cTn>
                              </p:par>
                            </p:childTnLst>
                          </p:cTn>
                        </p:par>
                      </p:childTnLst>
                    </p:cTn>
                  </p:par>
                  <p:par>
                    <p:cTn id="37" fill="hold">
                      <p:stCondLst>
                        <p:cond delay="indefinite"/>
                      </p:stCondLst>
                      <p:childTnLst>
                        <p:par>
                          <p:cTn id="38" fill="hold">
                            <p:stCondLst>
                              <p:cond delay="0"/>
                            </p:stCondLst>
                            <p:childTnLst>
                              <p:par>
                                <p:cTn id="39" presetID="2" presetClass="entr" presetSubtype="8" decel="100000" fill="hold" nodeType="clickEffect">
                                  <p:stCondLst>
                                    <p:cond delay="0"/>
                                  </p:stCondLst>
                                  <p:childTnLst>
                                    <p:set>
                                      <p:cBhvr>
                                        <p:cTn id="40" dur="1" fill="hold">
                                          <p:stCondLst>
                                            <p:cond delay="0"/>
                                          </p:stCondLst>
                                        </p:cTn>
                                        <p:tgtEl>
                                          <p:spTgt spid="16"/>
                                        </p:tgtEl>
                                        <p:attrNameLst>
                                          <p:attrName>style.visibility</p:attrName>
                                        </p:attrNameLst>
                                      </p:cBhvr>
                                      <p:to>
                                        <p:strVal val="visible"/>
                                      </p:to>
                                    </p:set>
                                    <p:anim calcmode="lin" valueType="num">
                                      <p:cBhvr additive="base">
                                        <p:cTn id="41" dur="500" fill="hold"/>
                                        <p:tgtEl>
                                          <p:spTgt spid="16"/>
                                        </p:tgtEl>
                                        <p:attrNameLst>
                                          <p:attrName>ppt_x</p:attrName>
                                        </p:attrNameLst>
                                      </p:cBhvr>
                                      <p:tavLst>
                                        <p:tav tm="0">
                                          <p:val>
                                            <p:strVal val="0-#ppt_w/2"/>
                                          </p:val>
                                        </p:tav>
                                        <p:tav tm="100000">
                                          <p:val>
                                            <p:strVal val="#ppt_x"/>
                                          </p:val>
                                        </p:tav>
                                      </p:tavLst>
                                    </p:anim>
                                    <p:anim calcmode="lin" valueType="num">
                                      <p:cBhvr additive="base">
                                        <p:cTn id="42" dur="500" fill="hold"/>
                                        <p:tgtEl>
                                          <p:spTgt spid="16"/>
                                        </p:tgtEl>
                                        <p:attrNameLst>
                                          <p:attrName>ppt_y</p:attrName>
                                        </p:attrNameLst>
                                      </p:cBhvr>
                                      <p:tavLst>
                                        <p:tav tm="0">
                                          <p:val>
                                            <p:strVal val="#ppt_y"/>
                                          </p:val>
                                        </p:tav>
                                        <p:tav tm="100000">
                                          <p:val>
                                            <p:strVal val="#ppt_y"/>
                                          </p:val>
                                        </p:tav>
                                      </p:tavLst>
                                    </p:anim>
                                  </p:childTnLst>
                                </p:cTn>
                              </p:par>
                              <p:par>
                                <p:cTn id="43" presetID="2" presetClass="entr" presetSubtype="8" decel="100000" fill="hold" nodeType="withEffect">
                                  <p:stCondLst>
                                    <p:cond delay="0"/>
                                  </p:stCondLst>
                                  <p:childTnLst>
                                    <p:set>
                                      <p:cBhvr>
                                        <p:cTn id="44" dur="1" fill="hold">
                                          <p:stCondLst>
                                            <p:cond delay="0"/>
                                          </p:stCondLst>
                                        </p:cTn>
                                        <p:tgtEl>
                                          <p:spTgt spid="17"/>
                                        </p:tgtEl>
                                        <p:attrNameLst>
                                          <p:attrName>style.visibility</p:attrName>
                                        </p:attrNameLst>
                                      </p:cBhvr>
                                      <p:to>
                                        <p:strVal val="visible"/>
                                      </p:to>
                                    </p:set>
                                    <p:anim calcmode="lin" valueType="num">
                                      <p:cBhvr additive="base">
                                        <p:cTn id="45" dur="500" fill="hold"/>
                                        <p:tgtEl>
                                          <p:spTgt spid="17"/>
                                        </p:tgtEl>
                                        <p:attrNameLst>
                                          <p:attrName>ppt_x</p:attrName>
                                        </p:attrNameLst>
                                      </p:cBhvr>
                                      <p:tavLst>
                                        <p:tav tm="0">
                                          <p:val>
                                            <p:strVal val="0-#ppt_w/2"/>
                                          </p:val>
                                        </p:tav>
                                        <p:tav tm="100000">
                                          <p:val>
                                            <p:strVal val="#ppt_x"/>
                                          </p:val>
                                        </p:tav>
                                      </p:tavLst>
                                    </p:anim>
                                    <p:anim calcmode="lin" valueType="num">
                                      <p:cBhvr additive="base">
                                        <p:cTn id="46" dur="500" fill="hold"/>
                                        <p:tgtEl>
                                          <p:spTgt spid="17"/>
                                        </p:tgtEl>
                                        <p:attrNameLst>
                                          <p:attrName>ppt_y</p:attrName>
                                        </p:attrNameLst>
                                      </p:cBhvr>
                                      <p:tavLst>
                                        <p:tav tm="0">
                                          <p:val>
                                            <p:strVal val="#ppt_y"/>
                                          </p:val>
                                        </p:tav>
                                        <p:tav tm="100000">
                                          <p:val>
                                            <p:strVal val="#ppt_y"/>
                                          </p:val>
                                        </p:tav>
                                      </p:tavLst>
                                    </p:anim>
                                  </p:childTnLst>
                                </p:cTn>
                              </p:par>
                              <p:par>
                                <p:cTn id="47" presetID="2" presetClass="entr" presetSubtype="8" decel="100000" fill="hold" grpId="0" nodeType="withEffect">
                                  <p:stCondLst>
                                    <p:cond delay="0"/>
                                  </p:stCondLst>
                                  <p:childTnLst>
                                    <p:set>
                                      <p:cBhvr>
                                        <p:cTn id="48" dur="1" fill="hold">
                                          <p:stCondLst>
                                            <p:cond delay="0"/>
                                          </p:stCondLst>
                                        </p:cTn>
                                        <p:tgtEl>
                                          <p:spTgt spid="78"/>
                                        </p:tgtEl>
                                        <p:attrNameLst>
                                          <p:attrName>style.visibility</p:attrName>
                                        </p:attrNameLst>
                                      </p:cBhvr>
                                      <p:to>
                                        <p:strVal val="visible"/>
                                      </p:to>
                                    </p:set>
                                    <p:anim calcmode="lin" valueType="num">
                                      <p:cBhvr additive="base">
                                        <p:cTn id="49" dur="500" fill="hold"/>
                                        <p:tgtEl>
                                          <p:spTgt spid="78"/>
                                        </p:tgtEl>
                                        <p:attrNameLst>
                                          <p:attrName>ppt_x</p:attrName>
                                        </p:attrNameLst>
                                      </p:cBhvr>
                                      <p:tavLst>
                                        <p:tav tm="0">
                                          <p:val>
                                            <p:strVal val="0-#ppt_w/2"/>
                                          </p:val>
                                        </p:tav>
                                        <p:tav tm="100000">
                                          <p:val>
                                            <p:strVal val="#ppt_x"/>
                                          </p:val>
                                        </p:tav>
                                      </p:tavLst>
                                    </p:anim>
                                    <p:anim calcmode="lin" valueType="num">
                                      <p:cBhvr additive="base">
                                        <p:cTn id="50" dur="500" fill="hold"/>
                                        <p:tgtEl>
                                          <p:spTgt spid="78"/>
                                        </p:tgtEl>
                                        <p:attrNameLst>
                                          <p:attrName>ppt_y</p:attrName>
                                        </p:attrNameLst>
                                      </p:cBhvr>
                                      <p:tavLst>
                                        <p:tav tm="0">
                                          <p:val>
                                            <p:strVal val="#ppt_y"/>
                                          </p:val>
                                        </p:tav>
                                        <p:tav tm="100000">
                                          <p:val>
                                            <p:strVal val="#ppt_y"/>
                                          </p:val>
                                        </p:tav>
                                      </p:tavLst>
                                    </p:anim>
                                  </p:childTnLst>
                                </p:cTn>
                              </p:par>
                              <p:par>
                                <p:cTn id="51" presetID="10" presetClass="entr" presetSubtype="0" fill="hold" nodeType="withEffect">
                                  <p:stCondLst>
                                    <p:cond delay="300"/>
                                  </p:stCondLst>
                                  <p:childTnLst>
                                    <p:set>
                                      <p:cBhvr>
                                        <p:cTn id="52" dur="1" fill="hold">
                                          <p:stCondLst>
                                            <p:cond delay="0"/>
                                          </p:stCondLst>
                                        </p:cTn>
                                        <p:tgtEl>
                                          <p:spTgt spid="25"/>
                                        </p:tgtEl>
                                        <p:attrNameLst>
                                          <p:attrName>style.visibility</p:attrName>
                                        </p:attrNameLst>
                                      </p:cBhvr>
                                      <p:to>
                                        <p:strVal val="visible"/>
                                      </p:to>
                                    </p:set>
                                    <p:animEffect transition="in" filter="fade">
                                      <p:cBhvr>
                                        <p:cTn id="53" dur="500"/>
                                        <p:tgtEl>
                                          <p:spTgt spid="25"/>
                                        </p:tgtEl>
                                      </p:cBhvr>
                                    </p:animEffect>
                                  </p:childTnLst>
                                </p:cTn>
                              </p:par>
                              <p:par>
                                <p:cTn id="54" presetID="35" presetClass="path" presetSubtype="0" decel="100000" fill="hold" nodeType="withEffect">
                                  <p:stCondLst>
                                    <p:cond delay="300"/>
                                  </p:stCondLst>
                                  <p:childTnLst>
                                    <p:animMotion origin="layout" path="M -1.70794E-6 -4.17612E-7 L -0.03868 -4.17612E-7 " pathEditMode="relative" rAng="0" ptsTypes="AA">
                                      <p:cBhvr>
                                        <p:cTn id="55" dur="500" spd="-100000" fill="hold"/>
                                        <p:tgtEl>
                                          <p:spTgt spid="25"/>
                                        </p:tgtEl>
                                        <p:attrNameLst>
                                          <p:attrName>ppt_x</p:attrName>
                                          <p:attrName>ppt_y</p:attrName>
                                        </p:attrNameLst>
                                      </p:cBhvr>
                                      <p:rCtr x="-1940" y="0"/>
                                    </p:animMotion>
                                  </p:childTnLst>
                                </p:cTn>
                              </p:par>
                            </p:childTnLst>
                          </p:cTn>
                        </p:par>
                      </p:childTnLst>
                    </p:cTn>
                  </p:par>
                  <p:par>
                    <p:cTn id="56" fill="hold">
                      <p:stCondLst>
                        <p:cond delay="indefinite"/>
                      </p:stCondLst>
                      <p:childTnLst>
                        <p:par>
                          <p:cTn id="57" fill="hold">
                            <p:stCondLst>
                              <p:cond delay="0"/>
                            </p:stCondLst>
                            <p:childTnLst>
                              <p:par>
                                <p:cTn id="58" presetID="42" presetClass="path" presetSubtype="0" decel="100000" fill="hold" nodeType="clickEffect">
                                  <p:stCondLst>
                                    <p:cond delay="0"/>
                                  </p:stCondLst>
                                  <p:childTnLst>
                                    <p:animMotion origin="layout" path="M -4.7664E-6 3.58602E-7 L -0.01073 3.24103E-6 " pathEditMode="relative" rAng="0" ptsTypes="AA">
                                      <p:cBhvr>
                                        <p:cTn id="59" dur="500" fill="hold"/>
                                        <p:tgtEl>
                                          <p:spTgt spid="16"/>
                                        </p:tgtEl>
                                        <p:attrNameLst>
                                          <p:attrName>ppt_x</p:attrName>
                                          <p:attrName>ppt_y</p:attrName>
                                        </p:attrNameLst>
                                      </p:cBhvr>
                                      <p:rCtr x="-625" y="272"/>
                                    </p:animMotion>
                                  </p:childTnLst>
                                </p:cTn>
                              </p:par>
                              <p:par>
                                <p:cTn id="60" presetID="42" presetClass="path" presetSubtype="0" decel="100000" fill="hold" nodeType="withEffect">
                                  <p:stCondLst>
                                    <p:cond delay="0"/>
                                  </p:stCondLst>
                                  <p:childTnLst>
                                    <p:animMotion origin="layout" path="M -4.7664E-6 -2.48752E-6 L -0.01072 -8.6246E-7 " pathEditMode="relative" rAng="0" ptsTypes="AA">
                                      <p:cBhvr>
                                        <p:cTn id="61" dur="500" fill="hold"/>
                                        <p:tgtEl>
                                          <p:spTgt spid="17"/>
                                        </p:tgtEl>
                                        <p:attrNameLst>
                                          <p:attrName>ppt_x</p:attrName>
                                          <p:attrName>ppt_y</p:attrName>
                                        </p:attrNameLst>
                                      </p:cBhvr>
                                      <p:rCtr x="-677" y="182"/>
                                    </p:animMotion>
                                  </p:childTnLst>
                                </p:cTn>
                              </p:par>
                              <p:par>
                                <p:cTn id="62" presetID="42" presetClass="path" presetSubtype="0" decel="100000" fill="hold" grpId="1" nodeType="withEffect">
                                  <p:stCondLst>
                                    <p:cond delay="0"/>
                                  </p:stCondLst>
                                  <p:childTnLst>
                                    <p:animMotion origin="layout" path="M -4.7664E-6 3.58602E-7 L -0.01073 3.24103E-6 " pathEditMode="relative" rAng="0" ptsTypes="AA">
                                      <p:cBhvr>
                                        <p:cTn id="63" dur="500" fill="hold"/>
                                        <p:tgtEl>
                                          <p:spTgt spid="78"/>
                                        </p:tgtEl>
                                        <p:attrNameLst>
                                          <p:attrName>ppt_x</p:attrName>
                                          <p:attrName>ppt_y</p:attrName>
                                        </p:attrNameLst>
                                      </p:cBhvr>
                                      <p:rCtr x="-625" y="272"/>
                                    </p:animMotion>
                                  </p:childTnLst>
                                </p:cTn>
                              </p:par>
                              <p:par>
                                <p:cTn id="64" presetID="42" presetClass="path" presetSubtype="0" decel="100000" fill="hold" nodeType="withEffect">
                                  <p:stCondLst>
                                    <p:cond delay="0"/>
                                  </p:stCondLst>
                                  <p:childTnLst>
                                    <p:animMotion origin="layout" path="M -2.90784E-6 2.19246E-6 L 0.13403 2.19246E-6 " pathEditMode="relative" rAng="0" ptsTypes="AA">
                                      <p:cBhvr>
                                        <p:cTn id="65" dur="500" fill="hold"/>
                                        <p:tgtEl>
                                          <p:spTgt spid="96"/>
                                        </p:tgtEl>
                                        <p:attrNameLst>
                                          <p:attrName>ppt_x</p:attrName>
                                          <p:attrName>ppt_y</p:attrName>
                                        </p:attrNameLst>
                                      </p:cBhvr>
                                      <p:rCtr x="6702" y="0"/>
                                    </p:animMotion>
                                  </p:childTnLst>
                                </p:cTn>
                              </p:par>
                            </p:childTnLst>
                          </p:cTn>
                        </p:par>
                        <p:par>
                          <p:cTn id="66" fill="hold">
                            <p:stCondLst>
                              <p:cond delay="500"/>
                            </p:stCondLst>
                            <p:childTnLst>
                              <p:par>
                                <p:cTn id="67" presetID="2" presetClass="entr" presetSubtype="4" decel="100000" fill="hold" nodeType="afterEffect">
                                  <p:stCondLst>
                                    <p:cond delay="0"/>
                                  </p:stCondLst>
                                  <p:childTnLst>
                                    <p:set>
                                      <p:cBhvr>
                                        <p:cTn id="68" dur="1" fill="hold">
                                          <p:stCondLst>
                                            <p:cond delay="0"/>
                                          </p:stCondLst>
                                        </p:cTn>
                                        <p:tgtEl>
                                          <p:spTgt spid="29"/>
                                        </p:tgtEl>
                                        <p:attrNameLst>
                                          <p:attrName>style.visibility</p:attrName>
                                        </p:attrNameLst>
                                      </p:cBhvr>
                                      <p:to>
                                        <p:strVal val="visible"/>
                                      </p:to>
                                    </p:set>
                                    <p:anim calcmode="lin" valueType="num">
                                      <p:cBhvr additive="base">
                                        <p:cTn id="69" dur="500" fill="hold"/>
                                        <p:tgtEl>
                                          <p:spTgt spid="29"/>
                                        </p:tgtEl>
                                        <p:attrNameLst>
                                          <p:attrName>ppt_x</p:attrName>
                                        </p:attrNameLst>
                                      </p:cBhvr>
                                      <p:tavLst>
                                        <p:tav tm="0">
                                          <p:val>
                                            <p:strVal val="#ppt_x"/>
                                          </p:val>
                                        </p:tav>
                                        <p:tav tm="100000">
                                          <p:val>
                                            <p:strVal val="#ppt_x"/>
                                          </p:val>
                                        </p:tav>
                                      </p:tavLst>
                                    </p:anim>
                                    <p:anim calcmode="lin" valueType="num">
                                      <p:cBhvr additive="base">
                                        <p:cTn id="70" dur="500" fill="hold"/>
                                        <p:tgtEl>
                                          <p:spTgt spid="29"/>
                                        </p:tgtEl>
                                        <p:attrNameLst>
                                          <p:attrName>ppt_y</p:attrName>
                                        </p:attrNameLst>
                                      </p:cBhvr>
                                      <p:tavLst>
                                        <p:tav tm="0">
                                          <p:val>
                                            <p:strVal val="1+#ppt_h/2"/>
                                          </p:val>
                                        </p:tav>
                                        <p:tav tm="100000">
                                          <p:val>
                                            <p:strVal val="#ppt_y"/>
                                          </p:val>
                                        </p:tav>
                                      </p:tavLst>
                                    </p:anim>
                                  </p:childTnLst>
                                </p:cTn>
                              </p:par>
                              <p:par>
                                <p:cTn id="71" presetID="10" presetClass="exit" presetSubtype="0" fill="hold" nodeType="withEffect">
                                  <p:stCondLst>
                                    <p:cond delay="0"/>
                                  </p:stCondLst>
                                  <p:childTnLst>
                                    <p:animEffect transition="out" filter="fade">
                                      <p:cBhvr>
                                        <p:cTn id="72" dur="500"/>
                                        <p:tgtEl>
                                          <p:spTgt spid="96"/>
                                        </p:tgtEl>
                                      </p:cBhvr>
                                    </p:animEffect>
                                    <p:set>
                                      <p:cBhvr>
                                        <p:cTn id="73" dur="1" fill="hold">
                                          <p:stCondLst>
                                            <p:cond delay="499"/>
                                          </p:stCondLst>
                                        </p:cTn>
                                        <p:tgtEl>
                                          <p:spTgt spid="9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5" grpId="0" animBg="1"/>
      <p:bldP spid="95" grpId="1" animBg="1"/>
      <p:bldP spid="95" grpId="2" animBg="1"/>
      <p:bldP spid="12" grpId="0" animBg="1"/>
      <p:bldP spid="24" grpId="0" animBg="1"/>
      <p:bldP spid="24" grpId="1" animBg="1"/>
      <p:bldP spid="24" grpId="2" animBg="1"/>
      <p:bldP spid="94" grpId="0"/>
      <p:bldP spid="94" grpId="1"/>
      <p:bldP spid="78" grpId="0" animBg="1"/>
      <p:bldP spid="78" grpId="1"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p:cNvSpPr/>
          <p:nvPr/>
        </p:nvSpPr>
        <p:spPr bwMode="auto">
          <a:xfrm>
            <a:off x="5822" y="1682751"/>
            <a:ext cx="12430652" cy="5311774"/>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w="0"/>
              <a:solidFill>
                <a:srgbClr val="000000"/>
              </a:solidFill>
              <a:effectLst>
                <a:outerShdw blurRad="38100" dist="19050" dir="2700000" algn="tl" rotWithShape="0">
                  <a:srgbClr val="000000">
                    <a:alpha val="40000"/>
                  </a:srgbClr>
                </a:outerShdw>
              </a:effectLst>
              <a:uLnTx/>
              <a:uFillTx/>
              <a:latin typeface="Segoe UI Light"/>
              <a:ea typeface="Segoe UI" pitchFamily="34" charset="0"/>
              <a:cs typeface="Segoe UI" pitchFamily="34" charset="0"/>
            </a:endParaRPr>
          </a:p>
        </p:txBody>
      </p:sp>
      <p:cxnSp>
        <p:nvCxnSpPr>
          <p:cNvPr id="12" name="Straight Connector 11"/>
          <p:cNvCxnSpPr/>
          <p:nvPr/>
        </p:nvCxnSpPr>
        <p:spPr>
          <a:xfrm flipV="1">
            <a:off x="542410" y="4810357"/>
            <a:ext cx="6505386" cy="2371"/>
          </a:xfrm>
          <a:prstGeom prst="line">
            <a:avLst/>
          </a:prstGeom>
          <a:ln w="15875">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26" name="Object 25" hidden="1"/>
          <p:cNvGraphicFramePr>
            <a:graphicFrameLocks noChangeAspect="1"/>
          </p:cNvGraphicFramePr>
          <p:nvPr>
            <p:custDataLst>
              <p:tags r:id="rId2"/>
            </p:custDataLst>
            <p:extLst/>
          </p:nvPr>
        </p:nvGraphicFramePr>
        <p:xfrm>
          <a:off x="4235" y="3077"/>
          <a:ext cx="1587" cy="1587"/>
        </p:xfrm>
        <a:graphic>
          <a:graphicData uri="http://schemas.openxmlformats.org/presentationml/2006/ole">
            <mc:AlternateContent xmlns:mc="http://schemas.openxmlformats.org/markup-compatibility/2006">
              <mc:Choice xmlns:v="urn:schemas-microsoft-com:vml" Requires="v">
                <p:oleObj spid="_x0000_s32999" name="think-cell Slide" r:id="rId5" imgW="270" imgH="270" progId="TCLayout.ActiveDocument.1">
                  <p:embed/>
                </p:oleObj>
              </mc:Choice>
              <mc:Fallback>
                <p:oleObj name="think-cell Slide" r:id="rId5" imgW="270" imgH="270" progId="TCLayout.ActiveDocument.1">
                  <p:embed/>
                  <p:pic>
                    <p:nvPicPr>
                      <p:cNvPr id="26" name="Object 25" hidden="1"/>
                      <p:cNvPicPr/>
                      <p:nvPr/>
                    </p:nvPicPr>
                    <p:blipFill>
                      <a:blip r:embed="rId6"/>
                      <a:stretch>
                        <a:fillRect/>
                      </a:stretch>
                    </p:blipFill>
                    <p:spPr>
                      <a:xfrm>
                        <a:off x="4235" y="3077"/>
                        <a:ext cx="1587" cy="1587"/>
                      </a:xfrm>
                      <a:prstGeom prst="rect">
                        <a:avLst/>
                      </a:prstGeom>
                    </p:spPr>
                  </p:pic>
                </p:oleObj>
              </mc:Fallback>
            </mc:AlternateContent>
          </a:graphicData>
        </a:graphic>
      </p:graphicFrame>
      <p:sp>
        <p:nvSpPr>
          <p:cNvPr id="4" name="Title 3"/>
          <p:cNvSpPr>
            <a:spLocks noGrp="1"/>
          </p:cNvSpPr>
          <p:nvPr>
            <p:ph type="title"/>
          </p:nvPr>
        </p:nvSpPr>
        <p:spPr>
          <a:xfrm>
            <a:off x="267093" y="272361"/>
            <a:ext cx="11882144" cy="1525078"/>
          </a:xfrm>
        </p:spPr>
        <p:txBody>
          <a:bodyPr/>
          <a:lstStyle/>
          <a:p>
            <a:r>
              <a:rPr lang="en-US" dirty="0">
                <a:solidFill>
                  <a:schemeClr val="tx2">
                    <a:lumMod val="10000"/>
                  </a:schemeClr>
                </a:solidFill>
              </a:rPr>
              <a:t>Connect live to hosted data</a:t>
            </a:r>
            <a:br>
              <a:rPr lang="en-US" dirty="0">
                <a:solidFill>
                  <a:schemeClr val="tx2">
                    <a:lumMod val="10000"/>
                  </a:schemeClr>
                </a:solidFill>
              </a:rPr>
            </a:br>
            <a:r>
              <a:rPr lang="en-US" sz="2800" dirty="0">
                <a:solidFill>
                  <a:schemeClr val="tx2">
                    <a:lumMod val="10000"/>
                  </a:schemeClr>
                </a:solidFill>
              </a:rPr>
              <a:t>Live query and scheduled data refresh</a:t>
            </a:r>
          </a:p>
        </p:txBody>
      </p:sp>
      <p:sp>
        <p:nvSpPr>
          <p:cNvPr id="104" name="TextBox 103"/>
          <p:cNvSpPr txBox="1"/>
          <p:nvPr/>
        </p:nvSpPr>
        <p:spPr>
          <a:xfrm>
            <a:off x="1702906" y="5790581"/>
            <a:ext cx="1796562" cy="845781"/>
          </a:xfrm>
          <a:prstGeom prst="rect">
            <a:avLst/>
          </a:prstGeom>
          <a:noFill/>
        </p:spPr>
        <p:txBody>
          <a:bodyPr wrap="square" lIns="182802" tIns="146241" rIns="182802" bIns="146241" rtlCol="0" anchor="ctr">
            <a:noAutofit/>
          </a:bodyPr>
          <a:lstStyle/>
          <a:p>
            <a:pPr algn="ctr" defTabSz="931326" fontAlgn="base">
              <a:lnSpc>
                <a:spcPct val="90000"/>
              </a:lnSpc>
              <a:spcBef>
                <a:spcPct val="0"/>
              </a:spcBef>
              <a:spcAft>
                <a:spcPts val="600"/>
              </a:spcAft>
              <a:defRPr/>
            </a:pPr>
            <a:r>
              <a:rPr lang="en-US" sz="1399" kern="0" dirty="0">
                <a:solidFill>
                  <a:schemeClr val="bg2">
                    <a:lumMod val="10000"/>
                  </a:schemeClr>
                </a:solidFill>
                <a:latin typeface="Segoe UI Semibold" panose="020B0702040204020203" pitchFamily="34" charset="0"/>
                <a:ea typeface="MS PGothic" charset="0"/>
                <a:cs typeface="Segoe UI Semibold" panose="020B0702040204020203" pitchFamily="34" charset="0"/>
              </a:rPr>
              <a:t>SQL Server </a:t>
            </a:r>
            <a:br>
              <a:rPr lang="en-US" sz="1399" kern="0" dirty="0">
                <a:solidFill>
                  <a:schemeClr val="bg2">
                    <a:lumMod val="10000"/>
                  </a:schemeClr>
                </a:solidFill>
                <a:latin typeface="Segoe UI Semibold" panose="020B0702040204020203" pitchFamily="34" charset="0"/>
                <a:ea typeface="MS PGothic" charset="0"/>
                <a:cs typeface="Segoe UI Semibold" panose="020B0702040204020203" pitchFamily="34" charset="0"/>
              </a:rPr>
            </a:br>
            <a:r>
              <a:rPr lang="en-US" sz="1399" kern="0" dirty="0">
                <a:solidFill>
                  <a:schemeClr val="bg2">
                    <a:lumMod val="10000"/>
                  </a:schemeClr>
                </a:solidFill>
                <a:latin typeface="Segoe UI Semibold" panose="020B0702040204020203" pitchFamily="34" charset="0"/>
                <a:ea typeface="MS PGothic" charset="0"/>
                <a:cs typeface="Segoe UI Semibold" panose="020B0702040204020203" pitchFamily="34" charset="0"/>
              </a:rPr>
              <a:t>Analysis Services</a:t>
            </a:r>
          </a:p>
        </p:txBody>
      </p:sp>
      <p:grpSp>
        <p:nvGrpSpPr>
          <p:cNvPr id="107" name="Group 106"/>
          <p:cNvGrpSpPr/>
          <p:nvPr/>
        </p:nvGrpSpPr>
        <p:grpSpPr>
          <a:xfrm>
            <a:off x="5988538" y="5549214"/>
            <a:ext cx="1470143" cy="865250"/>
            <a:chOff x="2927465" y="5236638"/>
            <a:chExt cx="1470768" cy="865618"/>
          </a:xfrm>
        </p:grpSpPr>
        <p:sp>
          <p:nvSpPr>
            <p:cNvPr id="74" name="Freeform 73"/>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chemeClr val="bg2">
                <a:lumMod val="10000"/>
              </a:schemeClr>
            </a:solidFill>
            <a:ln>
              <a:noFill/>
            </a:ln>
            <a:extLst/>
          </p:spPr>
          <p:txBody>
            <a:bodyPr vert="horz" wrap="square" lIns="91401" tIns="45700" rIns="91401" bIns="4570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dirty="0">
                <a:solidFill>
                  <a:srgbClr val="000000"/>
                </a:solidFill>
              </a:endParaRPr>
            </a:p>
          </p:txBody>
        </p:sp>
        <p:sp>
          <p:nvSpPr>
            <p:cNvPr id="75" name="Freeform 74"/>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chemeClr val="bg2">
                <a:lumMod val="10000"/>
              </a:schemeClr>
            </a:solidFill>
            <a:ln>
              <a:noFill/>
            </a:ln>
            <a:extLst/>
          </p:spPr>
          <p:txBody>
            <a:bodyPr vert="horz" wrap="square" lIns="91401" tIns="45700" rIns="91401" bIns="4570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dirty="0">
                <a:solidFill>
                  <a:srgbClr val="000000"/>
                </a:solidFill>
              </a:endParaRPr>
            </a:p>
          </p:txBody>
        </p:sp>
        <p:sp>
          <p:nvSpPr>
            <p:cNvPr id="76" name="Freeform 75"/>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chemeClr val="bg2">
                <a:lumMod val="10000"/>
              </a:schemeClr>
            </a:solidFill>
            <a:ln>
              <a:noFill/>
            </a:ln>
            <a:extLst/>
          </p:spPr>
          <p:txBody>
            <a:bodyPr vert="horz" wrap="square" lIns="91401" tIns="45700" rIns="91401" bIns="4570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77" name="Freeform 76"/>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chemeClr val="bg2">
                <a:lumMod val="10000"/>
              </a:schemeClr>
            </a:solidFill>
            <a:ln>
              <a:noFill/>
            </a:ln>
            <a:extLst/>
          </p:spPr>
          <p:txBody>
            <a:bodyPr vert="horz" wrap="square" lIns="91401" tIns="45700" rIns="91401" bIns="4570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grpSp>
      <p:sp>
        <p:nvSpPr>
          <p:cNvPr id="10" name="Freeform 9"/>
          <p:cNvSpPr>
            <a:spLocks/>
          </p:cNvSpPr>
          <p:nvPr/>
        </p:nvSpPr>
        <p:spPr bwMode="auto">
          <a:xfrm>
            <a:off x="4583040" y="2315004"/>
            <a:ext cx="1701290" cy="1045418"/>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rgbClr val="F2F2F2"/>
          </a:solidFill>
          <a:ln>
            <a:noFill/>
          </a:ln>
          <a:extLst/>
        </p:spPr>
        <p:txBody>
          <a:bodyPr vert="horz" wrap="square" lIns="91401" tIns="45700" rIns="91401" bIns="4570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11" name="Freeform 10"/>
          <p:cNvSpPr>
            <a:spLocks/>
          </p:cNvSpPr>
          <p:nvPr/>
        </p:nvSpPr>
        <p:spPr bwMode="auto">
          <a:xfrm>
            <a:off x="4817731" y="2925608"/>
            <a:ext cx="1757093" cy="795165"/>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bg1"/>
          </a:solidFill>
          <a:ln>
            <a:noFill/>
          </a:ln>
          <a:extLst/>
        </p:spPr>
        <p:txBody>
          <a:bodyPr vert="horz" wrap="square" lIns="91401" tIns="45700" rIns="91401" bIns="4570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pic>
        <p:nvPicPr>
          <p:cNvPr id="14" name="Picture 13"/>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2367715" y="2278775"/>
            <a:ext cx="2618929" cy="1473148"/>
          </a:xfrm>
          <a:prstGeom prst="rect">
            <a:avLst/>
          </a:prstGeom>
          <a:ln>
            <a:noFill/>
          </a:ln>
          <a:effectLst>
            <a:outerShdw blurRad="292100" dist="139700" dir="2700000" algn="tl" rotWithShape="0">
              <a:srgbClr val="333333">
                <a:alpha val="65000"/>
              </a:srgbClr>
            </a:outerShdw>
          </a:effectLst>
        </p:spPr>
      </p:pic>
      <p:sp>
        <p:nvSpPr>
          <p:cNvPr id="3" name="TextBox 2"/>
          <p:cNvSpPr txBox="1"/>
          <p:nvPr/>
        </p:nvSpPr>
        <p:spPr>
          <a:xfrm>
            <a:off x="-40200" y="2134945"/>
            <a:ext cx="2334211" cy="793195"/>
          </a:xfrm>
          <a:prstGeom prst="rect">
            <a:avLst/>
          </a:prstGeom>
          <a:noFill/>
        </p:spPr>
        <p:txBody>
          <a:bodyPr wrap="square" lIns="182802" tIns="146241" rIns="182802" bIns="146241" rtlCol="0">
            <a:noAutofit/>
          </a:bodyPr>
          <a:lstStyle/>
          <a:p>
            <a:pPr marL="342702" indent="-342702" defTabSz="931326" fontAlgn="base">
              <a:lnSpc>
                <a:spcPct val="90000"/>
              </a:lnSpc>
              <a:spcBef>
                <a:spcPct val="0"/>
              </a:spcBef>
              <a:spcAft>
                <a:spcPts val="600"/>
              </a:spcAft>
              <a:buFont typeface="Wingdings 3" panose="05040102010807070707" pitchFamily="18" charset="2"/>
              <a:buChar char="Æ"/>
              <a:defRPr/>
            </a:pPr>
            <a:endParaRPr lang="en-US" sz="2400" kern="0" dirty="0" err="1">
              <a:gradFill>
                <a:gsLst>
                  <a:gs pos="2917">
                    <a:srgbClr val="000000"/>
                  </a:gs>
                  <a:gs pos="30000">
                    <a:srgbClr val="000000"/>
                  </a:gs>
                </a:gsLst>
                <a:lin ang="5400000" scaled="0"/>
              </a:gradFill>
              <a:ea typeface="MS PGothic" charset="0"/>
            </a:endParaRPr>
          </a:p>
        </p:txBody>
      </p:sp>
      <p:sp>
        <p:nvSpPr>
          <p:cNvPr id="5" name="TextBox 4"/>
          <p:cNvSpPr txBox="1"/>
          <p:nvPr/>
        </p:nvSpPr>
        <p:spPr>
          <a:xfrm>
            <a:off x="-100001" y="2350085"/>
            <a:ext cx="2461654" cy="1330525"/>
          </a:xfrm>
          <a:prstGeom prst="rect">
            <a:avLst/>
          </a:prstGeom>
          <a:noFill/>
        </p:spPr>
        <p:txBody>
          <a:bodyPr wrap="square" lIns="182802" tIns="146241" rIns="182802" bIns="146241" rtlCol="0" anchor="ctr">
            <a:noAutofit/>
          </a:bodyPr>
          <a:lstStyle/>
          <a:p>
            <a:pPr algn="r" defTabSz="931326" fontAlgn="base">
              <a:lnSpc>
                <a:spcPct val="90000"/>
              </a:lnSpc>
              <a:spcBef>
                <a:spcPct val="0"/>
              </a:spcBef>
              <a:spcAft>
                <a:spcPts val="600"/>
              </a:spcAft>
              <a:defRPr/>
            </a:pPr>
            <a:r>
              <a:rPr lang="en-US" sz="1599" kern="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Live Power BI reports </a:t>
            </a:r>
            <a:br>
              <a:rPr lang="en-US" sz="1599" kern="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599" kern="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amp; dashboards</a:t>
            </a:r>
          </a:p>
        </p:txBody>
      </p:sp>
      <p:sp>
        <p:nvSpPr>
          <p:cNvPr id="106" name="TextBox 105"/>
          <p:cNvSpPr txBox="1"/>
          <p:nvPr/>
        </p:nvSpPr>
        <p:spPr>
          <a:xfrm>
            <a:off x="1289573" y="3947390"/>
            <a:ext cx="1670454" cy="553551"/>
          </a:xfrm>
          <a:prstGeom prst="rect">
            <a:avLst/>
          </a:prstGeom>
          <a:noFill/>
        </p:spPr>
        <p:txBody>
          <a:bodyPr wrap="square" lIns="182802" tIns="146241" rIns="182802" bIns="146241" rtlCol="0" anchor="t">
            <a:noAutofit/>
          </a:bodyPr>
          <a:lstStyle/>
          <a:p>
            <a:pPr algn="r" defTabSz="931326" fontAlgn="base">
              <a:lnSpc>
                <a:spcPct val="90000"/>
              </a:lnSpc>
              <a:spcBef>
                <a:spcPct val="0"/>
              </a:spcBef>
              <a:spcAft>
                <a:spcPts val="600"/>
              </a:spcAft>
              <a:defRPr/>
            </a:pPr>
            <a:r>
              <a:rPr lang="en-US" sz="1599" kern="0" dirty="0">
                <a:solidFill>
                  <a:schemeClr val="bg1"/>
                </a:solidFill>
                <a:latin typeface="Segoe UI Semibold" panose="020B0702040204020203" pitchFamily="34" charset="0"/>
                <a:ea typeface="MS PGothic" charset="0"/>
                <a:cs typeface="Segoe UI Semibold" panose="020B0702040204020203" pitchFamily="34" charset="0"/>
              </a:rPr>
              <a:t>Live</a:t>
            </a:r>
            <a:br>
              <a:rPr lang="en-US" sz="1599" kern="0" dirty="0">
                <a:solidFill>
                  <a:schemeClr val="bg1"/>
                </a:solidFill>
                <a:latin typeface="Segoe UI Semibold" panose="020B0702040204020203" pitchFamily="34" charset="0"/>
                <a:ea typeface="MS PGothic" charset="0"/>
                <a:cs typeface="Segoe UI Semibold" panose="020B0702040204020203" pitchFamily="34" charset="0"/>
              </a:rPr>
            </a:br>
            <a:r>
              <a:rPr lang="en-US" sz="1599" kern="0" dirty="0">
                <a:solidFill>
                  <a:schemeClr val="bg1"/>
                </a:solidFill>
                <a:latin typeface="Segoe UI Semibold" panose="020B0702040204020203" pitchFamily="34" charset="0"/>
                <a:ea typeface="MS PGothic" charset="0"/>
                <a:cs typeface="Segoe UI Semibold" panose="020B0702040204020203" pitchFamily="34" charset="0"/>
              </a:rPr>
              <a:t>Query</a:t>
            </a:r>
          </a:p>
        </p:txBody>
      </p:sp>
      <p:sp>
        <p:nvSpPr>
          <p:cNvPr id="109" name="Freeform 23"/>
          <p:cNvSpPr>
            <a:spLocks noEditPoints="1"/>
          </p:cNvSpPr>
          <p:nvPr/>
        </p:nvSpPr>
        <p:spPr bwMode="black">
          <a:xfrm>
            <a:off x="2268164" y="5297784"/>
            <a:ext cx="672447" cy="657761"/>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noFill/>
          <a:ln w="12700">
            <a:solidFill>
              <a:schemeClr val="tx1"/>
            </a:solidFill>
          </a:ln>
        </p:spPr>
        <p:txBody>
          <a:bodyPr vert="horz" wrap="square" lIns="82270" tIns="41135" rIns="82270" bIns="41135" numCol="1" anchor="t" anchorCtr="0" compatLnSpc="1">
            <a:prstTxWarp prst="textNoShape">
              <a:avLst/>
            </a:prstTxWarp>
          </a:bodyPr>
          <a:lstStyle/>
          <a:p>
            <a:pPr defTabSz="932205">
              <a:defRPr/>
            </a:pPr>
            <a:endParaRPr lang="en-US" sz="1598" kern="0" dirty="0">
              <a:ln>
                <a:solidFill>
                  <a:srgbClr val="FFFFFF">
                    <a:alpha val="0"/>
                  </a:srgbClr>
                </a:solidFill>
              </a:ln>
              <a:solidFill>
                <a:srgbClr val="000000"/>
              </a:solidFill>
            </a:endParaRPr>
          </a:p>
        </p:txBody>
      </p:sp>
      <p:sp>
        <p:nvSpPr>
          <p:cNvPr id="32" name="TextBox 31"/>
          <p:cNvSpPr txBox="1"/>
          <p:nvPr/>
        </p:nvSpPr>
        <p:spPr>
          <a:xfrm>
            <a:off x="4340423" y="3947390"/>
            <a:ext cx="1670454" cy="553551"/>
          </a:xfrm>
          <a:prstGeom prst="rect">
            <a:avLst/>
          </a:prstGeom>
          <a:noFill/>
        </p:spPr>
        <p:txBody>
          <a:bodyPr wrap="square" lIns="182802" tIns="146241" rIns="182802" bIns="146241" rtlCol="0" anchor="t">
            <a:noAutofit/>
          </a:bodyPr>
          <a:lstStyle/>
          <a:p>
            <a:pPr defTabSz="931326" fontAlgn="base">
              <a:lnSpc>
                <a:spcPct val="90000"/>
              </a:lnSpc>
              <a:spcBef>
                <a:spcPct val="0"/>
              </a:spcBef>
              <a:spcAft>
                <a:spcPts val="600"/>
              </a:spcAft>
              <a:defRPr/>
            </a:pPr>
            <a:r>
              <a:rPr lang="en-US" sz="1599" kern="0" dirty="0">
                <a:solidFill>
                  <a:schemeClr val="bg1"/>
                </a:solidFill>
                <a:latin typeface="Segoe UI Semibold" panose="020B0702040204020203" pitchFamily="34" charset="0"/>
                <a:ea typeface="MS PGothic" charset="0"/>
                <a:cs typeface="Segoe UI Semibold" panose="020B0702040204020203" pitchFamily="34" charset="0"/>
              </a:rPr>
              <a:t>Scheduled Refresh</a:t>
            </a:r>
          </a:p>
        </p:txBody>
      </p:sp>
      <p:sp>
        <p:nvSpPr>
          <p:cNvPr id="36" name="Freeform 5"/>
          <p:cNvSpPr>
            <a:spLocks noEditPoints="1"/>
          </p:cNvSpPr>
          <p:nvPr/>
        </p:nvSpPr>
        <p:spPr bwMode="auto">
          <a:xfrm>
            <a:off x="4340423" y="5321028"/>
            <a:ext cx="599757" cy="64137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noFill/>
          <a:ln w="12700">
            <a:solidFill>
              <a:schemeClr val="tx1"/>
            </a:solidFill>
          </a:ln>
          <a:extLst/>
        </p:spPr>
        <p:txBody>
          <a:bodyPr vert="horz" wrap="square" lIns="89604" tIns="44801" rIns="89604" bIns="44801" numCol="1" anchor="t" anchorCtr="0" compatLnSpc="1">
            <a:prstTxWarp prst="textNoShape">
              <a:avLst/>
            </a:prstTxWarp>
          </a:bodyPr>
          <a:lstStyle/>
          <a:p>
            <a:pPr defTabSz="913841">
              <a:defRPr/>
            </a:pPr>
            <a:endParaRPr lang="en-US" sz="1764" kern="0">
              <a:solidFill>
                <a:srgbClr val="505050"/>
              </a:solidFill>
            </a:endParaRPr>
          </a:p>
        </p:txBody>
      </p:sp>
      <p:sp>
        <p:nvSpPr>
          <p:cNvPr id="13" name="TextBox 12"/>
          <p:cNvSpPr txBox="1"/>
          <p:nvPr/>
        </p:nvSpPr>
        <p:spPr>
          <a:xfrm>
            <a:off x="103655" y="4523413"/>
            <a:ext cx="1761095" cy="194999"/>
          </a:xfrm>
          <a:prstGeom prst="rect">
            <a:avLst/>
          </a:prstGeom>
          <a:noFill/>
        </p:spPr>
        <p:txBody>
          <a:bodyPr wrap="square" lIns="182854" tIns="146283" rIns="182854" bIns="146283" rtlCol="0" anchor="ctr">
            <a:noAutofit/>
          </a:bodyPr>
          <a:lstStyle/>
          <a:p>
            <a:pPr defTabSz="914224">
              <a:lnSpc>
                <a:spcPct val="90000"/>
              </a:lnSpc>
              <a:spcAft>
                <a:spcPts val="600"/>
              </a:spcAft>
              <a:defRPr/>
            </a:pPr>
            <a:r>
              <a:rPr lang="en-US" sz="1199" kern="0" dirty="0">
                <a:gradFill>
                  <a:gsLst>
                    <a:gs pos="2917">
                      <a:srgbClr val="000000"/>
                    </a:gs>
                    <a:gs pos="30000">
                      <a:srgbClr val="000000"/>
                    </a:gs>
                  </a:gsLst>
                  <a:lin ang="5400000" scaled="0"/>
                </a:gradFill>
              </a:rPr>
              <a:t>Cloud</a:t>
            </a:r>
          </a:p>
        </p:txBody>
      </p:sp>
      <p:sp>
        <p:nvSpPr>
          <p:cNvPr id="53" name="TextBox 52"/>
          <p:cNvSpPr txBox="1"/>
          <p:nvPr/>
        </p:nvSpPr>
        <p:spPr>
          <a:xfrm>
            <a:off x="96161" y="4928144"/>
            <a:ext cx="2324624" cy="441152"/>
          </a:xfrm>
          <a:prstGeom prst="rect">
            <a:avLst/>
          </a:prstGeom>
          <a:noFill/>
        </p:spPr>
        <p:txBody>
          <a:bodyPr wrap="square" lIns="182854" tIns="146283" rIns="182854" bIns="146283" rtlCol="0" anchor="ctr">
            <a:noAutofit/>
          </a:bodyPr>
          <a:lstStyle/>
          <a:p>
            <a:pPr defTabSz="914224">
              <a:lnSpc>
                <a:spcPct val="90000"/>
              </a:lnSpc>
              <a:spcAft>
                <a:spcPts val="600"/>
              </a:spcAft>
              <a:defRPr/>
            </a:pPr>
            <a:r>
              <a:rPr lang="en-US" sz="1199" kern="0" dirty="0">
                <a:gradFill>
                  <a:gsLst>
                    <a:gs pos="2917">
                      <a:srgbClr val="000000"/>
                    </a:gs>
                    <a:gs pos="30000">
                      <a:srgbClr val="000000"/>
                    </a:gs>
                  </a:gsLst>
                  <a:lin ang="5400000" scaled="0"/>
                </a:gradFill>
              </a:rPr>
              <a:t>Hosted Data on </a:t>
            </a:r>
            <a:br>
              <a:rPr lang="en-US" sz="1199" kern="0" dirty="0">
                <a:gradFill>
                  <a:gsLst>
                    <a:gs pos="2917">
                      <a:srgbClr val="000000"/>
                    </a:gs>
                    <a:gs pos="30000">
                      <a:srgbClr val="000000"/>
                    </a:gs>
                  </a:gsLst>
                  <a:lin ang="5400000" scaled="0"/>
                </a:gradFill>
              </a:rPr>
            </a:br>
            <a:r>
              <a:rPr lang="en-US" sz="1199" kern="0" dirty="0">
                <a:gradFill>
                  <a:gsLst>
                    <a:gs pos="2917">
                      <a:srgbClr val="000000"/>
                    </a:gs>
                    <a:gs pos="30000">
                      <a:srgbClr val="000000"/>
                    </a:gs>
                  </a:gsLst>
                  <a:lin ang="5400000" scaled="0"/>
                </a:gradFill>
              </a:rPr>
              <a:t>Service Providers</a:t>
            </a:r>
          </a:p>
        </p:txBody>
      </p:sp>
      <p:sp>
        <p:nvSpPr>
          <p:cNvPr id="54" name="TextBox 53"/>
          <p:cNvSpPr txBox="1"/>
          <p:nvPr/>
        </p:nvSpPr>
        <p:spPr>
          <a:xfrm>
            <a:off x="3120422" y="5790581"/>
            <a:ext cx="3059610" cy="845781"/>
          </a:xfrm>
          <a:prstGeom prst="rect">
            <a:avLst/>
          </a:prstGeom>
          <a:noFill/>
        </p:spPr>
        <p:txBody>
          <a:bodyPr wrap="square" lIns="182802" tIns="146241" rIns="182802" bIns="146241" rtlCol="0" anchor="ctr">
            <a:noAutofit/>
          </a:bodyPr>
          <a:lstStyle/>
          <a:p>
            <a:pPr algn="ctr" defTabSz="931326" fontAlgn="base">
              <a:lnSpc>
                <a:spcPct val="90000"/>
              </a:lnSpc>
              <a:spcBef>
                <a:spcPct val="0"/>
              </a:spcBef>
              <a:spcAft>
                <a:spcPts val="600"/>
              </a:spcAft>
              <a:defRPr/>
            </a:pPr>
            <a:r>
              <a:rPr lang="en-US" sz="1399" kern="0" dirty="0">
                <a:solidFill>
                  <a:schemeClr val="bg2">
                    <a:lumMod val="10000"/>
                  </a:schemeClr>
                </a:solidFill>
                <a:latin typeface="Segoe UI Semibold" panose="020B0702040204020203" pitchFamily="34" charset="0"/>
                <a:ea typeface="MS PGothic" charset="0"/>
                <a:cs typeface="Segoe UI Semibold" panose="020B0702040204020203" pitchFamily="34" charset="0"/>
              </a:rPr>
              <a:t>Data Source</a:t>
            </a:r>
          </a:p>
        </p:txBody>
      </p:sp>
      <p:sp>
        <p:nvSpPr>
          <p:cNvPr id="6" name="Oval 5"/>
          <p:cNvSpPr/>
          <p:nvPr/>
        </p:nvSpPr>
        <p:spPr bwMode="auto">
          <a:xfrm>
            <a:off x="2420786" y="4721403"/>
            <a:ext cx="367202" cy="367202"/>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37" name="Freeform 5"/>
          <p:cNvSpPr>
            <a:spLocks noEditPoints="1"/>
          </p:cNvSpPr>
          <p:nvPr/>
        </p:nvSpPr>
        <p:spPr bwMode="auto">
          <a:xfrm>
            <a:off x="2410642" y="4629459"/>
            <a:ext cx="387489" cy="387637"/>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chemeClr val="bg2">
              <a:lumMod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41" name="Oval 40"/>
          <p:cNvSpPr/>
          <p:nvPr/>
        </p:nvSpPr>
        <p:spPr bwMode="auto">
          <a:xfrm>
            <a:off x="4482066" y="4721403"/>
            <a:ext cx="367202" cy="367202"/>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42" name="Freeform 5"/>
          <p:cNvSpPr>
            <a:spLocks noEditPoints="1"/>
          </p:cNvSpPr>
          <p:nvPr/>
        </p:nvSpPr>
        <p:spPr bwMode="auto">
          <a:xfrm>
            <a:off x="4471922" y="4629459"/>
            <a:ext cx="387489" cy="387637"/>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chemeClr val="bg2">
              <a:lumMod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58" name="Rectangle 57"/>
          <p:cNvSpPr/>
          <p:nvPr/>
        </p:nvSpPr>
        <p:spPr bwMode="auto">
          <a:xfrm>
            <a:off x="7999086" y="2221999"/>
            <a:ext cx="4150152" cy="370866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45700" rIns="0" bIns="45700" numCol="1" spcCol="0" rtlCol="0" fromWordArt="0" anchor="t" anchorCtr="0" forceAA="0" compatLnSpc="1">
            <a:prstTxWarp prst="textNoShape">
              <a:avLst/>
            </a:prstTxWarp>
            <a:spAutoFit/>
          </a:bodyPr>
          <a:lstStyle/>
          <a:p>
            <a:pPr marL="53954" defTabSz="931597" fontAlgn="base">
              <a:spcAft>
                <a:spcPts val="500"/>
              </a:spcAft>
              <a:buClr>
                <a:srgbClr val="FFFFFF"/>
              </a:buClr>
              <a:defRPr/>
            </a:pPr>
            <a:r>
              <a:rPr lang="en-US" sz="2000" kern="0" dirty="0">
                <a:ln>
                  <a:solidFill>
                    <a:srgbClr val="FFFFFF">
                      <a:alpha val="0"/>
                    </a:srgbClr>
                  </a:solidFill>
                </a:ln>
                <a:solidFill>
                  <a:schemeClr val="tx2">
                    <a:lumMod val="10000"/>
                  </a:schemeClr>
                </a:solidFill>
                <a:latin typeface="Segoe UI"/>
                <a:ea typeface="Segoe UI" pitchFamily="34" charset="0"/>
                <a:cs typeface="Segoe UI" pitchFamily="34" charset="0"/>
              </a:rPr>
              <a:t>Deploy quickly with a hybrid BI solution</a:t>
            </a:r>
            <a:br>
              <a:rPr lang="en-US" sz="2000" kern="0" dirty="0">
                <a:ln>
                  <a:solidFill>
                    <a:srgbClr val="FFFFFF">
                      <a:alpha val="0"/>
                    </a:srgbClr>
                  </a:solidFill>
                </a:ln>
                <a:solidFill>
                  <a:schemeClr val="tx2">
                    <a:lumMod val="10000"/>
                  </a:schemeClr>
                </a:solidFill>
                <a:latin typeface="Segoe UI"/>
                <a:ea typeface="Segoe UI" pitchFamily="34" charset="0"/>
                <a:cs typeface="Segoe UI" pitchFamily="34" charset="0"/>
              </a:rPr>
            </a:br>
            <a:endParaRPr lang="en-US" sz="2000" kern="0" dirty="0">
              <a:ln>
                <a:solidFill>
                  <a:srgbClr val="FFFFFF">
                    <a:alpha val="0"/>
                  </a:srgbClr>
                </a:solidFill>
              </a:ln>
              <a:solidFill>
                <a:schemeClr val="tx2">
                  <a:lumMod val="10000"/>
                </a:schemeClr>
              </a:solidFill>
              <a:latin typeface="Segoe UI"/>
              <a:ea typeface="Segoe UI" pitchFamily="34" charset="0"/>
              <a:cs typeface="Segoe UI" pitchFamily="34" charset="0"/>
            </a:endParaRPr>
          </a:p>
          <a:p>
            <a:pPr marL="53954" defTabSz="931597" fontAlgn="base">
              <a:spcAft>
                <a:spcPts val="600"/>
              </a:spcAft>
              <a:buClr>
                <a:srgbClr val="FFFFFF"/>
              </a:buClr>
              <a:defRPr/>
            </a:pPr>
            <a:r>
              <a:rPr lang="en-US" sz="2000" kern="0" dirty="0">
                <a:ln>
                  <a:solidFill>
                    <a:srgbClr val="FFFFFF">
                      <a:alpha val="0"/>
                    </a:srgbClr>
                  </a:solidFill>
                </a:ln>
                <a:solidFill>
                  <a:schemeClr val="tx2">
                    <a:lumMod val="10000"/>
                  </a:schemeClr>
                </a:solidFill>
                <a:latin typeface="Segoe UI"/>
                <a:ea typeface="Segoe UI" pitchFamily="34" charset="0"/>
                <a:cs typeface="Segoe UI" pitchFamily="34" charset="0"/>
              </a:rPr>
              <a:t>Manage and secure hosted data with SQL Server Analysis Services</a:t>
            </a:r>
            <a:br>
              <a:rPr lang="en-US" sz="2000" kern="0" dirty="0">
                <a:ln>
                  <a:solidFill>
                    <a:srgbClr val="FFFFFF">
                      <a:alpha val="0"/>
                    </a:srgbClr>
                  </a:solidFill>
                </a:ln>
                <a:solidFill>
                  <a:schemeClr val="tx2">
                    <a:lumMod val="10000"/>
                  </a:schemeClr>
                </a:solidFill>
                <a:latin typeface="Segoe UI"/>
                <a:ea typeface="Segoe UI" pitchFamily="34" charset="0"/>
                <a:cs typeface="Segoe UI" pitchFamily="34" charset="0"/>
              </a:rPr>
            </a:br>
            <a:endParaRPr lang="en-US" sz="2000" kern="0" dirty="0">
              <a:ln>
                <a:solidFill>
                  <a:srgbClr val="FFFFFF">
                    <a:alpha val="0"/>
                  </a:srgbClr>
                </a:solidFill>
              </a:ln>
              <a:solidFill>
                <a:schemeClr val="tx2">
                  <a:lumMod val="10000"/>
                </a:schemeClr>
              </a:solidFill>
              <a:latin typeface="Segoe UI"/>
              <a:ea typeface="Segoe UI" pitchFamily="34" charset="0"/>
              <a:cs typeface="Segoe UI" pitchFamily="34" charset="0"/>
            </a:endParaRPr>
          </a:p>
          <a:p>
            <a:pPr marL="53954" defTabSz="931597" fontAlgn="base">
              <a:spcAft>
                <a:spcPts val="600"/>
              </a:spcAft>
              <a:buClr>
                <a:srgbClr val="FFFFFF"/>
              </a:buClr>
              <a:defRPr/>
            </a:pPr>
            <a:r>
              <a:rPr lang="en-US" sz="2000" kern="0" dirty="0">
                <a:ln>
                  <a:solidFill>
                    <a:srgbClr val="FFFFFF">
                      <a:alpha val="0"/>
                    </a:srgbClr>
                  </a:solidFill>
                </a:ln>
                <a:solidFill>
                  <a:schemeClr val="tx2">
                    <a:lumMod val="10000"/>
                  </a:schemeClr>
                </a:solidFill>
                <a:latin typeface="Segoe UI"/>
                <a:ea typeface="Segoe UI" pitchFamily="34" charset="0"/>
                <a:cs typeface="Segoe UI" pitchFamily="34" charset="0"/>
              </a:rPr>
              <a:t>Optimized query performance for interactive data exploration</a:t>
            </a:r>
            <a:br>
              <a:rPr lang="en-US" sz="2000" kern="0" dirty="0">
                <a:ln>
                  <a:solidFill>
                    <a:srgbClr val="FFFFFF">
                      <a:alpha val="0"/>
                    </a:srgbClr>
                  </a:solidFill>
                </a:ln>
                <a:solidFill>
                  <a:schemeClr val="tx2">
                    <a:lumMod val="10000"/>
                  </a:schemeClr>
                </a:solidFill>
                <a:latin typeface="Segoe UI"/>
                <a:ea typeface="Segoe UI" pitchFamily="34" charset="0"/>
                <a:cs typeface="Segoe UI" pitchFamily="34" charset="0"/>
              </a:rPr>
            </a:br>
            <a:endParaRPr lang="en-US" sz="2000" kern="0" dirty="0">
              <a:ln>
                <a:solidFill>
                  <a:srgbClr val="FFFFFF">
                    <a:alpha val="0"/>
                  </a:srgbClr>
                </a:solidFill>
              </a:ln>
              <a:solidFill>
                <a:schemeClr val="tx2">
                  <a:lumMod val="10000"/>
                </a:schemeClr>
              </a:solidFill>
              <a:latin typeface="Segoe UI"/>
              <a:ea typeface="Segoe UI" pitchFamily="34" charset="0"/>
              <a:cs typeface="Segoe UI" pitchFamily="34" charset="0"/>
            </a:endParaRPr>
          </a:p>
          <a:p>
            <a:pPr marL="53954" defTabSz="931597" fontAlgn="base">
              <a:spcAft>
                <a:spcPts val="600"/>
              </a:spcAft>
              <a:buClr>
                <a:srgbClr val="FFFFFF"/>
              </a:buClr>
              <a:defRPr/>
            </a:pPr>
            <a:r>
              <a:rPr lang="en-US" sz="2000" kern="0" dirty="0">
                <a:ln>
                  <a:solidFill>
                    <a:srgbClr val="FFFFFF">
                      <a:alpha val="0"/>
                    </a:srgbClr>
                  </a:solidFill>
                </a:ln>
                <a:solidFill>
                  <a:schemeClr val="tx2">
                    <a:lumMod val="10000"/>
                  </a:schemeClr>
                </a:solidFill>
                <a:latin typeface="Segoe UI"/>
                <a:ea typeface="Segoe UI" pitchFamily="34" charset="0"/>
                <a:cs typeface="Segoe UI" pitchFamily="34" charset="0"/>
              </a:rPr>
              <a:t>Scheduled refresh from hosted data sources</a:t>
            </a:r>
          </a:p>
        </p:txBody>
      </p:sp>
      <p:grpSp>
        <p:nvGrpSpPr>
          <p:cNvPr id="59" name="Group 58"/>
          <p:cNvGrpSpPr/>
          <p:nvPr/>
        </p:nvGrpSpPr>
        <p:grpSpPr>
          <a:xfrm>
            <a:off x="7559959" y="2348698"/>
            <a:ext cx="384467" cy="384467"/>
            <a:chOff x="8431377" y="-766784"/>
            <a:chExt cx="457200" cy="457200"/>
          </a:xfrm>
          <a:solidFill>
            <a:schemeClr val="bg2">
              <a:lumMod val="10000"/>
            </a:schemeClr>
          </a:solidFill>
        </p:grpSpPr>
        <p:sp>
          <p:nvSpPr>
            <p:cNvPr id="60"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kern="0" dirty="0">
                <a:solidFill>
                  <a:srgbClr val="505050"/>
                </a:solidFill>
              </a:endParaRPr>
            </a:p>
          </p:txBody>
        </p:sp>
        <p:sp>
          <p:nvSpPr>
            <p:cNvPr id="61"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kern="0" dirty="0">
                <a:solidFill>
                  <a:srgbClr val="505050"/>
                </a:solidFill>
              </a:endParaRPr>
            </a:p>
          </p:txBody>
        </p:sp>
      </p:grpSp>
      <p:grpSp>
        <p:nvGrpSpPr>
          <p:cNvPr id="62" name="Group 61"/>
          <p:cNvGrpSpPr/>
          <p:nvPr/>
        </p:nvGrpSpPr>
        <p:grpSpPr>
          <a:xfrm>
            <a:off x="7579719" y="3378186"/>
            <a:ext cx="384467" cy="384467"/>
            <a:chOff x="8431377" y="-766784"/>
            <a:chExt cx="457200" cy="457200"/>
          </a:xfrm>
          <a:solidFill>
            <a:schemeClr val="bg2">
              <a:lumMod val="10000"/>
            </a:schemeClr>
          </a:solidFill>
        </p:grpSpPr>
        <p:sp>
          <p:nvSpPr>
            <p:cNvPr id="6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kern="0" dirty="0">
                <a:solidFill>
                  <a:srgbClr val="505050"/>
                </a:solidFill>
              </a:endParaRPr>
            </a:p>
          </p:txBody>
        </p:sp>
        <p:sp>
          <p:nvSpPr>
            <p:cNvPr id="6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kern="0" dirty="0">
                <a:solidFill>
                  <a:srgbClr val="505050"/>
                </a:solidFill>
              </a:endParaRPr>
            </a:p>
          </p:txBody>
        </p:sp>
      </p:grpSp>
      <p:grpSp>
        <p:nvGrpSpPr>
          <p:cNvPr id="65" name="Group 64"/>
          <p:cNvGrpSpPr/>
          <p:nvPr/>
        </p:nvGrpSpPr>
        <p:grpSpPr>
          <a:xfrm>
            <a:off x="7559959" y="4323208"/>
            <a:ext cx="384467" cy="384467"/>
            <a:chOff x="8431377" y="-766784"/>
            <a:chExt cx="457200" cy="457200"/>
          </a:xfrm>
          <a:solidFill>
            <a:schemeClr val="bg2">
              <a:lumMod val="10000"/>
            </a:schemeClr>
          </a:solidFill>
        </p:grpSpPr>
        <p:sp>
          <p:nvSpPr>
            <p:cNvPr id="66"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kern="0" dirty="0">
                <a:solidFill>
                  <a:srgbClr val="505050"/>
                </a:solidFill>
              </a:endParaRPr>
            </a:p>
          </p:txBody>
        </p:sp>
        <p:sp>
          <p:nvSpPr>
            <p:cNvPr id="67"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kern="0" dirty="0">
                <a:solidFill>
                  <a:srgbClr val="505050"/>
                </a:solidFill>
              </a:endParaRPr>
            </a:p>
          </p:txBody>
        </p:sp>
      </p:grpSp>
      <p:grpSp>
        <p:nvGrpSpPr>
          <p:cNvPr id="68" name="Group 67"/>
          <p:cNvGrpSpPr/>
          <p:nvPr/>
        </p:nvGrpSpPr>
        <p:grpSpPr>
          <a:xfrm>
            <a:off x="7559959" y="5277766"/>
            <a:ext cx="384467" cy="384467"/>
            <a:chOff x="8431377" y="-766784"/>
            <a:chExt cx="457200" cy="457200"/>
          </a:xfrm>
          <a:solidFill>
            <a:schemeClr val="bg2">
              <a:lumMod val="10000"/>
            </a:schemeClr>
          </a:solidFill>
        </p:grpSpPr>
        <p:sp>
          <p:nvSpPr>
            <p:cNvPr id="69"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kern="0" dirty="0">
                <a:solidFill>
                  <a:srgbClr val="505050"/>
                </a:solidFill>
              </a:endParaRPr>
            </a:p>
          </p:txBody>
        </p:sp>
        <p:sp>
          <p:nvSpPr>
            <p:cNvPr id="70"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kern="0" dirty="0">
                <a:solidFill>
                  <a:srgbClr val="505050"/>
                </a:solidFill>
              </a:endParaRPr>
            </a:p>
          </p:txBody>
        </p:sp>
      </p:grpSp>
    </p:spTree>
    <p:extLst>
      <p:ext uri="{BB962C8B-B14F-4D97-AF65-F5344CB8AC3E}">
        <p14:creationId xmlns:p14="http://schemas.microsoft.com/office/powerpoint/2010/main" val="3294155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58">
                                            <p:txEl>
                                              <p:pRg st="0" end="0"/>
                                            </p:txEl>
                                          </p:spTgt>
                                        </p:tgtEl>
                                        <p:attrNameLst>
                                          <p:attrName>style.visibility</p:attrName>
                                        </p:attrNameLst>
                                      </p:cBhvr>
                                      <p:to>
                                        <p:strVal val="visible"/>
                                      </p:to>
                                    </p:set>
                                    <p:animEffect transition="in" filter="fade">
                                      <p:cBhvr>
                                        <p:cTn id="7" dur="500"/>
                                        <p:tgtEl>
                                          <p:spTgt spid="5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500"/>
                                  </p:stCondLst>
                                  <p:childTnLst>
                                    <p:set>
                                      <p:cBhvr>
                                        <p:cTn id="11" dur="1" fill="hold">
                                          <p:stCondLst>
                                            <p:cond delay="0"/>
                                          </p:stCondLst>
                                        </p:cTn>
                                        <p:tgtEl>
                                          <p:spTgt spid="58">
                                            <p:txEl>
                                              <p:pRg st="1" end="1"/>
                                            </p:txEl>
                                          </p:spTgt>
                                        </p:tgtEl>
                                        <p:attrNameLst>
                                          <p:attrName>style.visibility</p:attrName>
                                        </p:attrNameLst>
                                      </p:cBhvr>
                                      <p:to>
                                        <p:strVal val="visible"/>
                                      </p:to>
                                    </p:set>
                                    <p:animEffect transition="in" filter="fade">
                                      <p:cBhvr>
                                        <p:cTn id="12" dur="500"/>
                                        <p:tgtEl>
                                          <p:spTgt spid="58">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1000"/>
                                  </p:stCondLst>
                                  <p:childTnLst>
                                    <p:set>
                                      <p:cBhvr>
                                        <p:cTn id="16" dur="1" fill="hold">
                                          <p:stCondLst>
                                            <p:cond delay="0"/>
                                          </p:stCondLst>
                                        </p:cTn>
                                        <p:tgtEl>
                                          <p:spTgt spid="58">
                                            <p:txEl>
                                              <p:pRg st="2" end="2"/>
                                            </p:txEl>
                                          </p:spTgt>
                                        </p:tgtEl>
                                        <p:attrNameLst>
                                          <p:attrName>style.visibility</p:attrName>
                                        </p:attrNameLst>
                                      </p:cBhvr>
                                      <p:to>
                                        <p:strVal val="visible"/>
                                      </p:to>
                                    </p:set>
                                    <p:animEffect transition="in" filter="fade">
                                      <p:cBhvr>
                                        <p:cTn id="17" dur="500"/>
                                        <p:tgtEl>
                                          <p:spTgt spid="58">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1300"/>
                                  </p:stCondLst>
                                  <p:childTnLst>
                                    <p:set>
                                      <p:cBhvr>
                                        <p:cTn id="21" dur="1" fill="hold">
                                          <p:stCondLst>
                                            <p:cond delay="0"/>
                                          </p:stCondLst>
                                        </p:cTn>
                                        <p:tgtEl>
                                          <p:spTgt spid="58">
                                            <p:txEl>
                                              <p:pRg st="3" end="3"/>
                                            </p:txEl>
                                          </p:spTgt>
                                        </p:tgtEl>
                                        <p:attrNameLst>
                                          <p:attrName>style.visibility</p:attrName>
                                        </p:attrNameLst>
                                      </p:cBhvr>
                                      <p:to>
                                        <p:strVal val="visible"/>
                                      </p:to>
                                    </p:set>
                                    <p:animEffect transition="in" filter="fade">
                                      <p:cBhvr>
                                        <p:cTn id="22" dur="500"/>
                                        <p:tgtEl>
                                          <p:spTgt spid="58">
                                            <p:txEl>
                                              <p:pRg st="3" end="3"/>
                                            </p:txEl>
                                          </p:spTgt>
                                        </p:tgtEl>
                                      </p:cBhvr>
                                    </p:animEffect>
                                  </p:childTnLst>
                                </p:cTn>
                              </p:par>
                              <p:par>
                                <p:cTn id="23" presetID="10" presetClass="entr" presetSubtype="0" fill="hold" nodeType="withEffect">
                                  <p:stCondLst>
                                    <p:cond delay="500"/>
                                  </p:stCondLst>
                                  <p:childTnLst>
                                    <p:set>
                                      <p:cBhvr>
                                        <p:cTn id="24" dur="1" fill="hold">
                                          <p:stCondLst>
                                            <p:cond delay="0"/>
                                          </p:stCondLst>
                                        </p:cTn>
                                        <p:tgtEl>
                                          <p:spTgt spid="59"/>
                                        </p:tgtEl>
                                        <p:attrNameLst>
                                          <p:attrName>style.visibility</p:attrName>
                                        </p:attrNameLst>
                                      </p:cBhvr>
                                      <p:to>
                                        <p:strVal val="visible"/>
                                      </p:to>
                                    </p:set>
                                    <p:animEffect transition="in" filter="fade">
                                      <p:cBhvr>
                                        <p:cTn id="25" dur="500"/>
                                        <p:tgtEl>
                                          <p:spTgt spid="59"/>
                                        </p:tgtEl>
                                      </p:cBhvr>
                                    </p:animEffect>
                                  </p:childTnLst>
                                </p:cTn>
                              </p:par>
                              <p:par>
                                <p:cTn id="26" presetID="63" presetClass="path" presetSubtype="0" accel="50000" decel="50000" fill="hold" nodeType="withEffect">
                                  <p:stCondLst>
                                    <p:cond delay="500"/>
                                  </p:stCondLst>
                                  <p:childTnLst>
                                    <p:animMotion origin="layout" path="M -0.03064 -1.17113E-6 L 1.34542E-6 -1.17113E-6 " pathEditMode="relative" rAng="0" ptsTypes="AA">
                                      <p:cBhvr>
                                        <p:cTn id="27" dur="500" fill="hold"/>
                                        <p:tgtEl>
                                          <p:spTgt spid="59"/>
                                        </p:tgtEl>
                                        <p:attrNameLst>
                                          <p:attrName>ppt_x</p:attrName>
                                          <p:attrName>ppt_y</p:attrName>
                                        </p:attrNameLst>
                                      </p:cBhvr>
                                      <p:rCtr x="1532" y="0"/>
                                    </p:animMotion>
                                  </p:childTnLst>
                                </p:cTn>
                              </p:par>
                              <p:par>
                                <p:cTn id="28" presetID="10" presetClass="entr" presetSubtype="0" fill="hold" nodeType="withEffect">
                                  <p:stCondLst>
                                    <p:cond delay="750"/>
                                  </p:stCondLst>
                                  <p:childTnLst>
                                    <p:set>
                                      <p:cBhvr>
                                        <p:cTn id="29" dur="1" fill="hold">
                                          <p:stCondLst>
                                            <p:cond delay="0"/>
                                          </p:stCondLst>
                                        </p:cTn>
                                        <p:tgtEl>
                                          <p:spTgt spid="62"/>
                                        </p:tgtEl>
                                        <p:attrNameLst>
                                          <p:attrName>style.visibility</p:attrName>
                                        </p:attrNameLst>
                                      </p:cBhvr>
                                      <p:to>
                                        <p:strVal val="visible"/>
                                      </p:to>
                                    </p:set>
                                    <p:animEffect transition="in" filter="fade">
                                      <p:cBhvr>
                                        <p:cTn id="30" dur="500"/>
                                        <p:tgtEl>
                                          <p:spTgt spid="62"/>
                                        </p:tgtEl>
                                      </p:cBhvr>
                                    </p:animEffect>
                                  </p:childTnLst>
                                </p:cTn>
                              </p:par>
                              <p:par>
                                <p:cTn id="31" presetID="63" presetClass="path" presetSubtype="0" accel="50000" decel="50000" fill="hold" nodeType="withEffect">
                                  <p:stCondLst>
                                    <p:cond delay="750"/>
                                  </p:stCondLst>
                                  <p:childTnLst>
                                    <p:animMotion origin="layout" path="M -0.03064 -3.0867E-7 L 1.91218E-6 -3.0867E-7 " pathEditMode="relative" rAng="0" ptsTypes="AA">
                                      <p:cBhvr>
                                        <p:cTn id="32" dur="500" fill="hold"/>
                                        <p:tgtEl>
                                          <p:spTgt spid="62"/>
                                        </p:tgtEl>
                                        <p:attrNameLst>
                                          <p:attrName>ppt_x</p:attrName>
                                          <p:attrName>ppt_y</p:attrName>
                                        </p:attrNameLst>
                                      </p:cBhvr>
                                      <p:rCtr x="1532" y="0"/>
                                    </p:animMotion>
                                  </p:childTnLst>
                                </p:cTn>
                              </p:par>
                              <p:par>
                                <p:cTn id="33" presetID="10" presetClass="entr" presetSubtype="0" fill="hold" nodeType="withEffect">
                                  <p:stCondLst>
                                    <p:cond delay="1000"/>
                                  </p:stCondLst>
                                  <p:childTnLst>
                                    <p:set>
                                      <p:cBhvr>
                                        <p:cTn id="34" dur="1" fill="hold">
                                          <p:stCondLst>
                                            <p:cond delay="0"/>
                                          </p:stCondLst>
                                        </p:cTn>
                                        <p:tgtEl>
                                          <p:spTgt spid="65"/>
                                        </p:tgtEl>
                                        <p:attrNameLst>
                                          <p:attrName>style.visibility</p:attrName>
                                        </p:attrNameLst>
                                      </p:cBhvr>
                                      <p:to>
                                        <p:strVal val="visible"/>
                                      </p:to>
                                    </p:set>
                                    <p:animEffect transition="in" filter="fade">
                                      <p:cBhvr>
                                        <p:cTn id="35" dur="500"/>
                                        <p:tgtEl>
                                          <p:spTgt spid="65"/>
                                        </p:tgtEl>
                                      </p:cBhvr>
                                    </p:animEffect>
                                  </p:childTnLst>
                                </p:cTn>
                              </p:par>
                              <p:par>
                                <p:cTn id="36" presetID="63" presetClass="path" presetSubtype="0" accel="50000" decel="50000" fill="hold" nodeType="withEffect">
                                  <p:stCondLst>
                                    <p:cond delay="1000"/>
                                  </p:stCondLst>
                                  <p:childTnLst>
                                    <p:animMotion origin="layout" path="M -0.03064 1.07127E-6 L 9.80342E-7 1.07127E-6 " pathEditMode="relative" rAng="0" ptsTypes="AA">
                                      <p:cBhvr>
                                        <p:cTn id="37" dur="500" fill="hold"/>
                                        <p:tgtEl>
                                          <p:spTgt spid="65"/>
                                        </p:tgtEl>
                                        <p:attrNameLst>
                                          <p:attrName>ppt_x</p:attrName>
                                          <p:attrName>ppt_y</p:attrName>
                                        </p:attrNameLst>
                                      </p:cBhvr>
                                      <p:rCtr x="2936" y="0"/>
                                    </p:animMotion>
                                  </p:childTnLst>
                                </p:cTn>
                              </p:par>
                              <p:par>
                                <p:cTn id="38" presetID="10" presetClass="entr" presetSubtype="0" fill="hold" nodeType="withEffect">
                                  <p:stCondLst>
                                    <p:cond delay="1250"/>
                                  </p:stCondLst>
                                  <p:childTnLst>
                                    <p:set>
                                      <p:cBhvr>
                                        <p:cTn id="39" dur="1" fill="hold">
                                          <p:stCondLst>
                                            <p:cond delay="0"/>
                                          </p:stCondLst>
                                        </p:cTn>
                                        <p:tgtEl>
                                          <p:spTgt spid="68"/>
                                        </p:tgtEl>
                                        <p:attrNameLst>
                                          <p:attrName>style.visibility</p:attrName>
                                        </p:attrNameLst>
                                      </p:cBhvr>
                                      <p:to>
                                        <p:strVal val="visible"/>
                                      </p:to>
                                    </p:set>
                                    <p:animEffect transition="in" filter="fade">
                                      <p:cBhvr>
                                        <p:cTn id="40" dur="500"/>
                                        <p:tgtEl>
                                          <p:spTgt spid="68"/>
                                        </p:tgtEl>
                                      </p:cBhvr>
                                    </p:animEffect>
                                  </p:childTnLst>
                                </p:cTn>
                              </p:par>
                              <p:par>
                                <p:cTn id="41" presetID="63" presetClass="path" presetSubtype="0" accel="50000" decel="50000" fill="hold" nodeType="withEffect">
                                  <p:stCondLst>
                                    <p:cond delay="1250"/>
                                  </p:stCondLst>
                                  <p:childTnLst>
                                    <p:animMotion origin="layout" path="M -0.03064 1.07127E-6 L 9.80342E-7 1.07127E-6 " pathEditMode="relative" rAng="0" ptsTypes="AA">
                                      <p:cBhvr>
                                        <p:cTn id="42" dur="500" fill="hold"/>
                                        <p:tgtEl>
                                          <p:spTgt spid="68"/>
                                        </p:tgtEl>
                                        <p:attrNameLst>
                                          <p:attrName>ppt_x</p:attrName>
                                          <p:attrName>ppt_y</p:attrName>
                                        </p:attrNameLst>
                                      </p:cBhvr>
                                      <p:rCtr x="29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uiExpand="1" build="p"/>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Rectangle 82"/>
          <p:cNvSpPr/>
          <p:nvPr/>
        </p:nvSpPr>
        <p:spPr bwMode="auto">
          <a:xfrm>
            <a:off x="-18319" y="1151037"/>
            <a:ext cx="5446096" cy="2616868"/>
          </a:xfrm>
          <a:prstGeom prst="rect">
            <a:avLst/>
          </a:prstGeom>
          <a:solidFill>
            <a:srgbClr val="F0CD3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6" name="Rectangle 75"/>
          <p:cNvSpPr/>
          <p:nvPr/>
        </p:nvSpPr>
        <p:spPr bwMode="auto">
          <a:xfrm>
            <a:off x="0" y="3965733"/>
            <a:ext cx="5446096" cy="2616868"/>
          </a:xfrm>
          <a:prstGeom prst="rect">
            <a:avLst/>
          </a:prstGeom>
          <a:solidFill>
            <a:srgbClr val="F0CD3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2" name="Cloud 61"/>
          <p:cNvSpPr/>
          <p:nvPr/>
        </p:nvSpPr>
        <p:spPr>
          <a:xfrm>
            <a:off x="5781480" y="5490610"/>
            <a:ext cx="1635167" cy="856141"/>
          </a:xfrm>
          <a:prstGeom prst="cloud">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defRPr/>
            </a:pPr>
            <a:endParaRPr lang="en-US" sz="1836" kern="0" dirty="0">
              <a:solidFill>
                <a:prstClr val="white"/>
              </a:solidFill>
              <a:latin typeface="Calibri" panose="020F0502020204030204"/>
            </a:endParaRPr>
          </a:p>
        </p:txBody>
      </p:sp>
      <p:sp>
        <p:nvSpPr>
          <p:cNvPr id="59" name="Cloud 58"/>
          <p:cNvSpPr/>
          <p:nvPr/>
        </p:nvSpPr>
        <p:spPr>
          <a:xfrm>
            <a:off x="9322278" y="2071885"/>
            <a:ext cx="3029269" cy="2068063"/>
          </a:xfrm>
          <a:prstGeom prst="cloud">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defRPr/>
            </a:pPr>
            <a:endParaRPr lang="en-US" sz="1836" kern="0" dirty="0">
              <a:solidFill>
                <a:prstClr val="white"/>
              </a:solidFill>
              <a:latin typeface="Calibri" panose="020F0502020204030204"/>
            </a:endParaRPr>
          </a:p>
        </p:txBody>
      </p:sp>
      <p:sp>
        <p:nvSpPr>
          <p:cNvPr id="2" name="Cloud 1"/>
          <p:cNvSpPr/>
          <p:nvPr/>
        </p:nvSpPr>
        <p:spPr>
          <a:xfrm>
            <a:off x="5670956" y="2041139"/>
            <a:ext cx="3029269" cy="2068063"/>
          </a:xfrm>
          <a:prstGeom prst="cloud">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defRPr/>
            </a:pPr>
            <a:endParaRPr lang="en-US" sz="1836" kern="0" dirty="0">
              <a:solidFill>
                <a:prstClr val="white"/>
              </a:solidFill>
              <a:latin typeface="Calibri" panose="020F0502020204030204"/>
            </a:endParaRPr>
          </a:p>
        </p:txBody>
      </p:sp>
      <p:sp>
        <p:nvSpPr>
          <p:cNvPr id="4" name="Title 3"/>
          <p:cNvSpPr>
            <a:spLocks noGrp="1"/>
          </p:cNvSpPr>
          <p:nvPr>
            <p:ph type="title"/>
          </p:nvPr>
        </p:nvSpPr>
        <p:spPr>
          <a:xfrm>
            <a:off x="276323" y="175370"/>
            <a:ext cx="12159270" cy="1351760"/>
          </a:xfrm>
        </p:spPr>
        <p:txBody>
          <a:bodyPr>
            <a:noAutofit/>
          </a:bodyPr>
          <a:lstStyle/>
          <a:p>
            <a:r>
              <a:rPr lang="en-US" sz="5399" dirty="0"/>
              <a:t>Power BI integrated with Hosted Databases</a:t>
            </a:r>
            <a:endParaRPr lang="en-US" sz="3199" dirty="0"/>
          </a:p>
        </p:txBody>
      </p:sp>
      <p:sp>
        <p:nvSpPr>
          <p:cNvPr id="71" name="Rectangle 70"/>
          <p:cNvSpPr/>
          <p:nvPr/>
        </p:nvSpPr>
        <p:spPr bwMode="auto">
          <a:xfrm>
            <a:off x="2028688" y="4049203"/>
            <a:ext cx="3468192" cy="22671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91" tIns="45695" rIns="91391" bIns="45695" numCol="1" spcCol="0" rtlCol="0" fromWordArt="0" anchor="t" anchorCtr="0" forceAA="0" compatLnSpc="1">
            <a:prstTxWarp prst="textNoShape">
              <a:avLst/>
            </a:prstTxWarp>
            <a:noAutofit/>
          </a:bodyPr>
          <a:lstStyle/>
          <a:p>
            <a:pPr defTabSz="931597" fontAlgn="base">
              <a:spcAft>
                <a:spcPts val="600"/>
              </a:spcAft>
              <a:defRPr/>
            </a:pPr>
            <a:r>
              <a:rPr lang="en-IN" sz="1400" kern="0" dirty="0">
                <a:ln>
                  <a:solidFill>
                    <a:srgbClr val="FFFFFF">
                      <a:alpha val="0"/>
                    </a:srgbClr>
                  </a:solidFill>
                </a:ln>
                <a:solidFill>
                  <a:schemeClr val="bg2">
                    <a:lumMod val="10000"/>
                  </a:schemeClr>
                </a:solidFill>
                <a:ea typeface="Segoe UI" pitchFamily="34" charset="0"/>
                <a:cs typeface="Segoe UI" pitchFamily="34" charset="0"/>
              </a:rPr>
              <a:t>Leverage live dashboards and increase the value of Hosted Services</a:t>
            </a:r>
          </a:p>
          <a:p>
            <a:pPr defTabSz="931597" fontAlgn="base">
              <a:spcAft>
                <a:spcPts val="600"/>
              </a:spcAft>
              <a:defRPr/>
            </a:pPr>
            <a:r>
              <a:rPr lang="en-IN" sz="1400" kern="0" dirty="0">
                <a:ln>
                  <a:solidFill>
                    <a:srgbClr val="FFFFFF">
                      <a:alpha val="0"/>
                    </a:srgbClr>
                  </a:solidFill>
                </a:ln>
                <a:solidFill>
                  <a:schemeClr val="bg2">
                    <a:lumMod val="10000"/>
                  </a:schemeClr>
                </a:solidFill>
                <a:ea typeface="Segoe UI" pitchFamily="34" charset="0"/>
                <a:cs typeface="Segoe UI" pitchFamily="34" charset="0"/>
              </a:rPr>
              <a:t>Create Dashboards templates for your customers</a:t>
            </a:r>
          </a:p>
          <a:p>
            <a:pPr defTabSz="931597" fontAlgn="base">
              <a:spcAft>
                <a:spcPts val="600"/>
              </a:spcAft>
              <a:defRPr/>
            </a:pPr>
            <a:r>
              <a:rPr lang="en-US" sz="1400" kern="0" dirty="0">
                <a:ln>
                  <a:solidFill>
                    <a:srgbClr val="FFFFFF">
                      <a:alpha val="0"/>
                    </a:srgbClr>
                  </a:solidFill>
                </a:ln>
                <a:solidFill>
                  <a:schemeClr val="bg2">
                    <a:lumMod val="10000"/>
                  </a:schemeClr>
                </a:solidFill>
                <a:ea typeface="Segoe UI" pitchFamily="34" charset="0"/>
                <a:cs typeface="Segoe UI" pitchFamily="34" charset="0"/>
              </a:rPr>
              <a:t>Fast deployment, hybrid configuration, secure, and integrated with existing Databases</a:t>
            </a:r>
          </a:p>
          <a:p>
            <a:pPr defTabSz="931597" fontAlgn="base">
              <a:spcAft>
                <a:spcPts val="600"/>
              </a:spcAft>
              <a:defRPr/>
            </a:pPr>
            <a:r>
              <a:rPr lang="en-IN" sz="1400" kern="0" dirty="0">
                <a:ln>
                  <a:solidFill>
                    <a:srgbClr val="FFFFFF">
                      <a:alpha val="0"/>
                    </a:srgbClr>
                  </a:solidFill>
                </a:ln>
                <a:solidFill>
                  <a:schemeClr val="bg2">
                    <a:lumMod val="10000"/>
                  </a:schemeClr>
                </a:solidFill>
                <a:ea typeface="Segoe UI" pitchFamily="34" charset="0"/>
                <a:cs typeface="Segoe UI" pitchFamily="34" charset="0"/>
              </a:rPr>
              <a:t>Introduce a better way to explore and visualize hosted data to end-customers integrating your databases with Power BI</a:t>
            </a:r>
          </a:p>
        </p:txBody>
      </p:sp>
      <p:sp>
        <p:nvSpPr>
          <p:cNvPr id="74" name="Rectangle 73"/>
          <p:cNvSpPr/>
          <p:nvPr/>
        </p:nvSpPr>
        <p:spPr bwMode="auto">
          <a:xfrm>
            <a:off x="332433" y="2309968"/>
            <a:ext cx="1546851" cy="2370719"/>
          </a:xfrm>
          <a:prstGeom prst="rect">
            <a:avLst/>
          </a:prstGeom>
          <a:noFill/>
          <a:ln w="10795" cap="flat" cmpd="sng" algn="ctr">
            <a:noFill/>
            <a:prstDash val="dash"/>
            <a:headEnd type="none" w="med" len="med"/>
            <a:tailEnd type="none" w="med" len="med"/>
          </a:ln>
          <a:effectLst/>
        </p:spPr>
        <p:txBody>
          <a:bodyPr vert="horz" wrap="square" lIns="0" tIns="46630" rIns="0" bIns="46630" numCol="1" rtlCol="0" anchor="t" anchorCtr="0" compatLnSpc="1">
            <a:prstTxWarp prst="textNoShape">
              <a:avLst/>
            </a:prstTxWarp>
          </a:bodyPr>
          <a:lstStyle/>
          <a:p>
            <a:pPr defTabSz="932219" fontAlgn="base">
              <a:lnSpc>
                <a:spcPct val="90000"/>
              </a:lnSpc>
              <a:spcBef>
                <a:spcPct val="0"/>
              </a:spcBef>
              <a:spcAft>
                <a:spcPct val="0"/>
              </a:spcAft>
              <a:defRPr/>
            </a:pPr>
            <a:r>
              <a:rPr lang="en-US" sz="2000" kern="0" dirty="0">
                <a:solidFill>
                  <a:schemeClr val="bg2">
                    <a:lumMod val="10000"/>
                  </a:schemeClr>
                </a:solidFill>
              </a:rPr>
              <a:t>Increase Hosted SQL value prop </a:t>
            </a:r>
          </a:p>
        </p:txBody>
      </p:sp>
      <p:sp>
        <p:nvSpPr>
          <p:cNvPr id="75" name="Rectangle 74"/>
          <p:cNvSpPr/>
          <p:nvPr/>
        </p:nvSpPr>
        <p:spPr bwMode="auto">
          <a:xfrm>
            <a:off x="276323" y="4380379"/>
            <a:ext cx="1571988" cy="2291880"/>
          </a:xfrm>
          <a:prstGeom prst="rect">
            <a:avLst/>
          </a:prstGeom>
          <a:noFill/>
          <a:ln w="10795" cap="flat" cmpd="sng" algn="ctr">
            <a:noFill/>
            <a:prstDash val="dash"/>
            <a:headEnd type="none" w="med" len="med"/>
            <a:tailEnd type="none" w="med" len="med"/>
          </a:ln>
          <a:effectLst/>
        </p:spPr>
        <p:txBody>
          <a:bodyPr vert="horz" wrap="square" lIns="0" tIns="46630" rIns="0" bIns="46630" numCol="1" rtlCol="0" anchor="ctr" anchorCtr="0" compatLnSpc="1">
            <a:prstTxWarp prst="textNoShape">
              <a:avLst/>
            </a:prstTxWarp>
          </a:bodyPr>
          <a:lstStyle/>
          <a:p>
            <a:pPr defTabSz="932219" fontAlgn="base">
              <a:lnSpc>
                <a:spcPct val="90000"/>
              </a:lnSpc>
              <a:spcBef>
                <a:spcPct val="0"/>
              </a:spcBef>
              <a:spcAft>
                <a:spcPct val="0"/>
              </a:spcAft>
              <a:defRPr/>
            </a:pPr>
            <a:r>
              <a:rPr lang="en-US" sz="2000" kern="0" dirty="0">
                <a:solidFill>
                  <a:schemeClr val="bg2">
                    <a:lumMod val="10000"/>
                  </a:schemeClr>
                </a:solidFill>
              </a:rPr>
              <a:t>Benefits for Service Providers</a:t>
            </a:r>
          </a:p>
        </p:txBody>
      </p:sp>
      <p:sp>
        <p:nvSpPr>
          <p:cNvPr id="46" name="Rectangle 45"/>
          <p:cNvSpPr/>
          <p:nvPr/>
        </p:nvSpPr>
        <p:spPr bwMode="auto">
          <a:xfrm>
            <a:off x="5592546" y="1157128"/>
            <a:ext cx="6376247" cy="459404"/>
          </a:xfrm>
          <a:prstGeom prst="rect">
            <a:avLst/>
          </a:prstGeom>
          <a:solidFill>
            <a:schemeClr val="bg2">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91" tIns="45695" rIns="91391" bIns="45695" numCol="1" spcCol="0" rtlCol="0" fromWordArt="0" anchor="t" anchorCtr="0" forceAA="0" compatLnSpc="1">
            <a:prstTxWarp prst="textNoShape">
              <a:avLst/>
            </a:prstTxWarp>
            <a:noAutofit/>
          </a:bodyPr>
          <a:lstStyle/>
          <a:p>
            <a:pPr defTabSz="931597" fontAlgn="base">
              <a:lnSpc>
                <a:spcPct val="115000"/>
              </a:lnSpc>
              <a:spcBef>
                <a:spcPct val="0"/>
              </a:spcBef>
              <a:spcAft>
                <a:spcPts val="200"/>
              </a:spcAft>
              <a:defRPr/>
            </a:pPr>
            <a:r>
              <a:rPr lang="en-US" sz="2200" kern="0" dirty="0">
                <a:ln>
                  <a:solidFill>
                    <a:srgbClr val="FFFFFF">
                      <a:alpha val="0"/>
                    </a:srgbClr>
                  </a:solidFill>
                </a:ln>
                <a:solidFill>
                  <a:srgbClr val="FFFFFF"/>
                </a:solidFill>
                <a:latin typeface="Calibri" panose="020F0502020204030204"/>
              </a:rPr>
              <a:t>Power BI for Hosted Databases</a:t>
            </a:r>
          </a:p>
        </p:txBody>
      </p:sp>
      <p:sp>
        <p:nvSpPr>
          <p:cNvPr id="90" name="Rectangle 89"/>
          <p:cNvSpPr/>
          <p:nvPr/>
        </p:nvSpPr>
        <p:spPr bwMode="auto">
          <a:xfrm>
            <a:off x="2024253" y="1377474"/>
            <a:ext cx="3195341" cy="23707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91" tIns="45695" rIns="91391" bIns="45695" numCol="1" spcCol="0" rtlCol="0" fromWordArt="0" anchor="t" anchorCtr="0" forceAA="0" compatLnSpc="1">
            <a:prstTxWarp prst="textNoShape">
              <a:avLst/>
            </a:prstTxWarp>
            <a:noAutofit/>
          </a:bodyPr>
          <a:lstStyle/>
          <a:p>
            <a:pPr defTabSz="931597" fontAlgn="base">
              <a:spcAft>
                <a:spcPts val="600"/>
              </a:spcAft>
              <a:defRPr/>
            </a:pPr>
            <a:r>
              <a:rPr lang="en-IN" sz="1399" kern="0" dirty="0">
                <a:ln>
                  <a:solidFill>
                    <a:srgbClr val="FFFFFF">
                      <a:alpha val="0"/>
                    </a:srgbClr>
                  </a:solidFill>
                </a:ln>
                <a:solidFill>
                  <a:schemeClr val="bg2">
                    <a:lumMod val="10000"/>
                  </a:schemeClr>
                </a:solidFill>
                <a:ea typeface="Segoe UI" pitchFamily="34" charset="0"/>
                <a:cs typeface="Segoe UI" pitchFamily="34" charset="0"/>
              </a:rPr>
              <a:t>Powerful Insights for hosted customer data</a:t>
            </a:r>
          </a:p>
          <a:p>
            <a:pPr defTabSz="931597" fontAlgn="base">
              <a:spcAft>
                <a:spcPts val="600"/>
              </a:spcAft>
              <a:defRPr/>
            </a:pPr>
            <a:r>
              <a:rPr lang="en-IN" sz="1399" kern="0" dirty="0">
                <a:ln>
                  <a:solidFill>
                    <a:srgbClr val="FFFFFF">
                      <a:alpha val="0"/>
                    </a:srgbClr>
                  </a:solidFill>
                </a:ln>
                <a:solidFill>
                  <a:schemeClr val="bg2">
                    <a:lumMod val="10000"/>
                  </a:schemeClr>
                </a:solidFill>
                <a:ea typeface="Segoe UI" pitchFamily="34" charset="0"/>
                <a:cs typeface="Segoe UI" pitchFamily="34" charset="0"/>
              </a:rPr>
              <a:t>Upsell for hosted SQL offerings</a:t>
            </a:r>
          </a:p>
          <a:p>
            <a:pPr defTabSz="931597" fontAlgn="base">
              <a:spcAft>
                <a:spcPts val="600"/>
              </a:spcAft>
              <a:defRPr/>
            </a:pPr>
            <a:r>
              <a:rPr lang="en-IN" sz="1399" kern="0" dirty="0">
                <a:ln>
                  <a:solidFill>
                    <a:srgbClr val="FFFFFF">
                      <a:alpha val="0"/>
                    </a:srgbClr>
                  </a:solidFill>
                </a:ln>
                <a:solidFill>
                  <a:schemeClr val="bg2">
                    <a:lumMod val="10000"/>
                  </a:schemeClr>
                </a:solidFill>
                <a:ea typeface="Segoe UI" pitchFamily="34" charset="0"/>
                <a:cs typeface="Segoe UI" pitchFamily="34" charset="0"/>
              </a:rPr>
              <a:t>Create Customer Stickiness while increasing revenue</a:t>
            </a:r>
          </a:p>
          <a:p>
            <a:pPr defTabSz="931597" fontAlgn="base">
              <a:spcAft>
                <a:spcPts val="600"/>
              </a:spcAft>
              <a:defRPr/>
            </a:pPr>
            <a:r>
              <a:rPr lang="en-IN" sz="1399" kern="0" dirty="0">
                <a:ln>
                  <a:solidFill>
                    <a:srgbClr val="FFFFFF">
                      <a:alpha val="0"/>
                    </a:srgbClr>
                  </a:solidFill>
                </a:ln>
                <a:solidFill>
                  <a:schemeClr val="bg2">
                    <a:lumMod val="10000"/>
                  </a:schemeClr>
                </a:solidFill>
                <a:ea typeface="Segoe UI" pitchFamily="34" charset="0"/>
                <a:cs typeface="Segoe UI" pitchFamily="34" charset="0"/>
              </a:rPr>
              <a:t>Create new revenue streaming for Hosted databases in IaaS and PaaS service models</a:t>
            </a:r>
            <a:br>
              <a:rPr lang="en-IN" sz="1399" b="1" kern="0" dirty="0">
                <a:ln>
                  <a:solidFill>
                    <a:srgbClr val="FFFFFF">
                      <a:alpha val="0"/>
                    </a:srgbClr>
                  </a:solidFill>
                </a:ln>
                <a:solidFill>
                  <a:schemeClr val="bg2">
                    <a:lumMod val="10000"/>
                  </a:schemeClr>
                </a:solidFill>
                <a:ea typeface="Segoe UI" pitchFamily="34" charset="0"/>
                <a:cs typeface="Segoe UI" pitchFamily="34" charset="0"/>
              </a:rPr>
            </a:br>
            <a:endParaRPr lang="en-IN" sz="1399" kern="0" dirty="0">
              <a:ln>
                <a:solidFill>
                  <a:srgbClr val="FFFFFF">
                    <a:alpha val="0"/>
                  </a:srgbClr>
                </a:solidFill>
              </a:ln>
              <a:solidFill>
                <a:schemeClr val="bg2">
                  <a:lumMod val="10000"/>
                </a:schemeClr>
              </a:solidFill>
              <a:ea typeface="Segoe UI" pitchFamily="34" charset="0"/>
              <a:cs typeface="Segoe UI" pitchFamily="34" charset="0"/>
            </a:endParaRPr>
          </a:p>
        </p:txBody>
      </p:sp>
      <p:grpSp>
        <p:nvGrpSpPr>
          <p:cNvPr id="21" name="Group 20"/>
          <p:cNvGrpSpPr/>
          <p:nvPr/>
        </p:nvGrpSpPr>
        <p:grpSpPr>
          <a:xfrm>
            <a:off x="6357232" y="2324676"/>
            <a:ext cx="438464" cy="396061"/>
            <a:chOff x="7151370" y="5486026"/>
            <a:chExt cx="759494" cy="599061"/>
          </a:xfrm>
          <a:solidFill>
            <a:schemeClr val="tx1"/>
          </a:solidFill>
        </p:grpSpPr>
        <p:sp>
          <p:nvSpPr>
            <p:cNvPr id="22" name="Freeform 21"/>
            <p:cNvSpPr/>
            <p:nvPr/>
          </p:nvSpPr>
          <p:spPr>
            <a:xfrm>
              <a:off x="7151370" y="5486026"/>
              <a:ext cx="320839" cy="59906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solidFill>
                <a:schemeClr val="tx1"/>
              </a:solidFill>
              <a:prstDash val="solid"/>
            </a:ln>
            <a:effectLst/>
          </p:spPr>
          <p:txBody>
            <a:bodyPr vert="horz" wrap="square" lIns="93230" tIns="46615" rIns="93230" bIns="46615" numCol="1" rtlCol="0" anchor="ctr" anchorCtr="0" compatLnSpc="1">
              <a:prstTxWarp prst="textNoShape">
                <a:avLst/>
              </a:prstTxWarp>
            </a:bodyPr>
            <a:lstStyle/>
            <a:p>
              <a:pPr algn="ctr" defTabSz="931954" fontAlgn="base">
                <a:spcBef>
                  <a:spcPct val="0"/>
                </a:spcBef>
                <a:spcAft>
                  <a:spcPct val="0"/>
                </a:spcAft>
                <a:defRPr/>
              </a:pPr>
              <a:endParaRPr lang="en-US" sz="2244" kern="0" dirty="0">
                <a:gradFill>
                  <a:gsLst>
                    <a:gs pos="0">
                      <a:srgbClr val="FFFFFF"/>
                    </a:gs>
                    <a:gs pos="100000">
                      <a:srgbClr val="FFFFFF"/>
                    </a:gs>
                  </a:gsLst>
                  <a:lin ang="5400000" scaled="0"/>
                </a:gradFill>
                <a:latin typeface="Calibri" panose="020F0502020204030204"/>
              </a:endParaRPr>
            </a:p>
          </p:txBody>
        </p:sp>
        <p:grpSp>
          <p:nvGrpSpPr>
            <p:cNvPr id="23" name="Group 22"/>
            <p:cNvGrpSpPr/>
            <p:nvPr/>
          </p:nvGrpSpPr>
          <p:grpSpPr>
            <a:xfrm>
              <a:off x="7465705" y="5753034"/>
              <a:ext cx="445159" cy="324804"/>
              <a:chOff x="7503805" y="5667309"/>
              <a:chExt cx="445159" cy="324804"/>
            </a:xfrm>
            <a:grpFill/>
          </p:grpSpPr>
          <p:sp>
            <p:nvSpPr>
              <p:cNvPr id="24" name="Flowchart: Magnetic Disk 23"/>
              <p:cNvSpPr/>
              <p:nvPr>
                <p:custDataLst>
                  <p:tags r:id="rId9"/>
                </p:custDataLst>
              </p:nvPr>
            </p:nvSpPr>
            <p:spPr>
              <a:xfrm>
                <a:off x="7503805" y="5755518"/>
                <a:ext cx="177267" cy="176416"/>
              </a:xfrm>
              <a:prstGeom prst="flowChartMagneticDisk">
                <a:avLst/>
              </a:prstGeom>
              <a:grpFill/>
              <a:ln w="3175" cap="flat" cmpd="sng" algn="ctr">
                <a:solidFill>
                  <a:schemeClr val="tx1"/>
                </a:solidFill>
                <a:prstDash val="solid"/>
              </a:ln>
              <a:effectLst/>
            </p:spPr>
            <p:txBody>
              <a:bodyPr wrap="none" rtlCol="0" anchor="ctr"/>
              <a:lstStyle/>
              <a:p>
                <a:pPr algn="ctr" defTabSz="1267129">
                  <a:defRPr/>
                </a:pPr>
                <a:endParaRPr lang="en-US" sz="1020" kern="0" dirty="0">
                  <a:ln>
                    <a:solidFill>
                      <a:srgbClr val="FFFFFF">
                        <a:alpha val="0"/>
                      </a:srgbClr>
                    </a:solidFill>
                  </a:ln>
                  <a:solidFill>
                    <a:srgbClr val="FFFFFF"/>
                  </a:solidFill>
                  <a:latin typeface="Calibri" panose="020F0502020204030204"/>
                </a:endParaRPr>
              </a:p>
            </p:txBody>
          </p:sp>
          <p:sp>
            <p:nvSpPr>
              <p:cNvPr id="25" name="Flowchart: Magnetic Disk 24"/>
              <p:cNvSpPr/>
              <p:nvPr>
                <p:custDataLst>
                  <p:tags r:id="rId10"/>
                </p:custDataLst>
              </p:nvPr>
            </p:nvSpPr>
            <p:spPr>
              <a:xfrm>
                <a:off x="7683064" y="5667309"/>
                <a:ext cx="177267" cy="176416"/>
              </a:xfrm>
              <a:prstGeom prst="flowChartMagneticDisk">
                <a:avLst/>
              </a:prstGeom>
              <a:grpFill/>
              <a:ln w="3175" cap="flat" cmpd="sng" algn="ctr">
                <a:solidFill>
                  <a:schemeClr val="tx1"/>
                </a:solidFill>
                <a:prstDash val="solid"/>
              </a:ln>
              <a:effectLst/>
            </p:spPr>
            <p:txBody>
              <a:bodyPr wrap="none" rtlCol="0" anchor="ctr"/>
              <a:lstStyle/>
              <a:p>
                <a:pPr algn="ctr" defTabSz="1267129">
                  <a:defRPr/>
                </a:pPr>
                <a:endParaRPr lang="en-US" sz="1020" kern="0" dirty="0">
                  <a:ln>
                    <a:solidFill>
                      <a:srgbClr val="FFFFFF">
                        <a:alpha val="0"/>
                      </a:srgbClr>
                    </a:solidFill>
                  </a:ln>
                  <a:solidFill>
                    <a:srgbClr val="FFFFFF"/>
                  </a:solidFill>
                  <a:latin typeface="Calibri" panose="020F0502020204030204"/>
                </a:endParaRPr>
              </a:p>
            </p:txBody>
          </p:sp>
          <p:sp>
            <p:nvSpPr>
              <p:cNvPr id="26" name="Flowchart: Magnetic Disk 25"/>
              <p:cNvSpPr/>
              <p:nvPr>
                <p:custDataLst>
                  <p:tags r:id="rId11"/>
                </p:custDataLst>
              </p:nvPr>
            </p:nvSpPr>
            <p:spPr>
              <a:xfrm>
                <a:off x="7771697" y="5733520"/>
                <a:ext cx="177267" cy="176416"/>
              </a:xfrm>
              <a:prstGeom prst="flowChartMagneticDisk">
                <a:avLst/>
              </a:prstGeom>
              <a:grpFill/>
              <a:ln w="3175" cap="flat" cmpd="sng" algn="ctr">
                <a:solidFill>
                  <a:schemeClr val="tx1"/>
                </a:solidFill>
                <a:prstDash val="solid"/>
              </a:ln>
              <a:effectLst/>
            </p:spPr>
            <p:txBody>
              <a:bodyPr wrap="none" rtlCol="0" anchor="ctr"/>
              <a:lstStyle/>
              <a:p>
                <a:pPr algn="ctr" defTabSz="1267129">
                  <a:defRPr/>
                </a:pPr>
                <a:endParaRPr lang="en-US" sz="1020" kern="0" dirty="0">
                  <a:ln>
                    <a:solidFill>
                      <a:srgbClr val="FFFFFF">
                        <a:alpha val="0"/>
                      </a:srgbClr>
                    </a:solidFill>
                  </a:ln>
                  <a:solidFill>
                    <a:srgbClr val="FFFFFF"/>
                  </a:solidFill>
                  <a:latin typeface="Calibri" panose="020F0502020204030204"/>
                </a:endParaRPr>
              </a:p>
            </p:txBody>
          </p:sp>
          <p:sp>
            <p:nvSpPr>
              <p:cNvPr id="27" name="Flowchart: Magnetic Disk 26"/>
              <p:cNvSpPr/>
              <p:nvPr>
                <p:custDataLst>
                  <p:tags r:id="rId12"/>
                </p:custDataLst>
              </p:nvPr>
            </p:nvSpPr>
            <p:spPr>
              <a:xfrm>
                <a:off x="7616336" y="5815697"/>
                <a:ext cx="177267" cy="176416"/>
              </a:xfrm>
              <a:prstGeom prst="flowChartMagneticDisk">
                <a:avLst/>
              </a:prstGeom>
              <a:grpFill/>
              <a:ln w="3175" cap="flat" cmpd="sng" algn="ctr">
                <a:solidFill>
                  <a:schemeClr val="tx1"/>
                </a:solidFill>
                <a:prstDash val="solid"/>
              </a:ln>
              <a:effectLst/>
            </p:spPr>
            <p:txBody>
              <a:bodyPr wrap="none" rtlCol="0" anchor="ctr"/>
              <a:lstStyle/>
              <a:p>
                <a:pPr algn="ctr" defTabSz="1267129">
                  <a:defRPr/>
                </a:pPr>
                <a:endParaRPr lang="en-US" sz="1020" kern="0" dirty="0">
                  <a:ln>
                    <a:solidFill>
                      <a:srgbClr val="FFFFFF">
                        <a:alpha val="0"/>
                      </a:srgbClr>
                    </a:solidFill>
                  </a:ln>
                  <a:solidFill>
                    <a:srgbClr val="FFFFFF"/>
                  </a:solidFill>
                  <a:latin typeface="Calibri" panose="020F0502020204030204"/>
                </a:endParaRPr>
              </a:p>
            </p:txBody>
          </p:sp>
        </p:grpSp>
      </p:grpSp>
      <p:sp>
        <p:nvSpPr>
          <p:cNvPr id="3" name="TextBox 2"/>
          <p:cNvSpPr txBox="1"/>
          <p:nvPr/>
        </p:nvSpPr>
        <p:spPr>
          <a:xfrm>
            <a:off x="6088486" y="2954077"/>
            <a:ext cx="2079936" cy="862712"/>
          </a:xfrm>
          <a:prstGeom prst="rect">
            <a:avLst/>
          </a:prstGeom>
          <a:noFill/>
        </p:spPr>
        <p:txBody>
          <a:bodyPr wrap="square" rtlCol="0">
            <a:spAutoFit/>
          </a:bodyPr>
          <a:lstStyle/>
          <a:p>
            <a:pPr algn="ctr" defTabSz="932418">
              <a:defRPr/>
            </a:pPr>
            <a:r>
              <a:rPr lang="en-US" sz="1224" kern="0" dirty="0">
                <a:solidFill>
                  <a:prstClr val="black"/>
                </a:solidFill>
                <a:latin typeface="Calibri" panose="020F0502020204030204"/>
              </a:rPr>
              <a:t>Hosted SQL Databases and other data sources</a:t>
            </a:r>
            <a:br>
              <a:rPr lang="en-US" sz="1224" kern="0" dirty="0">
                <a:solidFill>
                  <a:prstClr val="black"/>
                </a:solidFill>
                <a:latin typeface="Calibri" panose="020F0502020204030204"/>
              </a:rPr>
            </a:br>
            <a:br>
              <a:rPr lang="en-US" sz="1224" kern="0" dirty="0">
                <a:solidFill>
                  <a:prstClr val="black"/>
                </a:solidFill>
                <a:latin typeface="Calibri" panose="020F0502020204030204"/>
              </a:rPr>
            </a:br>
            <a:endParaRPr lang="en-US" sz="1224" kern="0" dirty="0">
              <a:solidFill>
                <a:prstClr val="black"/>
              </a:solidFill>
              <a:latin typeface="Calibri" panose="020F0502020204030204"/>
            </a:endParaRPr>
          </a:p>
        </p:txBody>
      </p:sp>
      <p:grpSp>
        <p:nvGrpSpPr>
          <p:cNvPr id="29" name="Group 28"/>
          <p:cNvGrpSpPr/>
          <p:nvPr/>
        </p:nvGrpSpPr>
        <p:grpSpPr>
          <a:xfrm>
            <a:off x="7038875" y="2314509"/>
            <a:ext cx="438464" cy="396061"/>
            <a:chOff x="7151370" y="5486026"/>
            <a:chExt cx="759494" cy="599061"/>
          </a:xfrm>
          <a:solidFill>
            <a:schemeClr val="tx1"/>
          </a:solidFill>
        </p:grpSpPr>
        <p:sp>
          <p:nvSpPr>
            <p:cNvPr id="30" name="Freeform 29"/>
            <p:cNvSpPr/>
            <p:nvPr/>
          </p:nvSpPr>
          <p:spPr>
            <a:xfrm>
              <a:off x="7151370" y="5486026"/>
              <a:ext cx="320839" cy="59906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solidFill>
                <a:schemeClr val="tx1"/>
              </a:solidFill>
              <a:prstDash val="solid"/>
            </a:ln>
            <a:effectLst/>
          </p:spPr>
          <p:txBody>
            <a:bodyPr vert="horz" wrap="square" lIns="93230" tIns="46615" rIns="93230" bIns="46615" numCol="1" rtlCol="0" anchor="ctr" anchorCtr="0" compatLnSpc="1">
              <a:prstTxWarp prst="textNoShape">
                <a:avLst/>
              </a:prstTxWarp>
            </a:bodyPr>
            <a:lstStyle/>
            <a:p>
              <a:pPr algn="ctr" defTabSz="931954" fontAlgn="base">
                <a:spcBef>
                  <a:spcPct val="0"/>
                </a:spcBef>
                <a:spcAft>
                  <a:spcPct val="0"/>
                </a:spcAft>
                <a:defRPr/>
              </a:pPr>
              <a:endParaRPr lang="en-US" sz="2244" kern="0" dirty="0">
                <a:gradFill>
                  <a:gsLst>
                    <a:gs pos="0">
                      <a:srgbClr val="FFFFFF"/>
                    </a:gs>
                    <a:gs pos="100000">
                      <a:srgbClr val="FFFFFF"/>
                    </a:gs>
                  </a:gsLst>
                  <a:lin ang="5400000" scaled="0"/>
                </a:gradFill>
                <a:latin typeface="Calibri" panose="020F0502020204030204"/>
              </a:endParaRPr>
            </a:p>
          </p:txBody>
        </p:sp>
        <p:grpSp>
          <p:nvGrpSpPr>
            <p:cNvPr id="31" name="Group 30"/>
            <p:cNvGrpSpPr/>
            <p:nvPr/>
          </p:nvGrpSpPr>
          <p:grpSpPr>
            <a:xfrm>
              <a:off x="7465705" y="5753034"/>
              <a:ext cx="445159" cy="324804"/>
              <a:chOff x="7503805" y="5667309"/>
              <a:chExt cx="445159" cy="324804"/>
            </a:xfrm>
            <a:grpFill/>
          </p:grpSpPr>
          <p:sp>
            <p:nvSpPr>
              <p:cNvPr id="32" name="Flowchart: Magnetic Disk 31"/>
              <p:cNvSpPr/>
              <p:nvPr>
                <p:custDataLst>
                  <p:tags r:id="rId5"/>
                </p:custDataLst>
              </p:nvPr>
            </p:nvSpPr>
            <p:spPr>
              <a:xfrm>
                <a:off x="7503805" y="5755518"/>
                <a:ext cx="177267" cy="176416"/>
              </a:xfrm>
              <a:prstGeom prst="flowChartMagneticDisk">
                <a:avLst/>
              </a:prstGeom>
              <a:grpFill/>
              <a:ln w="3175" cap="flat" cmpd="sng" algn="ctr">
                <a:solidFill>
                  <a:schemeClr val="tx1"/>
                </a:solidFill>
                <a:prstDash val="solid"/>
              </a:ln>
              <a:effectLst/>
            </p:spPr>
            <p:txBody>
              <a:bodyPr wrap="none" rtlCol="0" anchor="ctr"/>
              <a:lstStyle/>
              <a:p>
                <a:pPr algn="ctr" defTabSz="1267129">
                  <a:defRPr/>
                </a:pPr>
                <a:endParaRPr lang="en-US" sz="1020" kern="0" dirty="0">
                  <a:ln>
                    <a:solidFill>
                      <a:srgbClr val="FFFFFF">
                        <a:alpha val="0"/>
                      </a:srgbClr>
                    </a:solidFill>
                  </a:ln>
                  <a:solidFill>
                    <a:srgbClr val="FFFFFF"/>
                  </a:solidFill>
                  <a:latin typeface="Calibri" panose="020F0502020204030204"/>
                </a:endParaRPr>
              </a:p>
            </p:txBody>
          </p:sp>
          <p:sp>
            <p:nvSpPr>
              <p:cNvPr id="33" name="Flowchart: Magnetic Disk 32"/>
              <p:cNvSpPr/>
              <p:nvPr>
                <p:custDataLst>
                  <p:tags r:id="rId6"/>
                </p:custDataLst>
              </p:nvPr>
            </p:nvSpPr>
            <p:spPr>
              <a:xfrm>
                <a:off x="7683064" y="5667309"/>
                <a:ext cx="177267" cy="176416"/>
              </a:xfrm>
              <a:prstGeom prst="flowChartMagneticDisk">
                <a:avLst/>
              </a:prstGeom>
              <a:grpFill/>
              <a:ln w="3175" cap="flat" cmpd="sng" algn="ctr">
                <a:solidFill>
                  <a:schemeClr val="tx1"/>
                </a:solidFill>
                <a:prstDash val="solid"/>
              </a:ln>
              <a:effectLst/>
            </p:spPr>
            <p:txBody>
              <a:bodyPr wrap="none" rtlCol="0" anchor="ctr"/>
              <a:lstStyle/>
              <a:p>
                <a:pPr algn="ctr" defTabSz="1267129">
                  <a:defRPr/>
                </a:pPr>
                <a:endParaRPr lang="en-US" sz="1020" kern="0" dirty="0">
                  <a:ln>
                    <a:solidFill>
                      <a:srgbClr val="FFFFFF">
                        <a:alpha val="0"/>
                      </a:srgbClr>
                    </a:solidFill>
                  </a:ln>
                  <a:solidFill>
                    <a:srgbClr val="FFFFFF"/>
                  </a:solidFill>
                  <a:latin typeface="Calibri" panose="020F0502020204030204"/>
                </a:endParaRPr>
              </a:p>
            </p:txBody>
          </p:sp>
          <p:sp>
            <p:nvSpPr>
              <p:cNvPr id="34" name="Flowchart: Magnetic Disk 33"/>
              <p:cNvSpPr/>
              <p:nvPr>
                <p:custDataLst>
                  <p:tags r:id="rId7"/>
                </p:custDataLst>
              </p:nvPr>
            </p:nvSpPr>
            <p:spPr>
              <a:xfrm>
                <a:off x="7771697" y="5733520"/>
                <a:ext cx="177267" cy="176416"/>
              </a:xfrm>
              <a:prstGeom prst="flowChartMagneticDisk">
                <a:avLst/>
              </a:prstGeom>
              <a:grpFill/>
              <a:ln w="3175" cap="flat" cmpd="sng" algn="ctr">
                <a:solidFill>
                  <a:schemeClr val="tx1"/>
                </a:solidFill>
                <a:prstDash val="solid"/>
              </a:ln>
              <a:effectLst/>
            </p:spPr>
            <p:txBody>
              <a:bodyPr wrap="none" rtlCol="0" anchor="ctr"/>
              <a:lstStyle/>
              <a:p>
                <a:pPr algn="ctr" defTabSz="1267129">
                  <a:defRPr/>
                </a:pPr>
                <a:endParaRPr lang="en-US" sz="1020" kern="0" dirty="0">
                  <a:ln>
                    <a:solidFill>
                      <a:srgbClr val="FFFFFF">
                        <a:alpha val="0"/>
                      </a:srgbClr>
                    </a:solidFill>
                  </a:ln>
                  <a:solidFill>
                    <a:srgbClr val="FFFFFF"/>
                  </a:solidFill>
                  <a:latin typeface="Calibri" panose="020F0502020204030204"/>
                </a:endParaRPr>
              </a:p>
            </p:txBody>
          </p:sp>
          <p:sp>
            <p:nvSpPr>
              <p:cNvPr id="35" name="Flowchart: Magnetic Disk 34"/>
              <p:cNvSpPr/>
              <p:nvPr>
                <p:custDataLst>
                  <p:tags r:id="rId8"/>
                </p:custDataLst>
              </p:nvPr>
            </p:nvSpPr>
            <p:spPr>
              <a:xfrm>
                <a:off x="7616336" y="5815697"/>
                <a:ext cx="177267" cy="176416"/>
              </a:xfrm>
              <a:prstGeom prst="flowChartMagneticDisk">
                <a:avLst/>
              </a:prstGeom>
              <a:grpFill/>
              <a:ln w="3175" cap="flat" cmpd="sng" algn="ctr">
                <a:solidFill>
                  <a:schemeClr val="tx1"/>
                </a:solidFill>
                <a:prstDash val="solid"/>
              </a:ln>
              <a:effectLst/>
            </p:spPr>
            <p:txBody>
              <a:bodyPr wrap="none" rtlCol="0" anchor="ctr"/>
              <a:lstStyle/>
              <a:p>
                <a:pPr algn="ctr" defTabSz="1267129">
                  <a:defRPr/>
                </a:pPr>
                <a:endParaRPr lang="en-US" sz="1020" kern="0" dirty="0">
                  <a:ln>
                    <a:solidFill>
                      <a:srgbClr val="FFFFFF">
                        <a:alpha val="0"/>
                      </a:srgbClr>
                    </a:solidFill>
                  </a:ln>
                  <a:solidFill>
                    <a:srgbClr val="FFFFFF"/>
                  </a:solidFill>
                  <a:latin typeface="Calibri" panose="020F0502020204030204"/>
                </a:endParaRPr>
              </a:p>
            </p:txBody>
          </p:sp>
        </p:grpSp>
      </p:grpSp>
      <p:grpSp>
        <p:nvGrpSpPr>
          <p:cNvPr id="36" name="Group 35"/>
          <p:cNvGrpSpPr/>
          <p:nvPr/>
        </p:nvGrpSpPr>
        <p:grpSpPr>
          <a:xfrm>
            <a:off x="7726632" y="2314509"/>
            <a:ext cx="438464" cy="396061"/>
            <a:chOff x="7151370" y="5486026"/>
            <a:chExt cx="759494" cy="599061"/>
          </a:xfrm>
          <a:solidFill>
            <a:schemeClr val="tx1"/>
          </a:solidFill>
        </p:grpSpPr>
        <p:sp>
          <p:nvSpPr>
            <p:cNvPr id="37" name="Freeform 36"/>
            <p:cNvSpPr/>
            <p:nvPr/>
          </p:nvSpPr>
          <p:spPr>
            <a:xfrm>
              <a:off x="7151370" y="5486026"/>
              <a:ext cx="320839" cy="59906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solidFill>
                <a:schemeClr val="tx1"/>
              </a:solidFill>
              <a:prstDash val="solid"/>
            </a:ln>
            <a:effectLst/>
          </p:spPr>
          <p:txBody>
            <a:bodyPr vert="horz" wrap="square" lIns="93230" tIns="46615" rIns="93230" bIns="46615" numCol="1" rtlCol="0" anchor="ctr" anchorCtr="0" compatLnSpc="1">
              <a:prstTxWarp prst="textNoShape">
                <a:avLst/>
              </a:prstTxWarp>
            </a:bodyPr>
            <a:lstStyle/>
            <a:p>
              <a:pPr algn="ctr" defTabSz="931954" fontAlgn="base">
                <a:spcBef>
                  <a:spcPct val="0"/>
                </a:spcBef>
                <a:spcAft>
                  <a:spcPct val="0"/>
                </a:spcAft>
                <a:defRPr/>
              </a:pPr>
              <a:endParaRPr lang="en-US" sz="2244" kern="0" dirty="0">
                <a:gradFill>
                  <a:gsLst>
                    <a:gs pos="0">
                      <a:srgbClr val="FFFFFF"/>
                    </a:gs>
                    <a:gs pos="100000">
                      <a:srgbClr val="FFFFFF"/>
                    </a:gs>
                  </a:gsLst>
                  <a:lin ang="5400000" scaled="0"/>
                </a:gradFill>
                <a:latin typeface="Calibri" panose="020F0502020204030204"/>
              </a:endParaRPr>
            </a:p>
          </p:txBody>
        </p:sp>
        <p:grpSp>
          <p:nvGrpSpPr>
            <p:cNvPr id="38" name="Group 37"/>
            <p:cNvGrpSpPr/>
            <p:nvPr/>
          </p:nvGrpSpPr>
          <p:grpSpPr>
            <a:xfrm>
              <a:off x="7465705" y="5753034"/>
              <a:ext cx="445159" cy="324804"/>
              <a:chOff x="7503805" y="5667309"/>
              <a:chExt cx="445159" cy="324804"/>
            </a:xfrm>
            <a:grpFill/>
          </p:grpSpPr>
          <p:sp>
            <p:nvSpPr>
              <p:cNvPr id="39" name="Flowchart: Magnetic Disk 38"/>
              <p:cNvSpPr/>
              <p:nvPr>
                <p:custDataLst>
                  <p:tags r:id="rId1"/>
                </p:custDataLst>
              </p:nvPr>
            </p:nvSpPr>
            <p:spPr>
              <a:xfrm>
                <a:off x="7503805" y="5755518"/>
                <a:ext cx="177267" cy="176416"/>
              </a:xfrm>
              <a:prstGeom prst="flowChartMagneticDisk">
                <a:avLst/>
              </a:prstGeom>
              <a:grpFill/>
              <a:ln w="3175" cap="flat" cmpd="sng" algn="ctr">
                <a:solidFill>
                  <a:schemeClr val="tx1"/>
                </a:solidFill>
                <a:prstDash val="solid"/>
              </a:ln>
              <a:effectLst/>
            </p:spPr>
            <p:txBody>
              <a:bodyPr wrap="none" rtlCol="0" anchor="ctr"/>
              <a:lstStyle/>
              <a:p>
                <a:pPr algn="ctr" defTabSz="1267129">
                  <a:defRPr/>
                </a:pPr>
                <a:endParaRPr lang="en-US" sz="1020" kern="0" dirty="0">
                  <a:ln>
                    <a:solidFill>
                      <a:srgbClr val="FFFFFF">
                        <a:alpha val="0"/>
                      </a:srgbClr>
                    </a:solidFill>
                  </a:ln>
                  <a:solidFill>
                    <a:srgbClr val="FFFFFF"/>
                  </a:solidFill>
                  <a:latin typeface="Calibri" panose="020F0502020204030204"/>
                </a:endParaRPr>
              </a:p>
            </p:txBody>
          </p:sp>
          <p:sp>
            <p:nvSpPr>
              <p:cNvPr id="40" name="Flowchart: Magnetic Disk 39"/>
              <p:cNvSpPr/>
              <p:nvPr>
                <p:custDataLst>
                  <p:tags r:id="rId2"/>
                </p:custDataLst>
              </p:nvPr>
            </p:nvSpPr>
            <p:spPr>
              <a:xfrm>
                <a:off x="7683064" y="5667309"/>
                <a:ext cx="177267" cy="176416"/>
              </a:xfrm>
              <a:prstGeom prst="flowChartMagneticDisk">
                <a:avLst/>
              </a:prstGeom>
              <a:grpFill/>
              <a:ln w="3175" cap="flat" cmpd="sng" algn="ctr">
                <a:solidFill>
                  <a:schemeClr val="tx1"/>
                </a:solidFill>
                <a:prstDash val="solid"/>
              </a:ln>
              <a:effectLst/>
            </p:spPr>
            <p:txBody>
              <a:bodyPr wrap="none" rtlCol="0" anchor="ctr"/>
              <a:lstStyle/>
              <a:p>
                <a:pPr algn="ctr" defTabSz="1267129">
                  <a:defRPr/>
                </a:pPr>
                <a:endParaRPr lang="en-US" sz="1020" kern="0" dirty="0">
                  <a:ln>
                    <a:solidFill>
                      <a:srgbClr val="FFFFFF">
                        <a:alpha val="0"/>
                      </a:srgbClr>
                    </a:solidFill>
                  </a:ln>
                  <a:solidFill>
                    <a:srgbClr val="FFFFFF"/>
                  </a:solidFill>
                  <a:latin typeface="Calibri" panose="020F0502020204030204"/>
                </a:endParaRPr>
              </a:p>
            </p:txBody>
          </p:sp>
          <p:sp>
            <p:nvSpPr>
              <p:cNvPr id="41" name="Flowchart: Magnetic Disk 40"/>
              <p:cNvSpPr/>
              <p:nvPr>
                <p:custDataLst>
                  <p:tags r:id="rId3"/>
                </p:custDataLst>
              </p:nvPr>
            </p:nvSpPr>
            <p:spPr>
              <a:xfrm>
                <a:off x="7771697" y="5733520"/>
                <a:ext cx="177267" cy="176416"/>
              </a:xfrm>
              <a:prstGeom prst="flowChartMagneticDisk">
                <a:avLst/>
              </a:prstGeom>
              <a:grpFill/>
              <a:ln w="3175" cap="flat" cmpd="sng" algn="ctr">
                <a:solidFill>
                  <a:schemeClr val="tx1"/>
                </a:solidFill>
                <a:prstDash val="solid"/>
              </a:ln>
              <a:effectLst/>
            </p:spPr>
            <p:txBody>
              <a:bodyPr wrap="none" rtlCol="0" anchor="ctr"/>
              <a:lstStyle/>
              <a:p>
                <a:pPr algn="ctr" defTabSz="1267129">
                  <a:defRPr/>
                </a:pPr>
                <a:endParaRPr lang="en-US" sz="1020" kern="0" dirty="0">
                  <a:ln>
                    <a:solidFill>
                      <a:srgbClr val="FFFFFF">
                        <a:alpha val="0"/>
                      </a:srgbClr>
                    </a:solidFill>
                  </a:ln>
                  <a:solidFill>
                    <a:srgbClr val="FFFFFF"/>
                  </a:solidFill>
                  <a:latin typeface="Calibri" panose="020F0502020204030204"/>
                </a:endParaRPr>
              </a:p>
            </p:txBody>
          </p:sp>
          <p:sp>
            <p:nvSpPr>
              <p:cNvPr id="42" name="Flowchart: Magnetic Disk 41"/>
              <p:cNvSpPr/>
              <p:nvPr>
                <p:custDataLst>
                  <p:tags r:id="rId4"/>
                </p:custDataLst>
              </p:nvPr>
            </p:nvSpPr>
            <p:spPr>
              <a:xfrm>
                <a:off x="7616336" y="5815697"/>
                <a:ext cx="177267" cy="176416"/>
              </a:xfrm>
              <a:prstGeom prst="flowChartMagneticDisk">
                <a:avLst/>
              </a:prstGeom>
              <a:grpFill/>
              <a:ln w="3175" cap="flat" cmpd="sng" algn="ctr">
                <a:solidFill>
                  <a:schemeClr val="tx1"/>
                </a:solidFill>
                <a:prstDash val="solid"/>
              </a:ln>
              <a:effectLst/>
            </p:spPr>
            <p:txBody>
              <a:bodyPr wrap="none" rtlCol="0" anchor="ctr"/>
              <a:lstStyle/>
              <a:p>
                <a:pPr algn="ctr" defTabSz="1267129">
                  <a:defRPr/>
                </a:pPr>
                <a:endParaRPr lang="en-US" sz="1020" kern="0" dirty="0">
                  <a:ln>
                    <a:solidFill>
                      <a:srgbClr val="FFFFFF">
                        <a:alpha val="0"/>
                      </a:srgbClr>
                    </a:solidFill>
                  </a:ln>
                  <a:solidFill>
                    <a:srgbClr val="FFFFFF"/>
                  </a:solidFill>
                  <a:latin typeface="Calibri" panose="020F0502020204030204"/>
                </a:endParaRPr>
              </a:p>
            </p:txBody>
          </p:sp>
        </p:grpSp>
      </p:grpSp>
      <p:pic>
        <p:nvPicPr>
          <p:cNvPr id="6" name="Picture 5"/>
          <p:cNvPicPr>
            <a:picLocks noChangeAspect="1"/>
          </p:cNvPicPr>
          <p:nvPr/>
        </p:nvPicPr>
        <p:blipFill>
          <a:blip r:embed="rId15"/>
          <a:stretch>
            <a:fillRect/>
          </a:stretch>
        </p:blipFill>
        <p:spPr>
          <a:xfrm>
            <a:off x="6427269" y="5623359"/>
            <a:ext cx="811472" cy="390010"/>
          </a:xfrm>
          <a:prstGeom prst="rect">
            <a:avLst/>
          </a:prstGeom>
          <a:solidFill>
            <a:schemeClr val="accent1">
              <a:lumMod val="75000"/>
            </a:schemeClr>
          </a:solidFill>
        </p:spPr>
      </p:pic>
      <p:sp>
        <p:nvSpPr>
          <p:cNvPr id="7" name="TextBox 6"/>
          <p:cNvSpPr txBox="1"/>
          <p:nvPr/>
        </p:nvSpPr>
        <p:spPr>
          <a:xfrm>
            <a:off x="9973852" y="2749959"/>
            <a:ext cx="2074738" cy="542323"/>
          </a:xfrm>
          <a:prstGeom prst="rect">
            <a:avLst/>
          </a:prstGeom>
          <a:noFill/>
        </p:spPr>
        <p:txBody>
          <a:bodyPr wrap="none" rtlCol="0">
            <a:spAutoFit/>
          </a:bodyPr>
          <a:lstStyle/>
          <a:p>
            <a:pPr defTabSz="932418">
              <a:defRPr/>
            </a:pPr>
            <a:r>
              <a:rPr lang="en-US" sz="1836" kern="0" dirty="0">
                <a:solidFill>
                  <a:prstClr val="black"/>
                </a:solidFill>
                <a:latin typeface="Calibri" panose="020F0502020204030204"/>
              </a:rPr>
              <a:t>Power BI Service</a:t>
            </a:r>
          </a:p>
          <a:p>
            <a:pPr defTabSz="932418">
              <a:defRPr/>
            </a:pPr>
            <a:r>
              <a:rPr lang="en-US" sz="1020" kern="0" dirty="0">
                <a:solidFill>
                  <a:prstClr val="black"/>
                </a:solidFill>
                <a:latin typeface="Calibri" panose="020F0502020204030204"/>
              </a:rPr>
              <a:t>Reports, Dashboards, Data Insights</a:t>
            </a:r>
          </a:p>
        </p:txBody>
      </p:sp>
      <p:sp>
        <p:nvSpPr>
          <p:cNvPr id="5" name="TextBox 4"/>
          <p:cNvSpPr txBox="1"/>
          <p:nvPr/>
        </p:nvSpPr>
        <p:spPr>
          <a:xfrm>
            <a:off x="5886296" y="3555657"/>
            <a:ext cx="2479676" cy="286306"/>
          </a:xfrm>
          <a:prstGeom prst="rect">
            <a:avLst/>
          </a:prstGeom>
          <a:noFill/>
        </p:spPr>
        <p:txBody>
          <a:bodyPr wrap="square" rtlCol="0">
            <a:spAutoFit/>
          </a:bodyPr>
          <a:lstStyle/>
          <a:p>
            <a:pPr algn="ctr" defTabSz="932418">
              <a:defRPr/>
            </a:pPr>
            <a:r>
              <a:rPr lang="en-US" sz="1224" kern="0" dirty="0">
                <a:solidFill>
                  <a:prstClr val="black"/>
                </a:solidFill>
                <a:latin typeface="Calibri" panose="020F0502020204030204"/>
              </a:rPr>
              <a:t>Service Provider’s Datacenter</a:t>
            </a:r>
          </a:p>
        </p:txBody>
      </p:sp>
      <p:sp>
        <p:nvSpPr>
          <p:cNvPr id="61" name="TextBox 60"/>
          <p:cNvSpPr txBox="1"/>
          <p:nvPr/>
        </p:nvSpPr>
        <p:spPr>
          <a:xfrm>
            <a:off x="9496996" y="3536503"/>
            <a:ext cx="2479676" cy="318241"/>
          </a:xfrm>
          <a:prstGeom prst="rect">
            <a:avLst/>
          </a:prstGeom>
          <a:noFill/>
        </p:spPr>
        <p:txBody>
          <a:bodyPr wrap="square" rtlCol="0">
            <a:spAutoFit/>
          </a:bodyPr>
          <a:lstStyle/>
          <a:p>
            <a:pPr algn="ctr" defTabSz="932418">
              <a:defRPr/>
            </a:pPr>
            <a:r>
              <a:rPr lang="en-US" sz="1428" kern="0" dirty="0">
                <a:solidFill>
                  <a:prstClr val="black"/>
                </a:solidFill>
                <a:latin typeface="Calibri" panose="020F0502020204030204"/>
              </a:rPr>
              <a:t>Power BI on Microsoft Cloud</a:t>
            </a:r>
          </a:p>
        </p:txBody>
      </p:sp>
      <p:sp>
        <p:nvSpPr>
          <p:cNvPr id="67" name="Oval 742"/>
          <p:cNvSpPr>
            <a:spLocks noChangeArrowheads="1"/>
          </p:cNvSpPr>
          <p:nvPr/>
        </p:nvSpPr>
        <p:spPr bwMode="auto">
          <a:xfrm>
            <a:off x="6247588" y="5695110"/>
            <a:ext cx="108238" cy="112688"/>
          </a:xfrm>
          <a:prstGeom prst="ellipse">
            <a:avLst/>
          </a:prstGeom>
          <a:solidFill>
            <a:srgbClr val="1EBBEE"/>
          </a:solidFill>
          <a:ln>
            <a:noFill/>
          </a:ln>
          <a:extLst/>
        </p:spPr>
        <p:txBody>
          <a:bodyPr vert="horz" wrap="square" lIns="93247" tIns="46623" rIns="93247" bIns="46623" numCol="1" anchor="t" anchorCtr="0" compatLnSpc="1">
            <a:prstTxWarp prst="textNoShape">
              <a:avLst/>
            </a:prstTxWarp>
          </a:bodyPr>
          <a:lstStyle/>
          <a:p>
            <a:pPr defTabSz="931998">
              <a:defRPr/>
            </a:pPr>
            <a:endParaRPr lang="en-US" sz="3672" kern="0" dirty="0">
              <a:solidFill>
                <a:srgbClr val="FFFFFF"/>
              </a:solidFill>
              <a:latin typeface="Segoe Pro"/>
            </a:endParaRPr>
          </a:p>
        </p:txBody>
      </p:sp>
      <p:sp>
        <p:nvSpPr>
          <p:cNvPr id="68" name="Freeform 741"/>
          <p:cNvSpPr>
            <a:spLocks/>
          </p:cNvSpPr>
          <p:nvPr/>
        </p:nvSpPr>
        <p:spPr bwMode="auto">
          <a:xfrm>
            <a:off x="6210941" y="5818364"/>
            <a:ext cx="181532" cy="375921"/>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solidFill>
            <a:srgbClr val="1EBBEE"/>
          </a:solidFill>
          <a:ln>
            <a:noFill/>
          </a:ln>
          <a:extLst/>
        </p:spPr>
        <p:txBody>
          <a:bodyPr vert="horz" wrap="square" lIns="93247" tIns="46623" rIns="93247" bIns="46623" numCol="1" anchor="t" anchorCtr="0" compatLnSpc="1">
            <a:prstTxWarp prst="textNoShape">
              <a:avLst/>
            </a:prstTxWarp>
          </a:bodyPr>
          <a:lstStyle/>
          <a:p>
            <a:pPr defTabSz="931998">
              <a:defRPr/>
            </a:pPr>
            <a:endParaRPr lang="en-US" sz="3672" kern="0" dirty="0">
              <a:solidFill>
                <a:srgbClr val="FFFFFF"/>
              </a:solidFill>
              <a:latin typeface="Segoe Pro"/>
            </a:endParaRPr>
          </a:p>
        </p:txBody>
      </p:sp>
      <p:sp>
        <p:nvSpPr>
          <p:cNvPr id="69" name="Freeform 12"/>
          <p:cNvSpPr>
            <a:spLocks noEditPoints="1"/>
          </p:cNvSpPr>
          <p:nvPr/>
        </p:nvSpPr>
        <p:spPr bwMode="auto">
          <a:xfrm>
            <a:off x="6002319" y="5874116"/>
            <a:ext cx="199330" cy="170642"/>
          </a:xfrm>
          <a:custGeom>
            <a:avLst/>
            <a:gdLst>
              <a:gd name="T0" fmla="*/ 22 w 87"/>
              <a:gd name="T1" fmla="*/ 47 h 72"/>
              <a:gd name="T2" fmla="*/ 65 w 87"/>
              <a:gd name="T3" fmla="*/ 47 h 72"/>
              <a:gd name="T4" fmla="*/ 74 w 87"/>
              <a:gd name="T5" fmla="*/ 38 h 72"/>
              <a:gd name="T6" fmla="*/ 74 w 87"/>
              <a:gd name="T7" fmla="*/ 9 h 72"/>
              <a:gd name="T8" fmla="*/ 65 w 87"/>
              <a:gd name="T9" fmla="*/ 0 h 72"/>
              <a:gd name="T10" fmla="*/ 22 w 87"/>
              <a:gd name="T11" fmla="*/ 0 h 72"/>
              <a:gd name="T12" fmla="*/ 13 w 87"/>
              <a:gd name="T13" fmla="*/ 9 h 72"/>
              <a:gd name="T14" fmla="*/ 13 w 87"/>
              <a:gd name="T15" fmla="*/ 38 h 72"/>
              <a:gd name="T16" fmla="*/ 22 w 87"/>
              <a:gd name="T17" fmla="*/ 47 h 72"/>
              <a:gd name="T18" fmla="*/ 19 w 87"/>
              <a:gd name="T19" fmla="*/ 9 h 72"/>
              <a:gd name="T20" fmla="*/ 22 w 87"/>
              <a:gd name="T21" fmla="*/ 5 h 72"/>
              <a:gd name="T22" fmla="*/ 65 w 87"/>
              <a:gd name="T23" fmla="*/ 5 h 72"/>
              <a:gd name="T24" fmla="*/ 69 w 87"/>
              <a:gd name="T25" fmla="*/ 9 h 72"/>
              <a:gd name="T26" fmla="*/ 69 w 87"/>
              <a:gd name="T27" fmla="*/ 38 h 72"/>
              <a:gd name="T28" fmla="*/ 65 w 87"/>
              <a:gd name="T29" fmla="*/ 42 h 72"/>
              <a:gd name="T30" fmla="*/ 22 w 87"/>
              <a:gd name="T31" fmla="*/ 42 h 72"/>
              <a:gd name="T32" fmla="*/ 19 w 87"/>
              <a:gd name="T33" fmla="*/ 38 h 72"/>
              <a:gd name="T34" fmla="*/ 19 w 87"/>
              <a:gd name="T35" fmla="*/ 9 h 72"/>
              <a:gd name="T36" fmla="*/ 19 w 87"/>
              <a:gd name="T37" fmla="*/ 9 h 72"/>
              <a:gd name="T38" fmla="*/ 3 w 87"/>
              <a:gd name="T39" fmla="*/ 72 h 72"/>
              <a:gd name="T40" fmla="*/ 85 w 87"/>
              <a:gd name="T41" fmla="*/ 72 h 72"/>
              <a:gd name="T42" fmla="*/ 87 w 87"/>
              <a:gd name="T43" fmla="*/ 70 h 72"/>
              <a:gd name="T44" fmla="*/ 87 w 87"/>
              <a:gd name="T45" fmla="*/ 69 h 72"/>
              <a:gd name="T46" fmla="*/ 86 w 87"/>
              <a:gd name="T47" fmla="*/ 65 h 72"/>
              <a:gd name="T48" fmla="*/ 75 w 87"/>
              <a:gd name="T49" fmla="*/ 52 h 72"/>
              <a:gd name="T50" fmla="*/ 71 w 87"/>
              <a:gd name="T51" fmla="*/ 50 h 72"/>
              <a:gd name="T52" fmla="*/ 17 w 87"/>
              <a:gd name="T53" fmla="*/ 50 h 72"/>
              <a:gd name="T54" fmla="*/ 13 w 87"/>
              <a:gd name="T55" fmla="*/ 52 h 72"/>
              <a:gd name="T56" fmla="*/ 2 w 87"/>
              <a:gd name="T57" fmla="*/ 65 h 72"/>
              <a:gd name="T58" fmla="*/ 0 w 87"/>
              <a:gd name="T59" fmla="*/ 69 h 72"/>
              <a:gd name="T60" fmla="*/ 0 w 87"/>
              <a:gd name="T61" fmla="*/ 70 h 72"/>
              <a:gd name="T62" fmla="*/ 3 w 87"/>
              <a:gd name="T6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72">
                <a:moveTo>
                  <a:pt x="22" y="47"/>
                </a:moveTo>
                <a:cubicBezTo>
                  <a:pt x="65" y="47"/>
                  <a:pt x="65" y="47"/>
                  <a:pt x="65" y="47"/>
                </a:cubicBezTo>
                <a:cubicBezTo>
                  <a:pt x="70" y="47"/>
                  <a:pt x="74" y="43"/>
                  <a:pt x="74" y="38"/>
                </a:cubicBezTo>
                <a:cubicBezTo>
                  <a:pt x="74" y="9"/>
                  <a:pt x="74" y="9"/>
                  <a:pt x="74" y="9"/>
                </a:cubicBezTo>
                <a:cubicBezTo>
                  <a:pt x="74" y="4"/>
                  <a:pt x="70" y="0"/>
                  <a:pt x="65" y="0"/>
                </a:cubicBezTo>
                <a:cubicBezTo>
                  <a:pt x="22" y="0"/>
                  <a:pt x="22" y="0"/>
                  <a:pt x="22" y="0"/>
                </a:cubicBezTo>
                <a:cubicBezTo>
                  <a:pt x="17" y="0"/>
                  <a:pt x="13" y="4"/>
                  <a:pt x="13" y="9"/>
                </a:cubicBezTo>
                <a:cubicBezTo>
                  <a:pt x="13" y="38"/>
                  <a:pt x="13" y="38"/>
                  <a:pt x="13" y="38"/>
                </a:cubicBezTo>
                <a:cubicBezTo>
                  <a:pt x="13" y="43"/>
                  <a:pt x="17" y="47"/>
                  <a:pt x="22" y="47"/>
                </a:cubicBezTo>
                <a:close/>
                <a:moveTo>
                  <a:pt x="19" y="9"/>
                </a:moveTo>
                <a:cubicBezTo>
                  <a:pt x="19" y="6"/>
                  <a:pt x="20" y="5"/>
                  <a:pt x="22" y="5"/>
                </a:cubicBezTo>
                <a:cubicBezTo>
                  <a:pt x="65" y="5"/>
                  <a:pt x="65" y="5"/>
                  <a:pt x="65" y="5"/>
                </a:cubicBezTo>
                <a:cubicBezTo>
                  <a:pt x="67" y="5"/>
                  <a:pt x="69" y="6"/>
                  <a:pt x="69" y="9"/>
                </a:cubicBezTo>
                <a:cubicBezTo>
                  <a:pt x="69" y="38"/>
                  <a:pt x="69" y="38"/>
                  <a:pt x="69" y="38"/>
                </a:cubicBezTo>
                <a:cubicBezTo>
                  <a:pt x="69" y="40"/>
                  <a:pt x="67" y="42"/>
                  <a:pt x="65" y="42"/>
                </a:cubicBezTo>
                <a:cubicBezTo>
                  <a:pt x="22" y="42"/>
                  <a:pt x="22" y="42"/>
                  <a:pt x="22" y="42"/>
                </a:cubicBezTo>
                <a:cubicBezTo>
                  <a:pt x="20" y="42"/>
                  <a:pt x="19" y="40"/>
                  <a:pt x="19" y="38"/>
                </a:cubicBezTo>
                <a:cubicBezTo>
                  <a:pt x="19" y="9"/>
                  <a:pt x="19" y="9"/>
                  <a:pt x="19" y="9"/>
                </a:cubicBezTo>
                <a:cubicBezTo>
                  <a:pt x="19" y="9"/>
                  <a:pt x="19" y="9"/>
                  <a:pt x="19" y="9"/>
                </a:cubicBezTo>
                <a:close/>
                <a:moveTo>
                  <a:pt x="3" y="72"/>
                </a:moveTo>
                <a:cubicBezTo>
                  <a:pt x="85" y="72"/>
                  <a:pt x="85" y="72"/>
                  <a:pt x="85" y="72"/>
                </a:cubicBezTo>
                <a:cubicBezTo>
                  <a:pt x="86" y="72"/>
                  <a:pt x="87" y="71"/>
                  <a:pt x="87" y="70"/>
                </a:cubicBezTo>
                <a:cubicBezTo>
                  <a:pt x="87" y="69"/>
                  <a:pt x="87" y="69"/>
                  <a:pt x="87" y="69"/>
                </a:cubicBezTo>
                <a:cubicBezTo>
                  <a:pt x="87" y="67"/>
                  <a:pt x="87" y="66"/>
                  <a:pt x="86" y="65"/>
                </a:cubicBezTo>
                <a:cubicBezTo>
                  <a:pt x="75" y="52"/>
                  <a:pt x="75" y="52"/>
                  <a:pt x="75" y="52"/>
                </a:cubicBezTo>
                <a:cubicBezTo>
                  <a:pt x="74" y="51"/>
                  <a:pt x="73" y="50"/>
                  <a:pt x="71" y="50"/>
                </a:cubicBezTo>
                <a:cubicBezTo>
                  <a:pt x="17" y="50"/>
                  <a:pt x="17" y="50"/>
                  <a:pt x="17" y="50"/>
                </a:cubicBezTo>
                <a:cubicBezTo>
                  <a:pt x="15" y="50"/>
                  <a:pt x="14" y="51"/>
                  <a:pt x="13" y="52"/>
                </a:cubicBezTo>
                <a:cubicBezTo>
                  <a:pt x="2" y="65"/>
                  <a:pt x="2" y="65"/>
                  <a:pt x="2" y="65"/>
                </a:cubicBezTo>
                <a:cubicBezTo>
                  <a:pt x="1" y="66"/>
                  <a:pt x="0" y="67"/>
                  <a:pt x="0" y="69"/>
                </a:cubicBezTo>
                <a:cubicBezTo>
                  <a:pt x="0" y="70"/>
                  <a:pt x="0" y="70"/>
                  <a:pt x="0" y="70"/>
                </a:cubicBezTo>
                <a:cubicBezTo>
                  <a:pt x="0" y="71"/>
                  <a:pt x="2" y="72"/>
                  <a:pt x="3" y="72"/>
                </a:cubicBezTo>
                <a:close/>
              </a:path>
            </a:pathLst>
          </a:custGeom>
          <a:solidFill>
            <a:srgbClr val="1EBBEE"/>
          </a:solidFill>
          <a:ln>
            <a:noFill/>
          </a:ln>
        </p:spPr>
        <p:txBody>
          <a:bodyPr vert="horz" wrap="square" lIns="93247" tIns="46623" rIns="93247" bIns="46623" numCol="1" anchor="t" anchorCtr="0" compatLnSpc="1">
            <a:prstTxWarp prst="textNoShape">
              <a:avLst/>
            </a:prstTxWarp>
          </a:bodyPr>
          <a:lstStyle/>
          <a:p>
            <a:pPr defTabSz="519436">
              <a:defRPr/>
            </a:pPr>
            <a:endParaRPr lang="en-US" sz="3672" kern="0" dirty="0">
              <a:solidFill>
                <a:prstClr val="black"/>
              </a:solidFill>
              <a:latin typeface="Segoe Pro"/>
            </a:endParaRPr>
          </a:p>
        </p:txBody>
      </p:sp>
      <p:sp>
        <p:nvSpPr>
          <p:cNvPr id="14" name="TextBox 13"/>
          <p:cNvSpPr txBox="1"/>
          <p:nvPr/>
        </p:nvSpPr>
        <p:spPr>
          <a:xfrm>
            <a:off x="5956250" y="6268779"/>
            <a:ext cx="1122966" cy="286266"/>
          </a:xfrm>
          <a:prstGeom prst="rect">
            <a:avLst/>
          </a:prstGeom>
          <a:noFill/>
        </p:spPr>
        <p:txBody>
          <a:bodyPr wrap="square" rtlCol="0">
            <a:spAutoFit/>
          </a:bodyPr>
          <a:lstStyle/>
          <a:p>
            <a:pPr algn="ctr" defTabSz="932418">
              <a:defRPr/>
            </a:pPr>
            <a:r>
              <a:rPr lang="en-US" sz="1224" kern="0" dirty="0">
                <a:solidFill>
                  <a:prstClr val="black"/>
                </a:solidFill>
                <a:latin typeface="Calibri" panose="020F0502020204030204"/>
              </a:rPr>
              <a:t>Customer A</a:t>
            </a:r>
          </a:p>
        </p:txBody>
      </p:sp>
      <p:sp>
        <p:nvSpPr>
          <p:cNvPr id="77" name="Cloud 76"/>
          <p:cNvSpPr/>
          <p:nvPr/>
        </p:nvSpPr>
        <p:spPr>
          <a:xfrm>
            <a:off x="7632337" y="5451595"/>
            <a:ext cx="1635167" cy="856141"/>
          </a:xfrm>
          <a:prstGeom prst="cloud">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defRPr/>
            </a:pPr>
            <a:endParaRPr lang="en-US" sz="1836" kern="0" dirty="0">
              <a:solidFill>
                <a:prstClr val="white"/>
              </a:solidFill>
              <a:latin typeface="Calibri" panose="020F0502020204030204"/>
            </a:endParaRPr>
          </a:p>
        </p:txBody>
      </p:sp>
      <p:pic>
        <p:nvPicPr>
          <p:cNvPr id="78" name="Picture 77"/>
          <p:cNvPicPr>
            <a:picLocks noChangeAspect="1"/>
          </p:cNvPicPr>
          <p:nvPr/>
        </p:nvPicPr>
        <p:blipFill>
          <a:blip r:embed="rId15"/>
          <a:stretch>
            <a:fillRect/>
          </a:stretch>
        </p:blipFill>
        <p:spPr>
          <a:xfrm>
            <a:off x="8278125" y="5584346"/>
            <a:ext cx="811472" cy="390010"/>
          </a:xfrm>
          <a:prstGeom prst="rect">
            <a:avLst/>
          </a:prstGeom>
          <a:solidFill>
            <a:schemeClr val="accent1">
              <a:lumMod val="75000"/>
            </a:schemeClr>
          </a:solidFill>
        </p:spPr>
      </p:pic>
      <p:sp>
        <p:nvSpPr>
          <p:cNvPr id="79" name="Oval 742"/>
          <p:cNvSpPr>
            <a:spLocks noChangeArrowheads="1"/>
          </p:cNvSpPr>
          <p:nvPr/>
        </p:nvSpPr>
        <p:spPr bwMode="auto">
          <a:xfrm>
            <a:off x="8098446" y="5656097"/>
            <a:ext cx="108238" cy="112688"/>
          </a:xfrm>
          <a:prstGeom prst="ellipse">
            <a:avLst/>
          </a:prstGeom>
          <a:solidFill>
            <a:srgbClr val="1EBBEE"/>
          </a:solidFill>
          <a:ln>
            <a:noFill/>
          </a:ln>
          <a:extLst/>
        </p:spPr>
        <p:txBody>
          <a:bodyPr vert="horz" wrap="square" lIns="93247" tIns="46623" rIns="93247" bIns="46623" numCol="1" anchor="t" anchorCtr="0" compatLnSpc="1">
            <a:prstTxWarp prst="textNoShape">
              <a:avLst/>
            </a:prstTxWarp>
          </a:bodyPr>
          <a:lstStyle/>
          <a:p>
            <a:pPr defTabSz="931998">
              <a:defRPr/>
            </a:pPr>
            <a:endParaRPr lang="en-US" sz="3672" kern="0" dirty="0">
              <a:solidFill>
                <a:srgbClr val="FFFFFF"/>
              </a:solidFill>
              <a:latin typeface="Segoe Pro"/>
            </a:endParaRPr>
          </a:p>
        </p:txBody>
      </p:sp>
      <p:sp>
        <p:nvSpPr>
          <p:cNvPr id="80" name="Freeform 741"/>
          <p:cNvSpPr>
            <a:spLocks/>
          </p:cNvSpPr>
          <p:nvPr/>
        </p:nvSpPr>
        <p:spPr bwMode="auto">
          <a:xfrm>
            <a:off x="8061799" y="5779350"/>
            <a:ext cx="181532" cy="375921"/>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solidFill>
            <a:srgbClr val="1EBBEE"/>
          </a:solidFill>
          <a:ln>
            <a:noFill/>
          </a:ln>
          <a:extLst/>
        </p:spPr>
        <p:txBody>
          <a:bodyPr vert="horz" wrap="square" lIns="93247" tIns="46623" rIns="93247" bIns="46623" numCol="1" anchor="t" anchorCtr="0" compatLnSpc="1">
            <a:prstTxWarp prst="textNoShape">
              <a:avLst/>
            </a:prstTxWarp>
          </a:bodyPr>
          <a:lstStyle/>
          <a:p>
            <a:pPr defTabSz="931998">
              <a:defRPr/>
            </a:pPr>
            <a:endParaRPr lang="en-US" sz="3672" kern="0" dirty="0">
              <a:solidFill>
                <a:srgbClr val="FFFFFF"/>
              </a:solidFill>
              <a:latin typeface="Segoe Pro"/>
            </a:endParaRPr>
          </a:p>
        </p:txBody>
      </p:sp>
      <p:sp>
        <p:nvSpPr>
          <p:cNvPr id="81" name="Freeform 12"/>
          <p:cNvSpPr>
            <a:spLocks noEditPoints="1"/>
          </p:cNvSpPr>
          <p:nvPr/>
        </p:nvSpPr>
        <p:spPr bwMode="auto">
          <a:xfrm>
            <a:off x="7853175" y="5835101"/>
            <a:ext cx="199330" cy="170642"/>
          </a:xfrm>
          <a:custGeom>
            <a:avLst/>
            <a:gdLst>
              <a:gd name="T0" fmla="*/ 22 w 87"/>
              <a:gd name="T1" fmla="*/ 47 h 72"/>
              <a:gd name="T2" fmla="*/ 65 w 87"/>
              <a:gd name="T3" fmla="*/ 47 h 72"/>
              <a:gd name="T4" fmla="*/ 74 w 87"/>
              <a:gd name="T5" fmla="*/ 38 h 72"/>
              <a:gd name="T6" fmla="*/ 74 w 87"/>
              <a:gd name="T7" fmla="*/ 9 h 72"/>
              <a:gd name="T8" fmla="*/ 65 w 87"/>
              <a:gd name="T9" fmla="*/ 0 h 72"/>
              <a:gd name="T10" fmla="*/ 22 w 87"/>
              <a:gd name="T11" fmla="*/ 0 h 72"/>
              <a:gd name="T12" fmla="*/ 13 w 87"/>
              <a:gd name="T13" fmla="*/ 9 h 72"/>
              <a:gd name="T14" fmla="*/ 13 w 87"/>
              <a:gd name="T15" fmla="*/ 38 h 72"/>
              <a:gd name="T16" fmla="*/ 22 w 87"/>
              <a:gd name="T17" fmla="*/ 47 h 72"/>
              <a:gd name="T18" fmla="*/ 19 w 87"/>
              <a:gd name="T19" fmla="*/ 9 h 72"/>
              <a:gd name="T20" fmla="*/ 22 w 87"/>
              <a:gd name="T21" fmla="*/ 5 h 72"/>
              <a:gd name="T22" fmla="*/ 65 w 87"/>
              <a:gd name="T23" fmla="*/ 5 h 72"/>
              <a:gd name="T24" fmla="*/ 69 w 87"/>
              <a:gd name="T25" fmla="*/ 9 h 72"/>
              <a:gd name="T26" fmla="*/ 69 w 87"/>
              <a:gd name="T27" fmla="*/ 38 h 72"/>
              <a:gd name="T28" fmla="*/ 65 w 87"/>
              <a:gd name="T29" fmla="*/ 42 h 72"/>
              <a:gd name="T30" fmla="*/ 22 w 87"/>
              <a:gd name="T31" fmla="*/ 42 h 72"/>
              <a:gd name="T32" fmla="*/ 19 w 87"/>
              <a:gd name="T33" fmla="*/ 38 h 72"/>
              <a:gd name="T34" fmla="*/ 19 w 87"/>
              <a:gd name="T35" fmla="*/ 9 h 72"/>
              <a:gd name="T36" fmla="*/ 19 w 87"/>
              <a:gd name="T37" fmla="*/ 9 h 72"/>
              <a:gd name="T38" fmla="*/ 3 w 87"/>
              <a:gd name="T39" fmla="*/ 72 h 72"/>
              <a:gd name="T40" fmla="*/ 85 w 87"/>
              <a:gd name="T41" fmla="*/ 72 h 72"/>
              <a:gd name="T42" fmla="*/ 87 w 87"/>
              <a:gd name="T43" fmla="*/ 70 h 72"/>
              <a:gd name="T44" fmla="*/ 87 w 87"/>
              <a:gd name="T45" fmla="*/ 69 h 72"/>
              <a:gd name="T46" fmla="*/ 86 w 87"/>
              <a:gd name="T47" fmla="*/ 65 h 72"/>
              <a:gd name="T48" fmla="*/ 75 w 87"/>
              <a:gd name="T49" fmla="*/ 52 h 72"/>
              <a:gd name="T50" fmla="*/ 71 w 87"/>
              <a:gd name="T51" fmla="*/ 50 h 72"/>
              <a:gd name="T52" fmla="*/ 17 w 87"/>
              <a:gd name="T53" fmla="*/ 50 h 72"/>
              <a:gd name="T54" fmla="*/ 13 w 87"/>
              <a:gd name="T55" fmla="*/ 52 h 72"/>
              <a:gd name="T56" fmla="*/ 2 w 87"/>
              <a:gd name="T57" fmla="*/ 65 h 72"/>
              <a:gd name="T58" fmla="*/ 0 w 87"/>
              <a:gd name="T59" fmla="*/ 69 h 72"/>
              <a:gd name="T60" fmla="*/ 0 w 87"/>
              <a:gd name="T61" fmla="*/ 70 h 72"/>
              <a:gd name="T62" fmla="*/ 3 w 87"/>
              <a:gd name="T6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72">
                <a:moveTo>
                  <a:pt x="22" y="47"/>
                </a:moveTo>
                <a:cubicBezTo>
                  <a:pt x="65" y="47"/>
                  <a:pt x="65" y="47"/>
                  <a:pt x="65" y="47"/>
                </a:cubicBezTo>
                <a:cubicBezTo>
                  <a:pt x="70" y="47"/>
                  <a:pt x="74" y="43"/>
                  <a:pt x="74" y="38"/>
                </a:cubicBezTo>
                <a:cubicBezTo>
                  <a:pt x="74" y="9"/>
                  <a:pt x="74" y="9"/>
                  <a:pt x="74" y="9"/>
                </a:cubicBezTo>
                <a:cubicBezTo>
                  <a:pt x="74" y="4"/>
                  <a:pt x="70" y="0"/>
                  <a:pt x="65" y="0"/>
                </a:cubicBezTo>
                <a:cubicBezTo>
                  <a:pt x="22" y="0"/>
                  <a:pt x="22" y="0"/>
                  <a:pt x="22" y="0"/>
                </a:cubicBezTo>
                <a:cubicBezTo>
                  <a:pt x="17" y="0"/>
                  <a:pt x="13" y="4"/>
                  <a:pt x="13" y="9"/>
                </a:cubicBezTo>
                <a:cubicBezTo>
                  <a:pt x="13" y="38"/>
                  <a:pt x="13" y="38"/>
                  <a:pt x="13" y="38"/>
                </a:cubicBezTo>
                <a:cubicBezTo>
                  <a:pt x="13" y="43"/>
                  <a:pt x="17" y="47"/>
                  <a:pt x="22" y="47"/>
                </a:cubicBezTo>
                <a:close/>
                <a:moveTo>
                  <a:pt x="19" y="9"/>
                </a:moveTo>
                <a:cubicBezTo>
                  <a:pt x="19" y="6"/>
                  <a:pt x="20" y="5"/>
                  <a:pt x="22" y="5"/>
                </a:cubicBezTo>
                <a:cubicBezTo>
                  <a:pt x="65" y="5"/>
                  <a:pt x="65" y="5"/>
                  <a:pt x="65" y="5"/>
                </a:cubicBezTo>
                <a:cubicBezTo>
                  <a:pt x="67" y="5"/>
                  <a:pt x="69" y="6"/>
                  <a:pt x="69" y="9"/>
                </a:cubicBezTo>
                <a:cubicBezTo>
                  <a:pt x="69" y="38"/>
                  <a:pt x="69" y="38"/>
                  <a:pt x="69" y="38"/>
                </a:cubicBezTo>
                <a:cubicBezTo>
                  <a:pt x="69" y="40"/>
                  <a:pt x="67" y="42"/>
                  <a:pt x="65" y="42"/>
                </a:cubicBezTo>
                <a:cubicBezTo>
                  <a:pt x="22" y="42"/>
                  <a:pt x="22" y="42"/>
                  <a:pt x="22" y="42"/>
                </a:cubicBezTo>
                <a:cubicBezTo>
                  <a:pt x="20" y="42"/>
                  <a:pt x="19" y="40"/>
                  <a:pt x="19" y="38"/>
                </a:cubicBezTo>
                <a:cubicBezTo>
                  <a:pt x="19" y="9"/>
                  <a:pt x="19" y="9"/>
                  <a:pt x="19" y="9"/>
                </a:cubicBezTo>
                <a:cubicBezTo>
                  <a:pt x="19" y="9"/>
                  <a:pt x="19" y="9"/>
                  <a:pt x="19" y="9"/>
                </a:cubicBezTo>
                <a:close/>
                <a:moveTo>
                  <a:pt x="3" y="72"/>
                </a:moveTo>
                <a:cubicBezTo>
                  <a:pt x="85" y="72"/>
                  <a:pt x="85" y="72"/>
                  <a:pt x="85" y="72"/>
                </a:cubicBezTo>
                <a:cubicBezTo>
                  <a:pt x="86" y="72"/>
                  <a:pt x="87" y="71"/>
                  <a:pt x="87" y="70"/>
                </a:cubicBezTo>
                <a:cubicBezTo>
                  <a:pt x="87" y="69"/>
                  <a:pt x="87" y="69"/>
                  <a:pt x="87" y="69"/>
                </a:cubicBezTo>
                <a:cubicBezTo>
                  <a:pt x="87" y="67"/>
                  <a:pt x="87" y="66"/>
                  <a:pt x="86" y="65"/>
                </a:cubicBezTo>
                <a:cubicBezTo>
                  <a:pt x="75" y="52"/>
                  <a:pt x="75" y="52"/>
                  <a:pt x="75" y="52"/>
                </a:cubicBezTo>
                <a:cubicBezTo>
                  <a:pt x="74" y="51"/>
                  <a:pt x="73" y="50"/>
                  <a:pt x="71" y="50"/>
                </a:cubicBezTo>
                <a:cubicBezTo>
                  <a:pt x="17" y="50"/>
                  <a:pt x="17" y="50"/>
                  <a:pt x="17" y="50"/>
                </a:cubicBezTo>
                <a:cubicBezTo>
                  <a:pt x="15" y="50"/>
                  <a:pt x="14" y="51"/>
                  <a:pt x="13" y="52"/>
                </a:cubicBezTo>
                <a:cubicBezTo>
                  <a:pt x="2" y="65"/>
                  <a:pt x="2" y="65"/>
                  <a:pt x="2" y="65"/>
                </a:cubicBezTo>
                <a:cubicBezTo>
                  <a:pt x="1" y="66"/>
                  <a:pt x="0" y="67"/>
                  <a:pt x="0" y="69"/>
                </a:cubicBezTo>
                <a:cubicBezTo>
                  <a:pt x="0" y="70"/>
                  <a:pt x="0" y="70"/>
                  <a:pt x="0" y="70"/>
                </a:cubicBezTo>
                <a:cubicBezTo>
                  <a:pt x="0" y="71"/>
                  <a:pt x="2" y="72"/>
                  <a:pt x="3" y="72"/>
                </a:cubicBezTo>
                <a:close/>
              </a:path>
            </a:pathLst>
          </a:custGeom>
          <a:solidFill>
            <a:srgbClr val="1EBBEE"/>
          </a:solidFill>
          <a:ln>
            <a:noFill/>
          </a:ln>
        </p:spPr>
        <p:txBody>
          <a:bodyPr vert="horz" wrap="square" lIns="93247" tIns="46623" rIns="93247" bIns="46623" numCol="1" anchor="t" anchorCtr="0" compatLnSpc="1">
            <a:prstTxWarp prst="textNoShape">
              <a:avLst/>
            </a:prstTxWarp>
          </a:bodyPr>
          <a:lstStyle/>
          <a:p>
            <a:pPr defTabSz="519436">
              <a:defRPr/>
            </a:pPr>
            <a:endParaRPr lang="en-US" sz="3672" kern="0" dirty="0">
              <a:solidFill>
                <a:prstClr val="black"/>
              </a:solidFill>
              <a:latin typeface="Segoe Pro"/>
            </a:endParaRPr>
          </a:p>
        </p:txBody>
      </p:sp>
      <p:sp>
        <p:nvSpPr>
          <p:cNvPr id="82" name="TextBox 81"/>
          <p:cNvSpPr txBox="1"/>
          <p:nvPr/>
        </p:nvSpPr>
        <p:spPr>
          <a:xfrm>
            <a:off x="7807107" y="6229764"/>
            <a:ext cx="1122966" cy="286266"/>
          </a:xfrm>
          <a:prstGeom prst="rect">
            <a:avLst/>
          </a:prstGeom>
          <a:noFill/>
        </p:spPr>
        <p:txBody>
          <a:bodyPr wrap="square" rtlCol="0">
            <a:spAutoFit/>
          </a:bodyPr>
          <a:lstStyle/>
          <a:p>
            <a:pPr algn="ctr" defTabSz="932418">
              <a:defRPr/>
            </a:pPr>
            <a:r>
              <a:rPr lang="en-US" sz="1224" kern="0" dirty="0">
                <a:solidFill>
                  <a:prstClr val="black"/>
                </a:solidFill>
                <a:latin typeface="Calibri" panose="020F0502020204030204"/>
              </a:rPr>
              <a:t>Customer B</a:t>
            </a:r>
          </a:p>
        </p:txBody>
      </p:sp>
      <p:sp>
        <p:nvSpPr>
          <p:cNvPr id="84" name="Cloud 83"/>
          <p:cNvSpPr/>
          <p:nvPr/>
        </p:nvSpPr>
        <p:spPr>
          <a:xfrm>
            <a:off x="9438344" y="5446044"/>
            <a:ext cx="1635167" cy="856141"/>
          </a:xfrm>
          <a:prstGeom prst="cloud">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defRPr/>
            </a:pPr>
            <a:endParaRPr lang="en-US" sz="1836" kern="0" dirty="0">
              <a:solidFill>
                <a:prstClr val="white"/>
              </a:solidFill>
              <a:latin typeface="Calibri" panose="020F0502020204030204"/>
            </a:endParaRPr>
          </a:p>
        </p:txBody>
      </p:sp>
      <p:pic>
        <p:nvPicPr>
          <p:cNvPr id="85" name="Picture 84"/>
          <p:cNvPicPr>
            <a:picLocks noChangeAspect="1"/>
          </p:cNvPicPr>
          <p:nvPr/>
        </p:nvPicPr>
        <p:blipFill>
          <a:blip r:embed="rId15"/>
          <a:stretch>
            <a:fillRect/>
          </a:stretch>
        </p:blipFill>
        <p:spPr>
          <a:xfrm>
            <a:off x="10084132" y="5578793"/>
            <a:ext cx="811472" cy="390010"/>
          </a:xfrm>
          <a:prstGeom prst="rect">
            <a:avLst/>
          </a:prstGeom>
          <a:solidFill>
            <a:schemeClr val="accent1">
              <a:lumMod val="75000"/>
            </a:schemeClr>
          </a:solidFill>
        </p:spPr>
      </p:pic>
      <p:sp>
        <p:nvSpPr>
          <p:cNvPr id="86" name="Oval 742"/>
          <p:cNvSpPr>
            <a:spLocks noChangeArrowheads="1"/>
          </p:cNvSpPr>
          <p:nvPr/>
        </p:nvSpPr>
        <p:spPr bwMode="auto">
          <a:xfrm>
            <a:off x="9904453" y="5650544"/>
            <a:ext cx="108238" cy="112688"/>
          </a:xfrm>
          <a:prstGeom prst="ellipse">
            <a:avLst/>
          </a:prstGeom>
          <a:solidFill>
            <a:srgbClr val="1EBBEE"/>
          </a:solidFill>
          <a:ln>
            <a:noFill/>
          </a:ln>
          <a:extLst/>
        </p:spPr>
        <p:txBody>
          <a:bodyPr vert="horz" wrap="square" lIns="93247" tIns="46623" rIns="93247" bIns="46623" numCol="1" anchor="t" anchorCtr="0" compatLnSpc="1">
            <a:prstTxWarp prst="textNoShape">
              <a:avLst/>
            </a:prstTxWarp>
          </a:bodyPr>
          <a:lstStyle/>
          <a:p>
            <a:pPr defTabSz="931998">
              <a:defRPr/>
            </a:pPr>
            <a:endParaRPr lang="en-US" sz="3672" kern="0" dirty="0">
              <a:solidFill>
                <a:srgbClr val="FFFFFF"/>
              </a:solidFill>
              <a:latin typeface="Segoe Pro"/>
            </a:endParaRPr>
          </a:p>
        </p:txBody>
      </p:sp>
      <p:sp>
        <p:nvSpPr>
          <p:cNvPr id="87" name="Freeform 741"/>
          <p:cNvSpPr>
            <a:spLocks/>
          </p:cNvSpPr>
          <p:nvPr/>
        </p:nvSpPr>
        <p:spPr bwMode="auto">
          <a:xfrm>
            <a:off x="9867806" y="5773799"/>
            <a:ext cx="181532" cy="375921"/>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solidFill>
            <a:srgbClr val="1EBBEE"/>
          </a:solidFill>
          <a:ln>
            <a:noFill/>
          </a:ln>
          <a:extLst/>
        </p:spPr>
        <p:txBody>
          <a:bodyPr vert="horz" wrap="square" lIns="93247" tIns="46623" rIns="93247" bIns="46623" numCol="1" anchor="t" anchorCtr="0" compatLnSpc="1">
            <a:prstTxWarp prst="textNoShape">
              <a:avLst/>
            </a:prstTxWarp>
          </a:bodyPr>
          <a:lstStyle/>
          <a:p>
            <a:pPr defTabSz="931998">
              <a:defRPr/>
            </a:pPr>
            <a:endParaRPr lang="en-US" sz="3672" kern="0" dirty="0">
              <a:solidFill>
                <a:srgbClr val="FFFFFF"/>
              </a:solidFill>
              <a:latin typeface="Segoe Pro"/>
            </a:endParaRPr>
          </a:p>
        </p:txBody>
      </p:sp>
      <p:sp>
        <p:nvSpPr>
          <p:cNvPr id="88" name="Freeform 12"/>
          <p:cNvSpPr>
            <a:spLocks noEditPoints="1"/>
          </p:cNvSpPr>
          <p:nvPr/>
        </p:nvSpPr>
        <p:spPr bwMode="auto">
          <a:xfrm>
            <a:off x="9659183" y="5829551"/>
            <a:ext cx="199330" cy="170642"/>
          </a:xfrm>
          <a:custGeom>
            <a:avLst/>
            <a:gdLst>
              <a:gd name="T0" fmla="*/ 22 w 87"/>
              <a:gd name="T1" fmla="*/ 47 h 72"/>
              <a:gd name="T2" fmla="*/ 65 w 87"/>
              <a:gd name="T3" fmla="*/ 47 h 72"/>
              <a:gd name="T4" fmla="*/ 74 w 87"/>
              <a:gd name="T5" fmla="*/ 38 h 72"/>
              <a:gd name="T6" fmla="*/ 74 w 87"/>
              <a:gd name="T7" fmla="*/ 9 h 72"/>
              <a:gd name="T8" fmla="*/ 65 w 87"/>
              <a:gd name="T9" fmla="*/ 0 h 72"/>
              <a:gd name="T10" fmla="*/ 22 w 87"/>
              <a:gd name="T11" fmla="*/ 0 h 72"/>
              <a:gd name="T12" fmla="*/ 13 w 87"/>
              <a:gd name="T13" fmla="*/ 9 h 72"/>
              <a:gd name="T14" fmla="*/ 13 w 87"/>
              <a:gd name="T15" fmla="*/ 38 h 72"/>
              <a:gd name="T16" fmla="*/ 22 w 87"/>
              <a:gd name="T17" fmla="*/ 47 h 72"/>
              <a:gd name="T18" fmla="*/ 19 w 87"/>
              <a:gd name="T19" fmla="*/ 9 h 72"/>
              <a:gd name="T20" fmla="*/ 22 w 87"/>
              <a:gd name="T21" fmla="*/ 5 h 72"/>
              <a:gd name="T22" fmla="*/ 65 w 87"/>
              <a:gd name="T23" fmla="*/ 5 h 72"/>
              <a:gd name="T24" fmla="*/ 69 w 87"/>
              <a:gd name="T25" fmla="*/ 9 h 72"/>
              <a:gd name="T26" fmla="*/ 69 w 87"/>
              <a:gd name="T27" fmla="*/ 38 h 72"/>
              <a:gd name="T28" fmla="*/ 65 w 87"/>
              <a:gd name="T29" fmla="*/ 42 h 72"/>
              <a:gd name="T30" fmla="*/ 22 w 87"/>
              <a:gd name="T31" fmla="*/ 42 h 72"/>
              <a:gd name="T32" fmla="*/ 19 w 87"/>
              <a:gd name="T33" fmla="*/ 38 h 72"/>
              <a:gd name="T34" fmla="*/ 19 w 87"/>
              <a:gd name="T35" fmla="*/ 9 h 72"/>
              <a:gd name="T36" fmla="*/ 19 w 87"/>
              <a:gd name="T37" fmla="*/ 9 h 72"/>
              <a:gd name="T38" fmla="*/ 3 w 87"/>
              <a:gd name="T39" fmla="*/ 72 h 72"/>
              <a:gd name="T40" fmla="*/ 85 w 87"/>
              <a:gd name="T41" fmla="*/ 72 h 72"/>
              <a:gd name="T42" fmla="*/ 87 w 87"/>
              <a:gd name="T43" fmla="*/ 70 h 72"/>
              <a:gd name="T44" fmla="*/ 87 w 87"/>
              <a:gd name="T45" fmla="*/ 69 h 72"/>
              <a:gd name="T46" fmla="*/ 86 w 87"/>
              <a:gd name="T47" fmla="*/ 65 h 72"/>
              <a:gd name="T48" fmla="*/ 75 w 87"/>
              <a:gd name="T49" fmla="*/ 52 h 72"/>
              <a:gd name="T50" fmla="*/ 71 w 87"/>
              <a:gd name="T51" fmla="*/ 50 h 72"/>
              <a:gd name="T52" fmla="*/ 17 w 87"/>
              <a:gd name="T53" fmla="*/ 50 h 72"/>
              <a:gd name="T54" fmla="*/ 13 w 87"/>
              <a:gd name="T55" fmla="*/ 52 h 72"/>
              <a:gd name="T56" fmla="*/ 2 w 87"/>
              <a:gd name="T57" fmla="*/ 65 h 72"/>
              <a:gd name="T58" fmla="*/ 0 w 87"/>
              <a:gd name="T59" fmla="*/ 69 h 72"/>
              <a:gd name="T60" fmla="*/ 0 w 87"/>
              <a:gd name="T61" fmla="*/ 70 h 72"/>
              <a:gd name="T62" fmla="*/ 3 w 87"/>
              <a:gd name="T6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72">
                <a:moveTo>
                  <a:pt x="22" y="47"/>
                </a:moveTo>
                <a:cubicBezTo>
                  <a:pt x="65" y="47"/>
                  <a:pt x="65" y="47"/>
                  <a:pt x="65" y="47"/>
                </a:cubicBezTo>
                <a:cubicBezTo>
                  <a:pt x="70" y="47"/>
                  <a:pt x="74" y="43"/>
                  <a:pt x="74" y="38"/>
                </a:cubicBezTo>
                <a:cubicBezTo>
                  <a:pt x="74" y="9"/>
                  <a:pt x="74" y="9"/>
                  <a:pt x="74" y="9"/>
                </a:cubicBezTo>
                <a:cubicBezTo>
                  <a:pt x="74" y="4"/>
                  <a:pt x="70" y="0"/>
                  <a:pt x="65" y="0"/>
                </a:cubicBezTo>
                <a:cubicBezTo>
                  <a:pt x="22" y="0"/>
                  <a:pt x="22" y="0"/>
                  <a:pt x="22" y="0"/>
                </a:cubicBezTo>
                <a:cubicBezTo>
                  <a:pt x="17" y="0"/>
                  <a:pt x="13" y="4"/>
                  <a:pt x="13" y="9"/>
                </a:cubicBezTo>
                <a:cubicBezTo>
                  <a:pt x="13" y="38"/>
                  <a:pt x="13" y="38"/>
                  <a:pt x="13" y="38"/>
                </a:cubicBezTo>
                <a:cubicBezTo>
                  <a:pt x="13" y="43"/>
                  <a:pt x="17" y="47"/>
                  <a:pt x="22" y="47"/>
                </a:cubicBezTo>
                <a:close/>
                <a:moveTo>
                  <a:pt x="19" y="9"/>
                </a:moveTo>
                <a:cubicBezTo>
                  <a:pt x="19" y="6"/>
                  <a:pt x="20" y="5"/>
                  <a:pt x="22" y="5"/>
                </a:cubicBezTo>
                <a:cubicBezTo>
                  <a:pt x="65" y="5"/>
                  <a:pt x="65" y="5"/>
                  <a:pt x="65" y="5"/>
                </a:cubicBezTo>
                <a:cubicBezTo>
                  <a:pt x="67" y="5"/>
                  <a:pt x="69" y="6"/>
                  <a:pt x="69" y="9"/>
                </a:cubicBezTo>
                <a:cubicBezTo>
                  <a:pt x="69" y="38"/>
                  <a:pt x="69" y="38"/>
                  <a:pt x="69" y="38"/>
                </a:cubicBezTo>
                <a:cubicBezTo>
                  <a:pt x="69" y="40"/>
                  <a:pt x="67" y="42"/>
                  <a:pt x="65" y="42"/>
                </a:cubicBezTo>
                <a:cubicBezTo>
                  <a:pt x="22" y="42"/>
                  <a:pt x="22" y="42"/>
                  <a:pt x="22" y="42"/>
                </a:cubicBezTo>
                <a:cubicBezTo>
                  <a:pt x="20" y="42"/>
                  <a:pt x="19" y="40"/>
                  <a:pt x="19" y="38"/>
                </a:cubicBezTo>
                <a:cubicBezTo>
                  <a:pt x="19" y="9"/>
                  <a:pt x="19" y="9"/>
                  <a:pt x="19" y="9"/>
                </a:cubicBezTo>
                <a:cubicBezTo>
                  <a:pt x="19" y="9"/>
                  <a:pt x="19" y="9"/>
                  <a:pt x="19" y="9"/>
                </a:cubicBezTo>
                <a:close/>
                <a:moveTo>
                  <a:pt x="3" y="72"/>
                </a:moveTo>
                <a:cubicBezTo>
                  <a:pt x="85" y="72"/>
                  <a:pt x="85" y="72"/>
                  <a:pt x="85" y="72"/>
                </a:cubicBezTo>
                <a:cubicBezTo>
                  <a:pt x="86" y="72"/>
                  <a:pt x="87" y="71"/>
                  <a:pt x="87" y="70"/>
                </a:cubicBezTo>
                <a:cubicBezTo>
                  <a:pt x="87" y="69"/>
                  <a:pt x="87" y="69"/>
                  <a:pt x="87" y="69"/>
                </a:cubicBezTo>
                <a:cubicBezTo>
                  <a:pt x="87" y="67"/>
                  <a:pt x="87" y="66"/>
                  <a:pt x="86" y="65"/>
                </a:cubicBezTo>
                <a:cubicBezTo>
                  <a:pt x="75" y="52"/>
                  <a:pt x="75" y="52"/>
                  <a:pt x="75" y="52"/>
                </a:cubicBezTo>
                <a:cubicBezTo>
                  <a:pt x="74" y="51"/>
                  <a:pt x="73" y="50"/>
                  <a:pt x="71" y="50"/>
                </a:cubicBezTo>
                <a:cubicBezTo>
                  <a:pt x="17" y="50"/>
                  <a:pt x="17" y="50"/>
                  <a:pt x="17" y="50"/>
                </a:cubicBezTo>
                <a:cubicBezTo>
                  <a:pt x="15" y="50"/>
                  <a:pt x="14" y="51"/>
                  <a:pt x="13" y="52"/>
                </a:cubicBezTo>
                <a:cubicBezTo>
                  <a:pt x="2" y="65"/>
                  <a:pt x="2" y="65"/>
                  <a:pt x="2" y="65"/>
                </a:cubicBezTo>
                <a:cubicBezTo>
                  <a:pt x="1" y="66"/>
                  <a:pt x="0" y="67"/>
                  <a:pt x="0" y="69"/>
                </a:cubicBezTo>
                <a:cubicBezTo>
                  <a:pt x="0" y="70"/>
                  <a:pt x="0" y="70"/>
                  <a:pt x="0" y="70"/>
                </a:cubicBezTo>
                <a:cubicBezTo>
                  <a:pt x="0" y="71"/>
                  <a:pt x="2" y="72"/>
                  <a:pt x="3" y="72"/>
                </a:cubicBezTo>
                <a:close/>
              </a:path>
            </a:pathLst>
          </a:custGeom>
          <a:solidFill>
            <a:srgbClr val="1EBBEE"/>
          </a:solidFill>
          <a:ln>
            <a:noFill/>
          </a:ln>
        </p:spPr>
        <p:txBody>
          <a:bodyPr vert="horz" wrap="square" lIns="93247" tIns="46623" rIns="93247" bIns="46623" numCol="1" anchor="t" anchorCtr="0" compatLnSpc="1">
            <a:prstTxWarp prst="textNoShape">
              <a:avLst/>
            </a:prstTxWarp>
          </a:bodyPr>
          <a:lstStyle/>
          <a:p>
            <a:pPr defTabSz="519436">
              <a:defRPr/>
            </a:pPr>
            <a:endParaRPr lang="en-US" sz="3672" kern="0" dirty="0">
              <a:solidFill>
                <a:prstClr val="black"/>
              </a:solidFill>
              <a:latin typeface="Segoe Pro"/>
            </a:endParaRPr>
          </a:p>
        </p:txBody>
      </p:sp>
      <p:sp>
        <p:nvSpPr>
          <p:cNvPr id="89" name="TextBox 88"/>
          <p:cNvSpPr txBox="1"/>
          <p:nvPr/>
        </p:nvSpPr>
        <p:spPr>
          <a:xfrm>
            <a:off x="9613115" y="6224213"/>
            <a:ext cx="1122966" cy="286266"/>
          </a:xfrm>
          <a:prstGeom prst="rect">
            <a:avLst/>
          </a:prstGeom>
          <a:noFill/>
        </p:spPr>
        <p:txBody>
          <a:bodyPr wrap="square" rtlCol="0">
            <a:spAutoFit/>
          </a:bodyPr>
          <a:lstStyle/>
          <a:p>
            <a:pPr algn="ctr" defTabSz="932418">
              <a:defRPr/>
            </a:pPr>
            <a:r>
              <a:rPr lang="en-US" sz="1224" kern="0" dirty="0">
                <a:solidFill>
                  <a:prstClr val="black"/>
                </a:solidFill>
                <a:latin typeface="Calibri" panose="020F0502020204030204"/>
              </a:rPr>
              <a:t>Customer C</a:t>
            </a:r>
          </a:p>
        </p:txBody>
      </p:sp>
      <p:cxnSp>
        <p:nvCxnSpPr>
          <p:cNvPr id="92" name="Curved Connector 91"/>
          <p:cNvCxnSpPr/>
          <p:nvPr/>
        </p:nvCxnSpPr>
        <p:spPr>
          <a:xfrm flipV="1">
            <a:off x="7269170" y="3809546"/>
            <a:ext cx="2481318" cy="1759210"/>
          </a:xfrm>
          <a:prstGeom prst="curved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3" name="Curved Connector 92"/>
          <p:cNvCxnSpPr>
            <a:stCxn id="77" idx="3"/>
            <a:endCxn id="59" idx="1"/>
          </p:cNvCxnSpPr>
          <p:nvPr/>
        </p:nvCxnSpPr>
        <p:spPr>
          <a:xfrm rot="5400000" flipH="1" flipV="1">
            <a:off x="8962018" y="3625650"/>
            <a:ext cx="1362801" cy="2386991"/>
          </a:xfrm>
          <a:prstGeom prst="curved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4" name="Curved Connector 93"/>
          <p:cNvCxnSpPr>
            <a:stCxn id="84" idx="3"/>
          </p:cNvCxnSpPr>
          <p:nvPr/>
        </p:nvCxnSpPr>
        <p:spPr>
          <a:xfrm rot="5400000" flipH="1" flipV="1">
            <a:off x="10150887" y="3638585"/>
            <a:ext cx="1961451" cy="1751370"/>
          </a:xfrm>
          <a:prstGeom prst="curvedConnector3">
            <a:avLst>
              <a:gd name="adj1" fmla="val 281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01" name="TextBox 100"/>
          <p:cNvSpPr txBox="1"/>
          <p:nvPr/>
        </p:nvSpPr>
        <p:spPr>
          <a:xfrm>
            <a:off x="6155983" y="2693103"/>
            <a:ext cx="685294" cy="343427"/>
          </a:xfrm>
          <a:prstGeom prst="rect">
            <a:avLst/>
          </a:prstGeom>
          <a:noFill/>
        </p:spPr>
        <p:txBody>
          <a:bodyPr wrap="square" rtlCol="0">
            <a:spAutoFit/>
          </a:bodyPr>
          <a:lstStyle/>
          <a:p>
            <a:pPr algn="ctr" defTabSz="932418">
              <a:defRPr/>
            </a:pPr>
            <a:r>
              <a:rPr lang="en-US" sz="816" kern="0" dirty="0">
                <a:solidFill>
                  <a:prstClr val="black"/>
                </a:solidFill>
                <a:latin typeface="Calibri" panose="020F0502020204030204"/>
              </a:rPr>
              <a:t>Customer A</a:t>
            </a:r>
          </a:p>
          <a:p>
            <a:pPr algn="ctr" defTabSz="932418">
              <a:defRPr/>
            </a:pPr>
            <a:r>
              <a:rPr lang="en-US" sz="816" kern="0" dirty="0">
                <a:solidFill>
                  <a:prstClr val="black"/>
                </a:solidFill>
                <a:latin typeface="Calibri" panose="020F0502020204030204"/>
              </a:rPr>
              <a:t>Database</a:t>
            </a:r>
          </a:p>
        </p:txBody>
      </p:sp>
      <p:sp>
        <p:nvSpPr>
          <p:cNvPr id="108" name="TextBox 107"/>
          <p:cNvSpPr txBox="1"/>
          <p:nvPr/>
        </p:nvSpPr>
        <p:spPr>
          <a:xfrm>
            <a:off x="6928866" y="2692848"/>
            <a:ext cx="685294" cy="343427"/>
          </a:xfrm>
          <a:prstGeom prst="rect">
            <a:avLst/>
          </a:prstGeom>
          <a:noFill/>
        </p:spPr>
        <p:txBody>
          <a:bodyPr wrap="square" rtlCol="0">
            <a:spAutoFit/>
          </a:bodyPr>
          <a:lstStyle/>
          <a:p>
            <a:pPr algn="ctr" defTabSz="932418">
              <a:defRPr/>
            </a:pPr>
            <a:r>
              <a:rPr lang="en-US" sz="816" kern="0" dirty="0">
                <a:solidFill>
                  <a:prstClr val="black"/>
                </a:solidFill>
                <a:latin typeface="Calibri" panose="020F0502020204030204"/>
              </a:rPr>
              <a:t>Customer B</a:t>
            </a:r>
          </a:p>
          <a:p>
            <a:pPr algn="ctr" defTabSz="932418">
              <a:defRPr/>
            </a:pPr>
            <a:r>
              <a:rPr lang="en-US" sz="816" kern="0" dirty="0">
                <a:solidFill>
                  <a:prstClr val="black"/>
                </a:solidFill>
                <a:latin typeface="Calibri" panose="020F0502020204030204"/>
              </a:rPr>
              <a:t>Database</a:t>
            </a:r>
          </a:p>
        </p:txBody>
      </p:sp>
      <p:sp>
        <p:nvSpPr>
          <p:cNvPr id="109" name="TextBox 108"/>
          <p:cNvSpPr txBox="1"/>
          <p:nvPr/>
        </p:nvSpPr>
        <p:spPr>
          <a:xfrm>
            <a:off x="7614160" y="2689263"/>
            <a:ext cx="685294" cy="350215"/>
          </a:xfrm>
          <a:prstGeom prst="rect">
            <a:avLst/>
          </a:prstGeom>
          <a:noFill/>
        </p:spPr>
        <p:txBody>
          <a:bodyPr wrap="square" rtlCol="0">
            <a:spAutoFit/>
          </a:bodyPr>
          <a:lstStyle/>
          <a:p>
            <a:pPr algn="ctr" defTabSz="932418">
              <a:defRPr/>
            </a:pPr>
            <a:r>
              <a:rPr lang="en-US" sz="816" kern="0" dirty="0">
                <a:solidFill>
                  <a:prstClr val="black"/>
                </a:solidFill>
                <a:latin typeface="Calibri" panose="020F0502020204030204"/>
              </a:rPr>
              <a:t>Customer C</a:t>
            </a:r>
          </a:p>
          <a:p>
            <a:pPr algn="ctr" defTabSz="932418">
              <a:defRPr/>
            </a:pPr>
            <a:r>
              <a:rPr lang="en-US" sz="816" kern="0" dirty="0">
                <a:solidFill>
                  <a:prstClr val="black"/>
                </a:solidFill>
                <a:latin typeface="Calibri" panose="020F0502020204030204"/>
              </a:rPr>
              <a:t>Database</a:t>
            </a:r>
          </a:p>
        </p:txBody>
      </p:sp>
      <p:sp>
        <p:nvSpPr>
          <p:cNvPr id="110" name="TextBox 109"/>
          <p:cNvSpPr txBox="1"/>
          <p:nvPr/>
        </p:nvSpPr>
        <p:spPr>
          <a:xfrm>
            <a:off x="9759582" y="2730426"/>
            <a:ext cx="544633" cy="115229"/>
          </a:xfrm>
          <a:prstGeom prst="rect">
            <a:avLst/>
          </a:prstGeom>
          <a:solidFill>
            <a:schemeClr val="tx1">
              <a:lumMod val="95000"/>
              <a:lumOff val="5000"/>
            </a:schemeClr>
          </a:solidFill>
        </p:spPr>
        <p:txBody>
          <a:bodyPr wrap="square" lIns="0" tIns="0" rIns="0" bIns="0" rtlCol="0">
            <a:spAutoFit/>
          </a:bodyPr>
          <a:lstStyle/>
          <a:p>
            <a:pPr defTabSz="932418">
              <a:lnSpc>
                <a:spcPct val="90000"/>
              </a:lnSpc>
              <a:defRPr/>
            </a:pPr>
            <a:r>
              <a:rPr lang="en-US" sz="816" kern="0" dirty="0">
                <a:ln>
                  <a:solidFill>
                    <a:prstClr val="white">
                      <a:alpha val="0"/>
                    </a:prstClr>
                  </a:solidFill>
                </a:ln>
                <a:gradFill>
                  <a:gsLst>
                    <a:gs pos="0">
                      <a:prstClr val="white"/>
                    </a:gs>
                    <a:gs pos="100000">
                      <a:prstClr val="white"/>
                    </a:gs>
                  </a:gsLst>
                  <a:lin ang="5400000" scaled="1"/>
                </a:gradFill>
                <a:latin typeface="Calibri" panose="020F0502020204030204"/>
              </a:rPr>
              <a:t>Dashboards</a:t>
            </a:r>
          </a:p>
        </p:txBody>
      </p:sp>
      <p:sp>
        <p:nvSpPr>
          <p:cNvPr id="111" name="TextBox 110"/>
          <p:cNvSpPr txBox="1"/>
          <p:nvPr/>
        </p:nvSpPr>
        <p:spPr>
          <a:xfrm>
            <a:off x="11364003" y="2662576"/>
            <a:ext cx="565324" cy="152093"/>
          </a:xfrm>
          <a:prstGeom prst="rect">
            <a:avLst/>
          </a:prstGeom>
          <a:solidFill>
            <a:schemeClr val="tx1">
              <a:lumMod val="95000"/>
              <a:lumOff val="5000"/>
            </a:schemeClr>
          </a:solidFill>
        </p:spPr>
        <p:txBody>
          <a:bodyPr wrap="square" lIns="0" tIns="0" rIns="0" bIns="0" rtlCol="0">
            <a:spAutoFit/>
          </a:bodyPr>
          <a:lstStyle>
            <a:defPPr>
              <a:defRPr lang="en-US"/>
            </a:defPPr>
            <a:lvl1pPr>
              <a:lnSpc>
                <a:spcPct val="90000"/>
              </a:lnSpc>
              <a:defRPr sz="1200">
                <a:ln>
                  <a:solidFill>
                    <a:schemeClr val="bg1">
                      <a:alpha val="0"/>
                    </a:schemeClr>
                  </a:solidFill>
                </a:ln>
                <a:gradFill>
                  <a:gsLst>
                    <a:gs pos="0">
                      <a:schemeClr val="bg1"/>
                    </a:gs>
                    <a:gs pos="100000">
                      <a:schemeClr val="bg1"/>
                    </a:gs>
                  </a:gsLst>
                  <a:lin ang="5400000" scaled="1"/>
                </a:gradFill>
              </a:defRPr>
            </a:lvl1pPr>
          </a:lstStyle>
          <a:p>
            <a:pPr defTabSz="932418">
              <a:defRPr/>
            </a:pPr>
            <a:r>
              <a:rPr lang="en-US" sz="1098" kern="0" dirty="0">
                <a:ln>
                  <a:solidFill>
                    <a:prstClr val="white">
                      <a:alpha val="0"/>
                    </a:prstClr>
                  </a:solidFill>
                </a:ln>
                <a:gradFill>
                  <a:gsLst>
                    <a:gs pos="0">
                      <a:prstClr val="white"/>
                    </a:gs>
                    <a:gs pos="100000">
                      <a:prstClr val="white"/>
                    </a:gs>
                  </a:gsLst>
                  <a:lin ang="5400000" scaled="1"/>
                </a:gradFill>
                <a:latin typeface="Calibri" panose="020F0502020204030204"/>
              </a:rPr>
              <a:t>Reporting</a:t>
            </a:r>
          </a:p>
        </p:txBody>
      </p:sp>
      <p:sp>
        <p:nvSpPr>
          <p:cNvPr id="112" name="Freeform 111"/>
          <p:cNvSpPr>
            <a:spLocks noChangeAspect="1"/>
          </p:cNvSpPr>
          <p:nvPr/>
        </p:nvSpPr>
        <p:spPr bwMode="auto">
          <a:xfrm>
            <a:off x="9877935" y="2394527"/>
            <a:ext cx="375111" cy="256681"/>
          </a:xfrm>
          <a:custGeom>
            <a:avLst/>
            <a:gdLst>
              <a:gd name="connsiteX0" fmla="*/ 1329613 w 6424245"/>
              <a:gd name="connsiteY0" fmla="*/ 2742987 h 4395983"/>
              <a:gd name="connsiteX1" fmla="*/ 978237 w 6424245"/>
              <a:gd name="connsiteY1" fmla="*/ 2929812 h 4395983"/>
              <a:gd name="connsiteX2" fmla="*/ 968047 w 6424245"/>
              <a:gd name="connsiteY2" fmla="*/ 2948585 h 4395983"/>
              <a:gd name="connsiteX3" fmla="*/ 1339725 w 6424245"/>
              <a:gd name="connsiteY3" fmla="*/ 3156740 h 4395983"/>
              <a:gd name="connsiteX4" fmla="*/ 959729 w 6424245"/>
              <a:gd name="connsiteY4" fmla="*/ 3369555 h 4395983"/>
              <a:gd name="connsiteX5" fmla="*/ 978237 w 6424245"/>
              <a:gd name="connsiteY5" fmla="*/ 3403654 h 4395983"/>
              <a:gd name="connsiteX6" fmla="*/ 1329613 w 6424245"/>
              <a:gd name="connsiteY6" fmla="*/ 3590479 h 4395983"/>
              <a:gd name="connsiteX7" fmla="*/ 1753361 w 6424245"/>
              <a:gd name="connsiteY7" fmla="*/ 3166733 h 4395983"/>
              <a:gd name="connsiteX8" fmla="*/ 1329613 w 6424245"/>
              <a:gd name="connsiteY8" fmla="*/ 2742987 h 4395983"/>
              <a:gd name="connsiteX9" fmla="*/ 1329613 w 6424245"/>
              <a:gd name="connsiteY9" fmla="*/ 2630820 h 4395983"/>
              <a:gd name="connsiteX10" fmla="*/ 1865527 w 6424245"/>
              <a:gd name="connsiteY10" fmla="*/ 3166733 h 4395983"/>
              <a:gd name="connsiteX11" fmla="*/ 1329613 w 6424245"/>
              <a:gd name="connsiteY11" fmla="*/ 3702646 h 4395983"/>
              <a:gd name="connsiteX12" fmla="*/ 793701 w 6424245"/>
              <a:gd name="connsiteY12" fmla="*/ 3166733 h 4395983"/>
              <a:gd name="connsiteX13" fmla="*/ 1329613 w 6424245"/>
              <a:gd name="connsiteY13" fmla="*/ 2630820 h 4395983"/>
              <a:gd name="connsiteX14" fmla="*/ 967611 w 6424245"/>
              <a:gd name="connsiteY14" fmla="*/ 2032726 h 4395983"/>
              <a:gd name="connsiteX15" fmla="*/ 2865681 w 6424245"/>
              <a:gd name="connsiteY15" fmla="*/ 2032726 h 4395983"/>
              <a:gd name="connsiteX16" fmla="*/ 2961235 w 6424245"/>
              <a:gd name="connsiteY16" fmla="*/ 2105638 h 4395983"/>
              <a:gd name="connsiteX17" fmla="*/ 2961235 w 6424245"/>
              <a:gd name="connsiteY17" fmla="*/ 2125081 h 4395983"/>
              <a:gd name="connsiteX18" fmla="*/ 2865681 w 6424245"/>
              <a:gd name="connsiteY18" fmla="*/ 2197992 h 4395983"/>
              <a:gd name="connsiteX19" fmla="*/ 967611 w 6424245"/>
              <a:gd name="connsiteY19" fmla="*/ 2197992 h 4395983"/>
              <a:gd name="connsiteX20" fmla="*/ 876399 w 6424245"/>
              <a:gd name="connsiteY20" fmla="*/ 2125081 h 4395983"/>
              <a:gd name="connsiteX21" fmla="*/ 876399 w 6424245"/>
              <a:gd name="connsiteY21" fmla="*/ 2105638 h 4395983"/>
              <a:gd name="connsiteX22" fmla="*/ 967611 w 6424245"/>
              <a:gd name="connsiteY22" fmla="*/ 2032726 h 4395983"/>
              <a:gd name="connsiteX23" fmla="*/ 640908 w 6424245"/>
              <a:gd name="connsiteY23" fmla="*/ 2032726 h 4395983"/>
              <a:gd name="connsiteX24" fmla="*/ 726109 w 6424245"/>
              <a:gd name="connsiteY24" fmla="*/ 2115359 h 4395983"/>
              <a:gd name="connsiteX25" fmla="*/ 640908 w 6424245"/>
              <a:gd name="connsiteY25" fmla="*/ 2197992 h 4395983"/>
              <a:gd name="connsiteX26" fmla="*/ 555708 w 6424245"/>
              <a:gd name="connsiteY26" fmla="*/ 2115359 h 4395983"/>
              <a:gd name="connsiteX27" fmla="*/ 640908 w 6424245"/>
              <a:gd name="connsiteY27" fmla="*/ 2032726 h 4395983"/>
              <a:gd name="connsiteX28" fmla="*/ 640908 w 6424245"/>
              <a:gd name="connsiteY28" fmla="*/ 1703220 h 4395983"/>
              <a:gd name="connsiteX29" fmla="*/ 726109 w 6424245"/>
              <a:gd name="connsiteY29" fmla="*/ 1785340 h 4395983"/>
              <a:gd name="connsiteX30" fmla="*/ 640908 w 6424245"/>
              <a:gd name="connsiteY30" fmla="*/ 1867460 h 4395983"/>
              <a:gd name="connsiteX31" fmla="*/ 555708 w 6424245"/>
              <a:gd name="connsiteY31" fmla="*/ 1785340 h 4395983"/>
              <a:gd name="connsiteX32" fmla="*/ 640908 w 6424245"/>
              <a:gd name="connsiteY32" fmla="*/ 1703220 h 4395983"/>
              <a:gd name="connsiteX33" fmla="*/ 967597 w 6424245"/>
              <a:gd name="connsiteY33" fmla="*/ 1703220 h 4395983"/>
              <a:gd name="connsiteX34" fmla="*/ 2639561 w 6424245"/>
              <a:gd name="connsiteY34" fmla="*/ 1703220 h 4395983"/>
              <a:gd name="connsiteX35" fmla="*/ 2735101 w 6424245"/>
              <a:gd name="connsiteY35" fmla="*/ 1775679 h 4395983"/>
              <a:gd name="connsiteX36" fmla="*/ 2735101 w 6424245"/>
              <a:gd name="connsiteY36" fmla="*/ 1795001 h 4395983"/>
              <a:gd name="connsiteX37" fmla="*/ 2639561 w 6424245"/>
              <a:gd name="connsiteY37" fmla="*/ 1867460 h 4395983"/>
              <a:gd name="connsiteX38" fmla="*/ 967597 w 6424245"/>
              <a:gd name="connsiteY38" fmla="*/ 1867460 h 4395983"/>
              <a:gd name="connsiteX39" fmla="*/ 876399 w 6424245"/>
              <a:gd name="connsiteY39" fmla="*/ 1795001 h 4395983"/>
              <a:gd name="connsiteX40" fmla="*/ 876399 w 6424245"/>
              <a:gd name="connsiteY40" fmla="*/ 1775679 h 4395983"/>
              <a:gd name="connsiteX41" fmla="*/ 967597 w 6424245"/>
              <a:gd name="connsiteY41" fmla="*/ 1703220 h 4395983"/>
              <a:gd name="connsiteX42" fmla="*/ 4146801 w 6424245"/>
              <a:gd name="connsiteY42" fmla="*/ 1627224 h 4395983"/>
              <a:gd name="connsiteX43" fmla="*/ 4184153 w 6424245"/>
              <a:gd name="connsiteY43" fmla="*/ 1627224 h 4395983"/>
              <a:gd name="connsiteX44" fmla="*/ 4338895 w 6424245"/>
              <a:gd name="connsiteY44" fmla="*/ 1720478 h 4395983"/>
              <a:gd name="connsiteX45" fmla="*/ 4338895 w 6424245"/>
              <a:gd name="connsiteY45" fmla="*/ 3510076 h 4395983"/>
              <a:gd name="connsiteX46" fmla="*/ 4659051 w 6424245"/>
              <a:gd name="connsiteY46" fmla="*/ 3510076 h 4395983"/>
              <a:gd name="connsiteX47" fmla="*/ 4659051 w 6424245"/>
              <a:gd name="connsiteY47" fmla="*/ 2568650 h 4395983"/>
              <a:gd name="connsiteX48" fmla="*/ 4829801 w 6424245"/>
              <a:gd name="connsiteY48" fmla="*/ 2497599 h 4395983"/>
              <a:gd name="connsiteX49" fmla="*/ 4867153 w 6424245"/>
              <a:gd name="connsiteY49" fmla="*/ 2497599 h 4395983"/>
              <a:gd name="connsiteX50" fmla="*/ 5043239 w 6424245"/>
              <a:gd name="connsiteY50" fmla="*/ 2568650 h 4395983"/>
              <a:gd name="connsiteX51" fmla="*/ 5043239 w 6424245"/>
              <a:gd name="connsiteY51" fmla="*/ 3510076 h 4395983"/>
              <a:gd name="connsiteX52" fmla="*/ 5363395 w 6424245"/>
              <a:gd name="connsiteY52" fmla="*/ 3510076 h 4395983"/>
              <a:gd name="connsiteX53" fmla="*/ 5363395 w 6424245"/>
              <a:gd name="connsiteY53" fmla="*/ 2151225 h 4395983"/>
              <a:gd name="connsiteX54" fmla="*/ 5507465 w 6424245"/>
              <a:gd name="connsiteY54" fmla="*/ 2053530 h 4395983"/>
              <a:gd name="connsiteX55" fmla="*/ 5544817 w 6424245"/>
              <a:gd name="connsiteY55" fmla="*/ 2053530 h 4395983"/>
              <a:gd name="connsiteX56" fmla="*/ 5704895 w 6424245"/>
              <a:gd name="connsiteY56" fmla="*/ 2151225 h 4395983"/>
              <a:gd name="connsiteX57" fmla="*/ 5704895 w 6424245"/>
              <a:gd name="connsiteY57" fmla="*/ 3510076 h 4395983"/>
              <a:gd name="connsiteX58" fmla="*/ 5843629 w 6424245"/>
              <a:gd name="connsiteY58" fmla="*/ 3510076 h 4395983"/>
              <a:gd name="connsiteX59" fmla="*/ 5902325 w 6424245"/>
              <a:gd name="connsiteY59" fmla="*/ 3572245 h 4395983"/>
              <a:gd name="connsiteX60" fmla="*/ 5843629 w 6424245"/>
              <a:gd name="connsiteY60" fmla="*/ 3634415 h 4395983"/>
              <a:gd name="connsiteX61" fmla="*/ 3159655 w 6424245"/>
              <a:gd name="connsiteY61" fmla="*/ 3634415 h 4395983"/>
              <a:gd name="connsiteX62" fmla="*/ 3100959 w 6424245"/>
              <a:gd name="connsiteY62" fmla="*/ 3572245 h 4395983"/>
              <a:gd name="connsiteX63" fmla="*/ 3159655 w 6424245"/>
              <a:gd name="connsiteY63" fmla="*/ 3510076 h 4395983"/>
              <a:gd name="connsiteX64" fmla="*/ 3335741 w 6424245"/>
              <a:gd name="connsiteY64" fmla="*/ 3510076 h 4395983"/>
              <a:gd name="connsiteX65" fmla="*/ 3335741 w 6424245"/>
              <a:gd name="connsiteY65" fmla="*/ 2883939 h 4395983"/>
              <a:gd name="connsiteX66" fmla="*/ 3469139 w 6424245"/>
              <a:gd name="connsiteY66" fmla="*/ 2799566 h 4395983"/>
              <a:gd name="connsiteX67" fmla="*/ 3506489 w 6424245"/>
              <a:gd name="connsiteY67" fmla="*/ 2799566 h 4395983"/>
              <a:gd name="connsiteX68" fmla="*/ 3655897 w 6424245"/>
              <a:gd name="connsiteY68" fmla="*/ 2883939 h 4395983"/>
              <a:gd name="connsiteX69" fmla="*/ 3655897 w 6424245"/>
              <a:gd name="connsiteY69" fmla="*/ 3510076 h 4395983"/>
              <a:gd name="connsiteX70" fmla="*/ 3997395 w 6424245"/>
              <a:gd name="connsiteY70" fmla="*/ 3510076 h 4395983"/>
              <a:gd name="connsiteX71" fmla="*/ 3997395 w 6424245"/>
              <a:gd name="connsiteY71" fmla="*/ 1720478 h 4395983"/>
              <a:gd name="connsiteX72" fmla="*/ 4146801 w 6424245"/>
              <a:gd name="connsiteY72" fmla="*/ 1627224 h 4395983"/>
              <a:gd name="connsiteX73" fmla="*/ 967641 w 6424245"/>
              <a:gd name="connsiteY73" fmla="*/ 1372687 h 4395983"/>
              <a:gd name="connsiteX74" fmla="*/ 3005373 w 6424245"/>
              <a:gd name="connsiteY74" fmla="*/ 1372687 h 4395983"/>
              <a:gd name="connsiteX75" fmla="*/ 3100959 w 6424245"/>
              <a:gd name="connsiteY75" fmla="*/ 1445598 h 4395983"/>
              <a:gd name="connsiteX76" fmla="*/ 3100959 w 6424245"/>
              <a:gd name="connsiteY76" fmla="*/ 1465041 h 4395983"/>
              <a:gd name="connsiteX77" fmla="*/ 3005373 w 6424245"/>
              <a:gd name="connsiteY77" fmla="*/ 1537953 h 4395983"/>
              <a:gd name="connsiteX78" fmla="*/ 967641 w 6424245"/>
              <a:gd name="connsiteY78" fmla="*/ 1537953 h 4395983"/>
              <a:gd name="connsiteX79" fmla="*/ 876399 w 6424245"/>
              <a:gd name="connsiteY79" fmla="*/ 1465041 h 4395983"/>
              <a:gd name="connsiteX80" fmla="*/ 876399 w 6424245"/>
              <a:gd name="connsiteY80" fmla="*/ 1445598 h 4395983"/>
              <a:gd name="connsiteX81" fmla="*/ 967641 w 6424245"/>
              <a:gd name="connsiteY81" fmla="*/ 1372687 h 4395983"/>
              <a:gd name="connsiteX82" fmla="*/ 640908 w 6424245"/>
              <a:gd name="connsiteY82" fmla="*/ 1372687 h 4395983"/>
              <a:gd name="connsiteX83" fmla="*/ 726109 w 6424245"/>
              <a:gd name="connsiteY83" fmla="*/ 1455320 h 4395983"/>
              <a:gd name="connsiteX84" fmla="*/ 640908 w 6424245"/>
              <a:gd name="connsiteY84" fmla="*/ 1537953 h 4395983"/>
              <a:gd name="connsiteX85" fmla="*/ 555708 w 6424245"/>
              <a:gd name="connsiteY85" fmla="*/ 1455320 h 4395983"/>
              <a:gd name="connsiteX86" fmla="*/ 640908 w 6424245"/>
              <a:gd name="connsiteY86" fmla="*/ 1372687 h 4395983"/>
              <a:gd name="connsiteX87" fmla="*/ 967591 w 6424245"/>
              <a:gd name="connsiteY87" fmla="*/ 1043181 h 4395983"/>
              <a:gd name="connsiteX88" fmla="*/ 2952109 w 6424245"/>
              <a:gd name="connsiteY88" fmla="*/ 1043181 h 4395983"/>
              <a:gd name="connsiteX89" fmla="*/ 3047643 w 6424245"/>
              <a:gd name="connsiteY89" fmla="*/ 1116092 h 4395983"/>
              <a:gd name="connsiteX90" fmla="*/ 3047643 w 6424245"/>
              <a:gd name="connsiteY90" fmla="*/ 1135535 h 4395983"/>
              <a:gd name="connsiteX91" fmla="*/ 2952109 w 6424245"/>
              <a:gd name="connsiteY91" fmla="*/ 1208447 h 4395983"/>
              <a:gd name="connsiteX92" fmla="*/ 967591 w 6424245"/>
              <a:gd name="connsiteY92" fmla="*/ 1208447 h 4395983"/>
              <a:gd name="connsiteX93" fmla="*/ 876399 w 6424245"/>
              <a:gd name="connsiteY93" fmla="*/ 1135535 h 4395983"/>
              <a:gd name="connsiteX94" fmla="*/ 876399 w 6424245"/>
              <a:gd name="connsiteY94" fmla="*/ 1116092 h 4395983"/>
              <a:gd name="connsiteX95" fmla="*/ 967591 w 6424245"/>
              <a:gd name="connsiteY95" fmla="*/ 1043181 h 4395983"/>
              <a:gd name="connsiteX96" fmla="*/ 640908 w 6424245"/>
              <a:gd name="connsiteY96" fmla="*/ 1043181 h 4395983"/>
              <a:gd name="connsiteX97" fmla="*/ 726109 w 6424245"/>
              <a:gd name="connsiteY97" fmla="*/ 1125814 h 4395983"/>
              <a:gd name="connsiteX98" fmla="*/ 640908 w 6424245"/>
              <a:gd name="connsiteY98" fmla="*/ 1208447 h 4395983"/>
              <a:gd name="connsiteX99" fmla="*/ 555708 w 6424245"/>
              <a:gd name="connsiteY99" fmla="*/ 1125814 h 4395983"/>
              <a:gd name="connsiteX100" fmla="*/ 640908 w 6424245"/>
              <a:gd name="connsiteY100" fmla="*/ 1043181 h 4395983"/>
              <a:gd name="connsiteX101" fmla="*/ 324140 w 6424245"/>
              <a:gd name="connsiteY101" fmla="*/ 703848 h 4395983"/>
              <a:gd name="connsiteX102" fmla="*/ 324140 w 6424245"/>
              <a:gd name="connsiteY102" fmla="*/ 4113425 h 4395983"/>
              <a:gd name="connsiteX103" fmla="*/ 6100105 w 6424245"/>
              <a:gd name="connsiteY103" fmla="*/ 4113425 h 4395983"/>
              <a:gd name="connsiteX104" fmla="*/ 6100105 w 6424245"/>
              <a:gd name="connsiteY104" fmla="*/ 703848 h 4395983"/>
              <a:gd name="connsiteX105" fmla="*/ 193423 w 6424245"/>
              <a:gd name="connsiteY105" fmla="*/ 0 h 4395983"/>
              <a:gd name="connsiteX106" fmla="*/ 6230823 w 6424245"/>
              <a:gd name="connsiteY106" fmla="*/ 0 h 4395983"/>
              <a:gd name="connsiteX107" fmla="*/ 6424245 w 6424245"/>
              <a:gd name="connsiteY107" fmla="*/ 193423 h 4395983"/>
              <a:gd name="connsiteX108" fmla="*/ 6424245 w 6424245"/>
              <a:gd name="connsiteY108" fmla="*/ 4202560 h 4395983"/>
              <a:gd name="connsiteX109" fmla="*/ 6230823 w 6424245"/>
              <a:gd name="connsiteY109" fmla="*/ 4395983 h 4395983"/>
              <a:gd name="connsiteX110" fmla="*/ 193423 w 6424245"/>
              <a:gd name="connsiteY110" fmla="*/ 4395983 h 4395983"/>
              <a:gd name="connsiteX111" fmla="*/ 0 w 6424245"/>
              <a:gd name="connsiteY111" fmla="*/ 4202560 h 4395983"/>
              <a:gd name="connsiteX112" fmla="*/ 0 w 6424245"/>
              <a:gd name="connsiteY112" fmla="*/ 193423 h 4395983"/>
              <a:gd name="connsiteX113" fmla="*/ 193423 w 6424245"/>
              <a:gd name="connsiteY113" fmla="*/ 0 h 4395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6424245" h="4395983">
                <a:moveTo>
                  <a:pt x="1329613" y="2742987"/>
                </a:moveTo>
                <a:cubicBezTo>
                  <a:pt x="1183347" y="2742987"/>
                  <a:pt x="1054387" y="2817095"/>
                  <a:pt x="978237" y="2929812"/>
                </a:cubicBezTo>
                <a:lnTo>
                  <a:pt x="968047" y="2948585"/>
                </a:lnTo>
                <a:lnTo>
                  <a:pt x="1339725" y="3156740"/>
                </a:lnTo>
                <a:lnTo>
                  <a:pt x="959729" y="3369555"/>
                </a:lnTo>
                <a:lnTo>
                  <a:pt x="978237" y="3403654"/>
                </a:lnTo>
                <a:cubicBezTo>
                  <a:pt x="1054387" y="3516371"/>
                  <a:pt x="1183347" y="3590479"/>
                  <a:pt x="1329613" y="3590479"/>
                </a:cubicBezTo>
                <a:cubicBezTo>
                  <a:pt x="1563643" y="3590479"/>
                  <a:pt x="1753361" y="3400762"/>
                  <a:pt x="1753361" y="3166733"/>
                </a:cubicBezTo>
                <a:cubicBezTo>
                  <a:pt x="1753361" y="2932704"/>
                  <a:pt x="1563643" y="2742987"/>
                  <a:pt x="1329613" y="2742987"/>
                </a:cubicBezTo>
                <a:close/>
                <a:moveTo>
                  <a:pt x="1329613" y="2630820"/>
                </a:moveTo>
                <a:cubicBezTo>
                  <a:pt x="1625591" y="2630820"/>
                  <a:pt x="1865527" y="2870756"/>
                  <a:pt x="1865527" y="3166733"/>
                </a:cubicBezTo>
                <a:cubicBezTo>
                  <a:pt x="1865527" y="3462710"/>
                  <a:pt x="1625591" y="3702646"/>
                  <a:pt x="1329613" y="3702646"/>
                </a:cubicBezTo>
                <a:cubicBezTo>
                  <a:pt x="1033637" y="3702646"/>
                  <a:pt x="793701" y="3462710"/>
                  <a:pt x="793701" y="3166733"/>
                </a:cubicBezTo>
                <a:cubicBezTo>
                  <a:pt x="793701" y="2870756"/>
                  <a:pt x="1033637" y="2630820"/>
                  <a:pt x="1329613" y="2630820"/>
                </a:cubicBezTo>
                <a:close/>
                <a:moveTo>
                  <a:pt x="967611" y="2032726"/>
                </a:moveTo>
                <a:cubicBezTo>
                  <a:pt x="967611" y="2032726"/>
                  <a:pt x="967611" y="2032726"/>
                  <a:pt x="2865681" y="2032726"/>
                </a:cubicBezTo>
                <a:cubicBezTo>
                  <a:pt x="2917801" y="2032726"/>
                  <a:pt x="2961235" y="2066751"/>
                  <a:pt x="2961235" y="2105638"/>
                </a:cubicBezTo>
                <a:cubicBezTo>
                  <a:pt x="2961235" y="2105638"/>
                  <a:pt x="2961235" y="2105638"/>
                  <a:pt x="2961235" y="2125081"/>
                </a:cubicBezTo>
                <a:cubicBezTo>
                  <a:pt x="2961235" y="2163967"/>
                  <a:pt x="2917801" y="2197992"/>
                  <a:pt x="2865681" y="2197992"/>
                </a:cubicBezTo>
                <a:cubicBezTo>
                  <a:pt x="2865681" y="2197992"/>
                  <a:pt x="2865681" y="2197992"/>
                  <a:pt x="967611" y="2197992"/>
                </a:cubicBezTo>
                <a:cubicBezTo>
                  <a:pt x="915489" y="2197992"/>
                  <a:pt x="876399" y="2163967"/>
                  <a:pt x="876399" y="2125081"/>
                </a:cubicBezTo>
                <a:cubicBezTo>
                  <a:pt x="876399" y="2125081"/>
                  <a:pt x="876399" y="2125081"/>
                  <a:pt x="876399" y="2105638"/>
                </a:cubicBezTo>
                <a:cubicBezTo>
                  <a:pt x="876399" y="2066751"/>
                  <a:pt x="915489" y="2032726"/>
                  <a:pt x="967611" y="2032726"/>
                </a:cubicBezTo>
                <a:close/>
                <a:moveTo>
                  <a:pt x="640908" y="2032726"/>
                </a:moveTo>
                <a:cubicBezTo>
                  <a:pt x="687963" y="2032726"/>
                  <a:pt x="726109" y="2069722"/>
                  <a:pt x="726109" y="2115359"/>
                </a:cubicBezTo>
                <a:cubicBezTo>
                  <a:pt x="726109" y="2160996"/>
                  <a:pt x="687963" y="2197992"/>
                  <a:pt x="640908" y="2197992"/>
                </a:cubicBezTo>
                <a:cubicBezTo>
                  <a:pt x="593853" y="2197992"/>
                  <a:pt x="555708" y="2160996"/>
                  <a:pt x="555708" y="2115359"/>
                </a:cubicBezTo>
                <a:cubicBezTo>
                  <a:pt x="555708" y="2069722"/>
                  <a:pt x="593853" y="2032726"/>
                  <a:pt x="640908" y="2032726"/>
                </a:cubicBezTo>
                <a:close/>
                <a:moveTo>
                  <a:pt x="640908" y="1703220"/>
                </a:moveTo>
                <a:cubicBezTo>
                  <a:pt x="687963" y="1703220"/>
                  <a:pt x="726109" y="1739986"/>
                  <a:pt x="726109" y="1785340"/>
                </a:cubicBezTo>
                <a:cubicBezTo>
                  <a:pt x="726109" y="1830694"/>
                  <a:pt x="687963" y="1867460"/>
                  <a:pt x="640908" y="1867460"/>
                </a:cubicBezTo>
                <a:cubicBezTo>
                  <a:pt x="593853" y="1867460"/>
                  <a:pt x="555708" y="1830694"/>
                  <a:pt x="555708" y="1785340"/>
                </a:cubicBezTo>
                <a:cubicBezTo>
                  <a:pt x="555708" y="1739986"/>
                  <a:pt x="593853" y="1703220"/>
                  <a:pt x="640908" y="1703220"/>
                </a:cubicBezTo>
                <a:close/>
                <a:moveTo>
                  <a:pt x="967597" y="1703220"/>
                </a:moveTo>
                <a:cubicBezTo>
                  <a:pt x="967597" y="1703220"/>
                  <a:pt x="967597" y="1703220"/>
                  <a:pt x="2639561" y="1703220"/>
                </a:cubicBezTo>
                <a:cubicBezTo>
                  <a:pt x="2691673" y="1703220"/>
                  <a:pt x="2735101" y="1737034"/>
                  <a:pt x="2735101" y="1775679"/>
                </a:cubicBezTo>
                <a:cubicBezTo>
                  <a:pt x="2735101" y="1775679"/>
                  <a:pt x="2735101" y="1775679"/>
                  <a:pt x="2735101" y="1795001"/>
                </a:cubicBezTo>
                <a:cubicBezTo>
                  <a:pt x="2735101" y="1833646"/>
                  <a:pt x="2691673" y="1867460"/>
                  <a:pt x="2639561" y="1867460"/>
                </a:cubicBezTo>
                <a:cubicBezTo>
                  <a:pt x="2639561" y="1867460"/>
                  <a:pt x="2639561" y="1867460"/>
                  <a:pt x="967597" y="1867460"/>
                </a:cubicBezTo>
                <a:cubicBezTo>
                  <a:pt x="915483" y="1867460"/>
                  <a:pt x="876399" y="1833646"/>
                  <a:pt x="876399" y="1795001"/>
                </a:cubicBezTo>
                <a:cubicBezTo>
                  <a:pt x="876399" y="1795001"/>
                  <a:pt x="876399" y="1795001"/>
                  <a:pt x="876399" y="1775679"/>
                </a:cubicBezTo>
                <a:cubicBezTo>
                  <a:pt x="876399" y="1737034"/>
                  <a:pt x="915483" y="1703220"/>
                  <a:pt x="967597" y="1703220"/>
                </a:cubicBezTo>
                <a:close/>
                <a:moveTo>
                  <a:pt x="4146801" y="1627224"/>
                </a:moveTo>
                <a:cubicBezTo>
                  <a:pt x="4146801" y="1627224"/>
                  <a:pt x="4146801" y="1627224"/>
                  <a:pt x="4184153" y="1627224"/>
                </a:cubicBezTo>
                <a:cubicBezTo>
                  <a:pt x="4269529" y="1627224"/>
                  <a:pt x="4338895" y="1671631"/>
                  <a:pt x="4338895" y="1720478"/>
                </a:cubicBezTo>
                <a:cubicBezTo>
                  <a:pt x="4338895" y="1720478"/>
                  <a:pt x="4338895" y="1720478"/>
                  <a:pt x="4338895" y="3510076"/>
                </a:cubicBezTo>
                <a:cubicBezTo>
                  <a:pt x="4338895" y="3510076"/>
                  <a:pt x="4338895" y="3510076"/>
                  <a:pt x="4659051" y="3510076"/>
                </a:cubicBezTo>
                <a:cubicBezTo>
                  <a:pt x="4659051" y="3510076"/>
                  <a:pt x="4659051" y="3510076"/>
                  <a:pt x="4659051" y="2568650"/>
                </a:cubicBezTo>
                <a:cubicBezTo>
                  <a:pt x="4659051" y="2519802"/>
                  <a:pt x="4744427" y="2497599"/>
                  <a:pt x="4829801" y="2497599"/>
                </a:cubicBezTo>
                <a:cubicBezTo>
                  <a:pt x="4829801" y="2497599"/>
                  <a:pt x="4829801" y="2497599"/>
                  <a:pt x="4867153" y="2497599"/>
                </a:cubicBezTo>
                <a:cubicBezTo>
                  <a:pt x="4947191" y="2497599"/>
                  <a:pt x="5043239" y="2519802"/>
                  <a:pt x="5043239" y="2568650"/>
                </a:cubicBezTo>
                <a:cubicBezTo>
                  <a:pt x="5043239" y="2568650"/>
                  <a:pt x="5043239" y="2568650"/>
                  <a:pt x="5043239" y="3510076"/>
                </a:cubicBezTo>
                <a:cubicBezTo>
                  <a:pt x="5043239" y="3510076"/>
                  <a:pt x="5043239" y="3510076"/>
                  <a:pt x="5363395" y="3510076"/>
                </a:cubicBezTo>
                <a:cubicBezTo>
                  <a:pt x="5363395" y="3510076"/>
                  <a:pt x="5363395" y="3510076"/>
                  <a:pt x="5363395" y="2151225"/>
                </a:cubicBezTo>
                <a:cubicBezTo>
                  <a:pt x="5363395" y="2102378"/>
                  <a:pt x="5422089" y="2053530"/>
                  <a:pt x="5507465" y="2053530"/>
                </a:cubicBezTo>
                <a:cubicBezTo>
                  <a:pt x="5507465" y="2053530"/>
                  <a:pt x="5507465" y="2053530"/>
                  <a:pt x="5544817" y="2053530"/>
                </a:cubicBezTo>
                <a:cubicBezTo>
                  <a:pt x="5630191" y="2053530"/>
                  <a:pt x="5704895" y="2102378"/>
                  <a:pt x="5704895" y="2151225"/>
                </a:cubicBezTo>
                <a:cubicBezTo>
                  <a:pt x="5704895" y="2151225"/>
                  <a:pt x="5704895" y="2151225"/>
                  <a:pt x="5704895" y="3510076"/>
                </a:cubicBezTo>
                <a:cubicBezTo>
                  <a:pt x="5704895" y="3510076"/>
                  <a:pt x="5704895" y="3510076"/>
                  <a:pt x="5843629" y="3510076"/>
                </a:cubicBezTo>
                <a:cubicBezTo>
                  <a:pt x="5875645" y="3510076"/>
                  <a:pt x="5902325" y="3541161"/>
                  <a:pt x="5902325" y="3572245"/>
                </a:cubicBezTo>
                <a:cubicBezTo>
                  <a:pt x="5902325" y="3603330"/>
                  <a:pt x="5875645" y="3634415"/>
                  <a:pt x="5843629" y="3634415"/>
                </a:cubicBezTo>
                <a:cubicBezTo>
                  <a:pt x="5843629" y="3634415"/>
                  <a:pt x="5843629" y="3634415"/>
                  <a:pt x="3159655" y="3634415"/>
                </a:cubicBezTo>
                <a:cubicBezTo>
                  <a:pt x="3127639" y="3634415"/>
                  <a:pt x="3100959" y="3603330"/>
                  <a:pt x="3100959" y="3572245"/>
                </a:cubicBezTo>
                <a:cubicBezTo>
                  <a:pt x="3100959" y="3541161"/>
                  <a:pt x="3127639" y="3510076"/>
                  <a:pt x="3159655" y="3510076"/>
                </a:cubicBezTo>
                <a:cubicBezTo>
                  <a:pt x="3159655" y="3510076"/>
                  <a:pt x="3159655" y="3510076"/>
                  <a:pt x="3335741" y="3510076"/>
                </a:cubicBezTo>
                <a:cubicBezTo>
                  <a:pt x="3335741" y="3510076"/>
                  <a:pt x="3335741" y="3510076"/>
                  <a:pt x="3335741" y="2883939"/>
                </a:cubicBezTo>
                <a:cubicBezTo>
                  <a:pt x="3335741" y="2835091"/>
                  <a:pt x="3383763" y="2799566"/>
                  <a:pt x="3469139" y="2799566"/>
                </a:cubicBezTo>
                <a:cubicBezTo>
                  <a:pt x="3469139" y="2799566"/>
                  <a:pt x="3469139" y="2799566"/>
                  <a:pt x="3506489" y="2799566"/>
                </a:cubicBezTo>
                <a:cubicBezTo>
                  <a:pt x="3586529" y="2799566"/>
                  <a:pt x="3655897" y="2835091"/>
                  <a:pt x="3655897" y="2883939"/>
                </a:cubicBezTo>
                <a:cubicBezTo>
                  <a:pt x="3655897" y="2883939"/>
                  <a:pt x="3655897" y="2883939"/>
                  <a:pt x="3655897" y="3510076"/>
                </a:cubicBezTo>
                <a:cubicBezTo>
                  <a:pt x="3655897" y="3510076"/>
                  <a:pt x="3655897" y="3510076"/>
                  <a:pt x="3997395" y="3510076"/>
                </a:cubicBezTo>
                <a:cubicBezTo>
                  <a:pt x="3997395" y="3510076"/>
                  <a:pt x="3997395" y="3510076"/>
                  <a:pt x="3997395" y="1720478"/>
                </a:cubicBezTo>
                <a:cubicBezTo>
                  <a:pt x="3997395" y="1671631"/>
                  <a:pt x="4066763" y="1627224"/>
                  <a:pt x="4146801" y="1627224"/>
                </a:cubicBezTo>
                <a:close/>
                <a:moveTo>
                  <a:pt x="967641" y="1372687"/>
                </a:moveTo>
                <a:cubicBezTo>
                  <a:pt x="967641" y="1372687"/>
                  <a:pt x="967641" y="1372687"/>
                  <a:pt x="3005373" y="1372687"/>
                </a:cubicBezTo>
                <a:cubicBezTo>
                  <a:pt x="3057511" y="1372687"/>
                  <a:pt x="3100959" y="1406712"/>
                  <a:pt x="3100959" y="1445598"/>
                </a:cubicBezTo>
                <a:cubicBezTo>
                  <a:pt x="3100959" y="1445598"/>
                  <a:pt x="3100959" y="1445598"/>
                  <a:pt x="3100959" y="1465041"/>
                </a:cubicBezTo>
                <a:cubicBezTo>
                  <a:pt x="3100959" y="1503928"/>
                  <a:pt x="3057511" y="1537953"/>
                  <a:pt x="3005373" y="1537953"/>
                </a:cubicBezTo>
                <a:cubicBezTo>
                  <a:pt x="3005373" y="1537953"/>
                  <a:pt x="3005373" y="1537953"/>
                  <a:pt x="967641" y="1537953"/>
                </a:cubicBezTo>
                <a:cubicBezTo>
                  <a:pt x="915503" y="1537953"/>
                  <a:pt x="876399" y="1503928"/>
                  <a:pt x="876399" y="1465041"/>
                </a:cubicBezTo>
                <a:cubicBezTo>
                  <a:pt x="876399" y="1465041"/>
                  <a:pt x="876399" y="1465041"/>
                  <a:pt x="876399" y="1445598"/>
                </a:cubicBezTo>
                <a:cubicBezTo>
                  <a:pt x="876399" y="1406712"/>
                  <a:pt x="915503" y="1372687"/>
                  <a:pt x="967641" y="1372687"/>
                </a:cubicBezTo>
                <a:close/>
                <a:moveTo>
                  <a:pt x="640908" y="1372687"/>
                </a:moveTo>
                <a:cubicBezTo>
                  <a:pt x="687963" y="1372687"/>
                  <a:pt x="726109" y="1409683"/>
                  <a:pt x="726109" y="1455320"/>
                </a:cubicBezTo>
                <a:cubicBezTo>
                  <a:pt x="726109" y="1500957"/>
                  <a:pt x="687963" y="1537953"/>
                  <a:pt x="640908" y="1537953"/>
                </a:cubicBezTo>
                <a:cubicBezTo>
                  <a:pt x="593853" y="1537953"/>
                  <a:pt x="555708" y="1500957"/>
                  <a:pt x="555708" y="1455320"/>
                </a:cubicBezTo>
                <a:cubicBezTo>
                  <a:pt x="555708" y="1409683"/>
                  <a:pt x="593853" y="1372687"/>
                  <a:pt x="640908" y="1372687"/>
                </a:cubicBezTo>
                <a:close/>
                <a:moveTo>
                  <a:pt x="967591" y="1043181"/>
                </a:moveTo>
                <a:cubicBezTo>
                  <a:pt x="967591" y="1043181"/>
                  <a:pt x="967591" y="1043181"/>
                  <a:pt x="2952109" y="1043181"/>
                </a:cubicBezTo>
                <a:cubicBezTo>
                  <a:pt x="3004217" y="1043181"/>
                  <a:pt x="3047643" y="1077206"/>
                  <a:pt x="3047643" y="1116092"/>
                </a:cubicBezTo>
                <a:cubicBezTo>
                  <a:pt x="3047643" y="1116092"/>
                  <a:pt x="3047643" y="1116092"/>
                  <a:pt x="3047643" y="1135535"/>
                </a:cubicBezTo>
                <a:cubicBezTo>
                  <a:pt x="3047643" y="1174422"/>
                  <a:pt x="3004217" y="1208447"/>
                  <a:pt x="2952109" y="1208447"/>
                </a:cubicBezTo>
                <a:cubicBezTo>
                  <a:pt x="2952109" y="1208447"/>
                  <a:pt x="2952109" y="1208447"/>
                  <a:pt x="967591" y="1208447"/>
                </a:cubicBezTo>
                <a:cubicBezTo>
                  <a:pt x="915481" y="1208447"/>
                  <a:pt x="876399" y="1174422"/>
                  <a:pt x="876399" y="1135535"/>
                </a:cubicBezTo>
                <a:cubicBezTo>
                  <a:pt x="876399" y="1135535"/>
                  <a:pt x="876399" y="1135535"/>
                  <a:pt x="876399" y="1116092"/>
                </a:cubicBezTo>
                <a:cubicBezTo>
                  <a:pt x="876399" y="1077206"/>
                  <a:pt x="915481" y="1043181"/>
                  <a:pt x="967591" y="1043181"/>
                </a:cubicBezTo>
                <a:close/>
                <a:moveTo>
                  <a:pt x="640908" y="1043181"/>
                </a:moveTo>
                <a:cubicBezTo>
                  <a:pt x="687963" y="1043181"/>
                  <a:pt x="726109" y="1080177"/>
                  <a:pt x="726109" y="1125814"/>
                </a:cubicBezTo>
                <a:cubicBezTo>
                  <a:pt x="726109" y="1171451"/>
                  <a:pt x="687963" y="1208447"/>
                  <a:pt x="640908" y="1208447"/>
                </a:cubicBezTo>
                <a:cubicBezTo>
                  <a:pt x="593853" y="1208447"/>
                  <a:pt x="555708" y="1171451"/>
                  <a:pt x="555708" y="1125814"/>
                </a:cubicBezTo>
                <a:cubicBezTo>
                  <a:pt x="555708" y="1080177"/>
                  <a:pt x="593853" y="1043181"/>
                  <a:pt x="640908" y="1043181"/>
                </a:cubicBezTo>
                <a:close/>
                <a:moveTo>
                  <a:pt x="324140" y="703848"/>
                </a:moveTo>
                <a:lnTo>
                  <a:pt x="324140" y="4113425"/>
                </a:lnTo>
                <a:lnTo>
                  <a:pt x="6100105" y="4113425"/>
                </a:lnTo>
                <a:lnTo>
                  <a:pt x="6100105" y="703848"/>
                </a:lnTo>
                <a:close/>
                <a:moveTo>
                  <a:pt x="193423" y="0"/>
                </a:moveTo>
                <a:lnTo>
                  <a:pt x="6230823" y="0"/>
                </a:lnTo>
                <a:cubicBezTo>
                  <a:pt x="6337649" y="0"/>
                  <a:pt x="6424245" y="86598"/>
                  <a:pt x="6424245" y="193423"/>
                </a:cubicBezTo>
                <a:lnTo>
                  <a:pt x="6424245" y="4202560"/>
                </a:lnTo>
                <a:cubicBezTo>
                  <a:pt x="6424245" y="4309385"/>
                  <a:pt x="6337649" y="4395983"/>
                  <a:pt x="6230823" y="4395983"/>
                </a:cubicBezTo>
                <a:lnTo>
                  <a:pt x="193423" y="4395983"/>
                </a:lnTo>
                <a:cubicBezTo>
                  <a:pt x="86598" y="4395983"/>
                  <a:pt x="0" y="4309385"/>
                  <a:pt x="0" y="4202560"/>
                </a:cubicBezTo>
                <a:lnTo>
                  <a:pt x="0" y="193423"/>
                </a:lnTo>
                <a:cubicBezTo>
                  <a:pt x="0" y="86598"/>
                  <a:pt x="86598" y="0"/>
                  <a:pt x="193423" y="0"/>
                </a:cubicBezTo>
                <a:close/>
              </a:path>
            </a:pathLst>
          </a:custGeom>
          <a:solidFill>
            <a:schemeClr val="tx1">
              <a:lumMod val="95000"/>
              <a:lumOff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defRPr/>
            </a:pPr>
            <a:endParaRPr lang="en-US" sz="1800" kern="0"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13" name="Rectangle 1049"/>
          <p:cNvSpPr>
            <a:spLocks noChangeAspect="1"/>
          </p:cNvSpPr>
          <p:nvPr/>
        </p:nvSpPr>
        <p:spPr bwMode="auto">
          <a:xfrm>
            <a:off x="11453904" y="2312704"/>
            <a:ext cx="360391" cy="312591"/>
          </a:xfrm>
          <a:custGeom>
            <a:avLst/>
            <a:gdLst/>
            <a:ahLst/>
            <a:cxnLst/>
            <a:rect l="l" t="t" r="r" b="b"/>
            <a:pathLst>
              <a:path w="4396772" h="3814604">
                <a:moveTo>
                  <a:pt x="1768806" y="2531251"/>
                </a:moveTo>
                <a:cubicBezTo>
                  <a:pt x="1779256" y="2542818"/>
                  <a:pt x="1790357" y="2553748"/>
                  <a:pt x="1802421" y="2563658"/>
                </a:cubicBezTo>
                <a:lnTo>
                  <a:pt x="1507305" y="2869971"/>
                </a:lnTo>
                <a:lnTo>
                  <a:pt x="1923973" y="3303431"/>
                </a:lnTo>
                <a:lnTo>
                  <a:pt x="1964879" y="3257130"/>
                </a:lnTo>
                <a:lnTo>
                  <a:pt x="1999127" y="3206887"/>
                </a:lnTo>
                <a:lnTo>
                  <a:pt x="2028615" y="3154677"/>
                </a:lnTo>
                <a:lnTo>
                  <a:pt x="2053351" y="3100494"/>
                </a:lnTo>
                <a:lnTo>
                  <a:pt x="2072374" y="3044341"/>
                </a:lnTo>
                <a:lnTo>
                  <a:pt x="2085694" y="2987202"/>
                </a:lnTo>
                <a:lnTo>
                  <a:pt x="2093304" y="2928094"/>
                </a:lnTo>
                <a:lnTo>
                  <a:pt x="2096157" y="2869971"/>
                </a:lnTo>
                <a:lnTo>
                  <a:pt x="2093304" y="2810863"/>
                </a:lnTo>
                <a:lnTo>
                  <a:pt x="2085701" y="2753777"/>
                </a:lnTo>
                <a:cubicBezTo>
                  <a:pt x="2106933" y="2764390"/>
                  <a:pt x="2128935" y="2773455"/>
                  <a:pt x="2151734" y="2780599"/>
                </a:cubicBezTo>
                <a:lnTo>
                  <a:pt x="2153986" y="2797688"/>
                </a:lnTo>
                <a:lnTo>
                  <a:pt x="2157434" y="2869862"/>
                </a:lnTo>
                <a:lnTo>
                  <a:pt x="2153986" y="2940833"/>
                </a:lnTo>
                <a:lnTo>
                  <a:pt x="2144792" y="3013007"/>
                </a:lnTo>
                <a:lnTo>
                  <a:pt x="2128704" y="3082777"/>
                </a:lnTo>
                <a:lnTo>
                  <a:pt x="2105716" y="3151344"/>
                </a:lnTo>
                <a:lnTo>
                  <a:pt x="2075836" y="3217503"/>
                </a:lnTo>
                <a:lnTo>
                  <a:pt x="2040206" y="3281256"/>
                </a:lnTo>
                <a:lnTo>
                  <a:pt x="1998834" y="3342605"/>
                </a:lnTo>
                <a:lnTo>
                  <a:pt x="1949414" y="3399141"/>
                </a:lnTo>
                <a:lnTo>
                  <a:pt x="1446026" y="2869862"/>
                </a:lnTo>
                <a:close/>
                <a:moveTo>
                  <a:pt x="3419308" y="2310302"/>
                </a:moveTo>
                <a:lnTo>
                  <a:pt x="4396772" y="3276587"/>
                </a:lnTo>
                <a:lnTo>
                  <a:pt x="4013101" y="3664699"/>
                </a:lnTo>
                <a:lnTo>
                  <a:pt x="3038542" y="2701284"/>
                </a:lnTo>
                <a:cubicBezTo>
                  <a:pt x="3198080" y="2608071"/>
                  <a:pt x="3329832" y="2472585"/>
                  <a:pt x="3419308" y="2310302"/>
                </a:cubicBezTo>
                <a:close/>
                <a:moveTo>
                  <a:pt x="1409161" y="2231938"/>
                </a:moveTo>
                <a:lnTo>
                  <a:pt x="1466950" y="2235065"/>
                </a:lnTo>
                <a:lnTo>
                  <a:pt x="1526736" y="2243401"/>
                </a:lnTo>
                <a:lnTo>
                  <a:pt x="1577524" y="2256221"/>
                </a:lnTo>
                <a:cubicBezTo>
                  <a:pt x="1619586" y="2346568"/>
                  <a:pt x="1675232" y="2429215"/>
                  <a:pt x="1741977" y="2501641"/>
                </a:cubicBezTo>
                <a:lnTo>
                  <a:pt x="1379556" y="2883815"/>
                </a:lnTo>
                <a:lnTo>
                  <a:pt x="1831596" y="3351926"/>
                </a:lnTo>
                <a:lnTo>
                  <a:pt x="1798742" y="3383362"/>
                </a:lnTo>
                <a:lnTo>
                  <a:pt x="1748925" y="3420872"/>
                </a:lnTo>
                <a:lnTo>
                  <a:pt x="1696117" y="3453177"/>
                </a:lnTo>
                <a:lnTo>
                  <a:pt x="1641317" y="3481312"/>
                </a:lnTo>
                <a:lnTo>
                  <a:pt x="1584523" y="3502149"/>
                </a:lnTo>
                <a:lnTo>
                  <a:pt x="1526736" y="3515697"/>
                </a:lnTo>
                <a:lnTo>
                  <a:pt x="1466950" y="3525074"/>
                </a:lnTo>
                <a:lnTo>
                  <a:pt x="1409161" y="3528199"/>
                </a:lnTo>
                <a:lnTo>
                  <a:pt x="1349379" y="3525074"/>
                </a:lnTo>
                <a:lnTo>
                  <a:pt x="1291591" y="3515697"/>
                </a:lnTo>
                <a:lnTo>
                  <a:pt x="1232805" y="3502149"/>
                </a:lnTo>
                <a:lnTo>
                  <a:pt x="1176013" y="3481312"/>
                </a:lnTo>
                <a:lnTo>
                  <a:pt x="1121213" y="3453177"/>
                </a:lnTo>
                <a:lnTo>
                  <a:pt x="1069400" y="3420872"/>
                </a:lnTo>
                <a:lnTo>
                  <a:pt x="1019583" y="3383362"/>
                </a:lnTo>
                <a:lnTo>
                  <a:pt x="972753" y="3338554"/>
                </a:lnTo>
                <a:lnTo>
                  <a:pt x="929909" y="3289580"/>
                </a:lnTo>
                <a:lnTo>
                  <a:pt x="893042" y="3236436"/>
                </a:lnTo>
                <a:lnTo>
                  <a:pt x="862155" y="3181212"/>
                </a:lnTo>
                <a:lnTo>
                  <a:pt x="836250" y="3123899"/>
                </a:lnTo>
                <a:lnTo>
                  <a:pt x="817319" y="3064507"/>
                </a:lnTo>
                <a:lnTo>
                  <a:pt x="802373" y="3004069"/>
                </a:lnTo>
                <a:lnTo>
                  <a:pt x="793407" y="2941549"/>
                </a:lnTo>
                <a:lnTo>
                  <a:pt x="791414" y="2880071"/>
                </a:lnTo>
                <a:lnTo>
                  <a:pt x="793407" y="2817549"/>
                </a:lnTo>
                <a:lnTo>
                  <a:pt x="802373" y="2757113"/>
                </a:lnTo>
                <a:lnTo>
                  <a:pt x="817319" y="2695634"/>
                </a:lnTo>
                <a:lnTo>
                  <a:pt x="836250" y="2635197"/>
                </a:lnTo>
                <a:lnTo>
                  <a:pt x="862155" y="2578929"/>
                </a:lnTo>
                <a:lnTo>
                  <a:pt x="893042" y="2523701"/>
                </a:lnTo>
                <a:lnTo>
                  <a:pt x="929909" y="2470559"/>
                </a:lnTo>
                <a:lnTo>
                  <a:pt x="972753" y="2422628"/>
                </a:lnTo>
                <a:lnTo>
                  <a:pt x="1019583" y="2377820"/>
                </a:lnTo>
                <a:lnTo>
                  <a:pt x="1069400" y="2339265"/>
                </a:lnTo>
                <a:lnTo>
                  <a:pt x="1121213" y="2305921"/>
                </a:lnTo>
                <a:lnTo>
                  <a:pt x="1176013" y="2278829"/>
                </a:lnTo>
                <a:lnTo>
                  <a:pt x="1232805" y="2257988"/>
                </a:lnTo>
                <a:lnTo>
                  <a:pt x="1291591" y="2243401"/>
                </a:lnTo>
                <a:lnTo>
                  <a:pt x="1349379" y="2235065"/>
                </a:lnTo>
                <a:close/>
                <a:moveTo>
                  <a:pt x="461210" y="1447239"/>
                </a:moveTo>
                <a:lnTo>
                  <a:pt x="739860" y="1447239"/>
                </a:lnTo>
                <a:lnTo>
                  <a:pt x="739860" y="1856055"/>
                </a:lnTo>
                <a:lnTo>
                  <a:pt x="461210" y="1856055"/>
                </a:lnTo>
                <a:close/>
                <a:moveTo>
                  <a:pt x="1324380" y="1205700"/>
                </a:moveTo>
                <a:lnTo>
                  <a:pt x="1603030" y="1205700"/>
                </a:lnTo>
                <a:lnTo>
                  <a:pt x="1603030" y="1302566"/>
                </a:lnTo>
                <a:cubicBezTo>
                  <a:pt x="1520667" y="1451448"/>
                  <a:pt x="1473954" y="1622817"/>
                  <a:pt x="1473954" y="1805131"/>
                </a:cubicBezTo>
                <a:cubicBezTo>
                  <a:pt x="1473954" y="1822226"/>
                  <a:pt x="1474365" y="1839226"/>
                  <a:pt x="1476518" y="1856055"/>
                </a:cubicBezTo>
                <a:lnTo>
                  <a:pt x="1324380" y="1856055"/>
                </a:lnTo>
                <a:close/>
                <a:moveTo>
                  <a:pt x="1706684" y="1148595"/>
                </a:moveTo>
                <a:lnTo>
                  <a:pt x="1668162" y="1200269"/>
                </a:lnTo>
                <a:cubicBezTo>
                  <a:pt x="1678510" y="1181216"/>
                  <a:pt x="1691405" y="1163943"/>
                  <a:pt x="1706684" y="1148595"/>
                </a:cubicBezTo>
                <a:close/>
                <a:moveTo>
                  <a:pt x="2433965" y="1082569"/>
                </a:moveTo>
                <a:lnTo>
                  <a:pt x="2297389" y="1107642"/>
                </a:lnTo>
                <a:lnTo>
                  <a:pt x="2297389" y="1254650"/>
                </a:lnTo>
                <a:lnTo>
                  <a:pt x="2301560" y="2135295"/>
                </a:lnTo>
                <a:lnTo>
                  <a:pt x="1900814" y="2135295"/>
                </a:lnTo>
                <a:lnTo>
                  <a:pt x="1900814" y="1410370"/>
                </a:lnTo>
                <a:cubicBezTo>
                  <a:pt x="1828019" y="1521547"/>
                  <a:pt x="1786623" y="1654607"/>
                  <a:pt x="1786623" y="1797334"/>
                </a:cubicBezTo>
                <a:cubicBezTo>
                  <a:pt x="1786623" y="2196263"/>
                  <a:pt x="2110017" y="2519658"/>
                  <a:pt x="2508947" y="2519658"/>
                </a:cubicBezTo>
                <a:cubicBezTo>
                  <a:pt x="2907877" y="2519658"/>
                  <a:pt x="3231272" y="2196263"/>
                  <a:pt x="3231272" y="1797334"/>
                </a:cubicBezTo>
                <a:cubicBezTo>
                  <a:pt x="3231272" y="1516177"/>
                  <a:pt x="3070637" y="1272536"/>
                  <a:pt x="2834711" y="1155982"/>
                </a:cubicBezTo>
                <a:lnTo>
                  <a:pt x="2834711" y="2126888"/>
                </a:lnTo>
                <a:lnTo>
                  <a:pt x="2433965" y="2126888"/>
                </a:lnTo>
                <a:close/>
                <a:moveTo>
                  <a:pt x="892794" y="1005697"/>
                </a:moveTo>
                <a:lnTo>
                  <a:pt x="1171444" y="1005697"/>
                </a:lnTo>
                <a:lnTo>
                  <a:pt x="1171444" y="1856055"/>
                </a:lnTo>
                <a:lnTo>
                  <a:pt x="892794" y="1856055"/>
                </a:lnTo>
                <a:close/>
                <a:moveTo>
                  <a:pt x="3044451" y="912579"/>
                </a:moveTo>
                <a:cubicBezTo>
                  <a:pt x="3046712" y="913637"/>
                  <a:pt x="3048831" y="914931"/>
                  <a:pt x="3050808" y="916453"/>
                </a:cubicBezTo>
                <a:close/>
                <a:moveTo>
                  <a:pt x="1787030" y="896624"/>
                </a:moveTo>
                <a:lnTo>
                  <a:pt x="2005647" y="896624"/>
                </a:lnTo>
                <a:cubicBezTo>
                  <a:pt x="1908330" y="950663"/>
                  <a:pt x="1820915" y="1020376"/>
                  <a:pt x="1747195" y="1102862"/>
                </a:cubicBezTo>
                <a:cubicBezTo>
                  <a:pt x="1758486" y="1086030"/>
                  <a:pt x="1772541" y="1071740"/>
                  <a:pt x="1787030" y="1057893"/>
                </a:cubicBezTo>
                <a:close/>
                <a:moveTo>
                  <a:pt x="2136269" y="835341"/>
                </a:moveTo>
                <a:cubicBezTo>
                  <a:pt x="2120983" y="840178"/>
                  <a:pt x="2106246" y="846327"/>
                  <a:pt x="2091974" y="853455"/>
                </a:cubicBezTo>
                <a:cubicBezTo>
                  <a:pt x="2105843" y="845389"/>
                  <a:pt x="2120627" y="839273"/>
                  <a:pt x="2136269" y="835341"/>
                </a:cubicBezTo>
                <a:close/>
                <a:moveTo>
                  <a:pt x="2511958" y="786762"/>
                </a:moveTo>
                <a:cubicBezTo>
                  <a:pt x="3072620" y="786762"/>
                  <a:pt x="3527126" y="1242701"/>
                  <a:pt x="3527126" y="1805131"/>
                </a:cubicBezTo>
                <a:cubicBezTo>
                  <a:pt x="3527126" y="2367561"/>
                  <a:pt x="3072620" y="2823500"/>
                  <a:pt x="2511958" y="2823500"/>
                </a:cubicBezTo>
                <a:cubicBezTo>
                  <a:pt x="1951296" y="2823500"/>
                  <a:pt x="1496790" y="2367561"/>
                  <a:pt x="1496790" y="1805131"/>
                </a:cubicBezTo>
                <a:cubicBezTo>
                  <a:pt x="1496790" y="1242701"/>
                  <a:pt x="1951296" y="786762"/>
                  <a:pt x="2511958" y="786762"/>
                </a:cubicBezTo>
                <a:close/>
                <a:moveTo>
                  <a:pt x="1674679" y="377937"/>
                </a:moveTo>
                <a:lnTo>
                  <a:pt x="1767684" y="377937"/>
                </a:lnTo>
                <a:lnTo>
                  <a:pt x="1767684" y="584477"/>
                </a:lnTo>
                <a:lnTo>
                  <a:pt x="1674679" y="584477"/>
                </a:lnTo>
                <a:close/>
                <a:moveTo>
                  <a:pt x="1510757" y="377937"/>
                </a:moveTo>
                <a:lnTo>
                  <a:pt x="1603762" y="377937"/>
                </a:lnTo>
                <a:lnTo>
                  <a:pt x="1603762" y="584477"/>
                </a:lnTo>
                <a:lnTo>
                  <a:pt x="1510757" y="584477"/>
                </a:lnTo>
                <a:close/>
                <a:moveTo>
                  <a:pt x="1346833" y="377937"/>
                </a:moveTo>
                <a:lnTo>
                  <a:pt x="1439838" y="377937"/>
                </a:lnTo>
                <a:lnTo>
                  <a:pt x="1439838" y="584477"/>
                </a:lnTo>
                <a:lnTo>
                  <a:pt x="1346833" y="584477"/>
                </a:lnTo>
                <a:close/>
                <a:moveTo>
                  <a:pt x="1182909" y="377937"/>
                </a:moveTo>
                <a:lnTo>
                  <a:pt x="1275914" y="377937"/>
                </a:lnTo>
                <a:lnTo>
                  <a:pt x="1275914" y="584477"/>
                </a:lnTo>
                <a:lnTo>
                  <a:pt x="1182909" y="584477"/>
                </a:lnTo>
                <a:close/>
                <a:moveTo>
                  <a:pt x="1018985" y="377937"/>
                </a:moveTo>
                <a:lnTo>
                  <a:pt x="1111990" y="377937"/>
                </a:lnTo>
                <a:lnTo>
                  <a:pt x="1111990" y="584477"/>
                </a:lnTo>
                <a:lnTo>
                  <a:pt x="1018985" y="584477"/>
                </a:lnTo>
                <a:close/>
                <a:moveTo>
                  <a:pt x="855062" y="377937"/>
                </a:moveTo>
                <a:lnTo>
                  <a:pt x="948067" y="377937"/>
                </a:lnTo>
                <a:lnTo>
                  <a:pt x="948067" y="584477"/>
                </a:lnTo>
                <a:lnTo>
                  <a:pt x="855062" y="584477"/>
                </a:lnTo>
                <a:close/>
                <a:moveTo>
                  <a:pt x="691138" y="377937"/>
                </a:moveTo>
                <a:lnTo>
                  <a:pt x="784143" y="377937"/>
                </a:lnTo>
                <a:lnTo>
                  <a:pt x="784143" y="584477"/>
                </a:lnTo>
                <a:lnTo>
                  <a:pt x="691138" y="584477"/>
                </a:lnTo>
                <a:close/>
                <a:moveTo>
                  <a:pt x="527214" y="377937"/>
                </a:moveTo>
                <a:lnTo>
                  <a:pt x="620219" y="377937"/>
                </a:lnTo>
                <a:lnTo>
                  <a:pt x="620219" y="584477"/>
                </a:lnTo>
                <a:lnTo>
                  <a:pt x="527214" y="584477"/>
                </a:lnTo>
                <a:close/>
                <a:moveTo>
                  <a:pt x="0" y="0"/>
                </a:moveTo>
                <a:lnTo>
                  <a:pt x="2914602" y="0"/>
                </a:lnTo>
                <a:lnTo>
                  <a:pt x="2914602" y="845237"/>
                </a:lnTo>
                <a:cubicBezTo>
                  <a:pt x="2790810" y="792848"/>
                  <a:pt x="2654751" y="763926"/>
                  <a:pt x="2511958" y="763926"/>
                </a:cubicBezTo>
                <a:cubicBezTo>
                  <a:pt x="2411521" y="763926"/>
                  <a:pt x="2314415" y="778235"/>
                  <a:pt x="2222782" y="805708"/>
                </a:cubicBezTo>
                <a:lnTo>
                  <a:pt x="2222782" y="653320"/>
                </a:lnTo>
                <a:lnTo>
                  <a:pt x="2501432" y="653320"/>
                </a:lnTo>
                <a:lnTo>
                  <a:pt x="2501432" y="763569"/>
                </a:lnTo>
                <a:cubicBezTo>
                  <a:pt x="2503932" y="762821"/>
                  <a:pt x="2506440" y="762810"/>
                  <a:pt x="2508947" y="762810"/>
                </a:cubicBezTo>
                <a:cubicBezTo>
                  <a:pt x="2581363" y="762810"/>
                  <a:pt x="2652040" y="770251"/>
                  <a:pt x="2720199" y="784685"/>
                </a:cubicBezTo>
                <a:lnTo>
                  <a:pt x="2720199" y="194403"/>
                </a:lnTo>
                <a:lnTo>
                  <a:pt x="194403" y="194403"/>
                </a:lnTo>
                <a:lnTo>
                  <a:pt x="194403" y="3620202"/>
                </a:lnTo>
                <a:lnTo>
                  <a:pt x="2720199" y="3620202"/>
                </a:lnTo>
                <a:lnTo>
                  <a:pt x="2720199" y="2915468"/>
                </a:lnTo>
                <a:cubicBezTo>
                  <a:pt x="2788410" y="2909632"/>
                  <a:pt x="2853714" y="2891807"/>
                  <a:pt x="2914602" y="2863549"/>
                </a:cubicBezTo>
                <a:lnTo>
                  <a:pt x="2914602" y="3814604"/>
                </a:lnTo>
                <a:lnTo>
                  <a:pt x="0" y="3814604"/>
                </a:lnTo>
                <a:close/>
              </a:path>
            </a:pathLst>
          </a:custGeom>
          <a:solidFill>
            <a:schemeClr val="tx1">
              <a:lumMod val="95000"/>
              <a:lumOff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defRPr/>
            </a:pPr>
            <a:endParaRPr lang="en-US" sz="1800" kern="0"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cxnSp>
        <p:nvCxnSpPr>
          <p:cNvPr id="10" name="Curved Connector 9"/>
          <p:cNvCxnSpPr/>
          <p:nvPr/>
        </p:nvCxnSpPr>
        <p:spPr>
          <a:xfrm rot="5400000" flipH="1" flipV="1">
            <a:off x="7878915" y="2527983"/>
            <a:ext cx="830775" cy="2260831"/>
          </a:xfrm>
          <a:prstGeom prst="curvedConnector4">
            <a:avLst>
              <a:gd name="adj1" fmla="val -12506"/>
              <a:gd name="adj2" fmla="val 83497"/>
            </a:avLst>
          </a:prstGeom>
          <a:ln>
            <a:tailEnd type="triangle"/>
          </a:ln>
        </p:spPr>
        <p:style>
          <a:lnRef idx="1">
            <a:schemeClr val="accent1"/>
          </a:lnRef>
          <a:fillRef idx="0">
            <a:schemeClr val="accent1"/>
          </a:fillRef>
          <a:effectRef idx="0">
            <a:schemeClr val="accent1"/>
          </a:effectRef>
          <a:fontRef idx="minor">
            <a:schemeClr val="tx1"/>
          </a:fontRef>
        </p:style>
      </p:cxnSp>
      <p:sp>
        <p:nvSpPr>
          <p:cNvPr id="98" name="Freeform 97"/>
          <p:cNvSpPr>
            <a:spLocks noChangeAspect="1" noEditPoints="1"/>
          </p:cNvSpPr>
          <p:nvPr/>
        </p:nvSpPr>
        <p:spPr bwMode="black">
          <a:xfrm>
            <a:off x="6453438" y="6028959"/>
            <a:ext cx="719478" cy="160502"/>
          </a:xfrm>
          <a:custGeom>
            <a:avLst/>
            <a:gdLst>
              <a:gd name="T0" fmla="*/ 115 w 526"/>
              <a:gd name="T1" fmla="*/ 56 h 115"/>
              <a:gd name="T2" fmla="*/ 49 w 526"/>
              <a:gd name="T3" fmla="*/ 56 h 115"/>
              <a:gd name="T4" fmla="*/ 0 w 526"/>
              <a:gd name="T5" fmla="*/ 56 h 115"/>
              <a:gd name="T6" fmla="*/ 0 w 526"/>
              <a:gd name="T7" fmla="*/ 59 h 115"/>
              <a:gd name="T8" fmla="*/ 49 w 526"/>
              <a:gd name="T9" fmla="*/ 59 h 115"/>
              <a:gd name="T10" fmla="*/ 115 w 526"/>
              <a:gd name="T11" fmla="*/ 115 h 115"/>
              <a:gd name="T12" fmla="*/ 231 w 526"/>
              <a:gd name="T13" fmla="*/ 23 h 115"/>
              <a:gd name="T14" fmla="*/ 215 w 526"/>
              <a:gd name="T15" fmla="*/ 83 h 115"/>
              <a:gd name="T16" fmla="*/ 192 w 526"/>
              <a:gd name="T17" fmla="*/ 23 h 115"/>
              <a:gd name="T18" fmla="*/ 175 w 526"/>
              <a:gd name="T19" fmla="*/ 83 h 115"/>
              <a:gd name="T20" fmla="*/ 150 w 526"/>
              <a:gd name="T21" fmla="*/ 23 h 115"/>
              <a:gd name="T22" fmla="*/ 194 w 526"/>
              <a:gd name="T23" fmla="*/ 42 h 115"/>
              <a:gd name="T24" fmla="*/ 196 w 526"/>
              <a:gd name="T25" fmla="*/ 42 h 115"/>
              <a:gd name="T26" fmla="*/ 240 w 526"/>
              <a:gd name="T27" fmla="*/ 23 h 115"/>
              <a:gd name="T28" fmla="*/ 250 w 526"/>
              <a:gd name="T29" fmla="*/ 22 h 115"/>
              <a:gd name="T30" fmla="*/ 246 w 526"/>
              <a:gd name="T31" fmla="*/ 31 h 115"/>
              <a:gd name="T32" fmla="*/ 255 w 526"/>
              <a:gd name="T33" fmla="*/ 27 h 115"/>
              <a:gd name="T34" fmla="*/ 246 w 526"/>
              <a:gd name="T35" fmla="*/ 43 h 115"/>
              <a:gd name="T36" fmla="*/ 254 w 526"/>
              <a:gd name="T37" fmla="*/ 43 h 115"/>
              <a:gd name="T38" fmla="*/ 290 w 526"/>
              <a:gd name="T39" fmla="*/ 42 h 115"/>
              <a:gd name="T40" fmla="*/ 274 w 526"/>
              <a:gd name="T41" fmla="*/ 43 h 115"/>
              <a:gd name="T42" fmla="*/ 274 w 526"/>
              <a:gd name="T43" fmla="*/ 92 h 115"/>
              <a:gd name="T44" fmla="*/ 287 w 526"/>
              <a:gd name="T45" fmla="*/ 49 h 115"/>
              <a:gd name="T46" fmla="*/ 307 w 526"/>
              <a:gd name="T47" fmla="*/ 92 h 115"/>
              <a:gd name="T48" fmla="*/ 354 w 526"/>
              <a:gd name="T49" fmla="*/ 19 h 115"/>
              <a:gd name="T50" fmla="*/ 339 w 526"/>
              <a:gd name="T51" fmla="*/ 42 h 115"/>
              <a:gd name="T52" fmla="*/ 322 w 526"/>
              <a:gd name="T53" fmla="*/ 87 h 115"/>
              <a:gd name="T54" fmla="*/ 354 w 526"/>
              <a:gd name="T55" fmla="*/ 84 h 115"/>
              <a:gd name="T56" fmla="*/ 362 w 526"/>
              <a:gd name="T57" fmla="*/ 19 h 115"/>
              <a:gd name="T58" fmla="*/ 328 w 526"/>
              <a:gd name="T59" fmla="*/ 82 h 115"/>
              <a:gd name="T60" fmla="*/ 340 w 526"/>
              <a:gd name="T61" fmla="*/ 49 h 115"/>
              <a:gd name="T62" fmla="*/ 354 w 526"/>
              <a:gd name="T63" fmla="*/ 70 h 115"/>
              <a:gd name="T64" fmla="*/ 396 w 526"/>
              <a:gd name="T65" fmla="*/ 42 h 115"/>
              <a:gd name="T66" fmla="*/ 378 w 526"/>
              <a:gd name="T67" fmla="*/ 87 h 115"/>
              <a:gd name="T68" fmla="*/ 420 w 526"/>
              <a:gd name="T69" fmla="*/ 68 h 115"/>
              <a:gd name="T70" fmla="*/ 396 w 526"/>
              <a:gd name="T71" fmla="*/ 87 h 115"/>
              <a:gd name="T72" fmla="*/ 384 w 526"/>
              <a:gd name="T73" fmla="*/ 54 h 115"/>
              <a:gd name="T74" fmla="*/ 412 w 526"/>
              <a:gd name="T75" fmla="*/ 68 h 115"/>
              <a:gd name="T76" fmla="*/ 474 w 526"/>
              <a:gd name="T77" fmla="*/ 80 h 115"/>
              <a:gd name="T78" fmla="*/ 472 w 526"/>
              <a:gd name="T79" fmla="*/ 80 h 115"/>
              <a:gd name="T80" fmla="*/ 443 w 526"/>
              <a:gd name="T81" fmla="*/ 80 h 115"/>
              <a:gd name="T82" fmla="*/ 441 w 526"/>
              <a:gd name="T83" fmla="*/ 80 h 115"/>
              <a:gd name="T84" fmla="*/ 438 w 526"/>
              <a:gd name="T85" fmla="*/ 92 h 115"/>
              <a:gd name="T86" fmla="*/ 458 w 526"/>
              <a:gd name="T87" fmla="*/ 53 h 115"/>
              <a:gd name="T88" fmla="*/ 469 w 526"/>
              <a:gd name="T89" fmla="*/ 92 h 115"/>
              <a:gd name="T90" fmla="*/ 484 w 526"/>
              <a:gd name="T91" fmla="*/ 43 h 115"/>
              <a:gd name="T92" fmla="*/ 505 w 526"/>
              <a:gd name="T93" fmla="*/ 60 h 115"/>
              <a:gd name="T94" fmla="*/ 512 w 526"/>
              <a:gd name="T95" fmla="*/ 49 h 115"/>
              <a:gd name="T96" fmla="*/ 513 w 526"/>
              <a:gd name="T97" fmla="*/ 42 h 115"/>
              <a:gd name="T98" fmla="*/ 498 w 526"/>
              <a:gd name="T99" fmla="*/ 65 h 115"/>
              <a:gd name="T100" fmla="*/ 517 w 526"/>
              <a:gd name="T101" fmla="*/ 80 h 115"/>
              <a:gd name="T102" fmla="*/ 495 w 526"/>
              <a:gd name="T103" fmla="*/ 91 h 115"/>
              <a:gd name="T104" fmla="*/ 526 w 526"/>
              <a:gd name="T105" fmla="*/ 7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6" h="115">
                <a:moveTo>
                  <a:pt x="52" y="9"/>
                </a:moveTo>
                <a:cubicBezTo>
                  <a:pt x="115" y="0"/>
                  <a:pt x="115" y="0"/>
                  <a:pt x="115" y="0"/>
                </a:cubicBezTo>
                <a:cubicBezTo>
                  <a:pt x="115" y="56"/>
                  <a:pt x="115" y="56"/>
                  <a:pt x="115" y="56"/>
                </a:cubicBezTo>
                <a:cubicBezTo>
                  <a:pt x="52" y="56"/>
                  <a:pt x="52" y="56"/>
                  <a:pt x="52" y="56"/>
                </a:cubicBezTo>
                <a:lnTo>
                  <a:pt x="52" y="9"/>
                </a:lnTo>
                <a:close/>
                <a:moveTo>
                  <a:pt x="49" y="56"/>
                </a:moveTo>
                <a:cubicBezTo>
                  <a:pt x="49" y="9"/>
                  <a:pt x="49" y="9"/>
                  <a:pt x="49" y="9"/>
                </a:cubicBezTo>
                <a:cubicBezTo>
                  <a:pt x="0" y="16"/>
                  <a:pt x="0" y="16"/>
                  <a:pt x="0" y="16"/>
                </a:cubicBezTo>
                <a:cubicBezTo>
                  <a:pt x="0" y="56"/>
                  <a:pt x="0" y="56"/>
                  <a:pt x="0" y="56"/>
                </a:cubicBezTo>
                <a:lnTo>
                  <a:pt x="49" y="56"/>
                </a:lnTo>
                <a:close/>
                <a:moveTo>
                  <a:pt x="49" y="59"/>
                </a:moveTo>
                <a:cubicBezTo>
                  <a:pt x="0" y="59"/>
                  <a:pt x="0" y="59"/>
                  <a:pt x="0" y="59"/>
                </a:cubicBezTo>
                <a:cubicBezTo>
                  <a:pt x="0" y="99"/>
                  <a:pt x="0" y="99"/>
                  <a:pt x="0" y="99"/>
                </a:cubicBezTo>
                <a:cubicBezTo>
                  <a:pt x="49" y="106"/>
                  <a:pt x="49" y="106"/>
                  <a:pt x="49" y="106"/>
                </a:cubicBezTo>
                <a:lnTo>
                  <a:pt x="49" y="59"/>
                </a:lnTo>
                <a:close/>
                <a:moveTo>
                  <a:pt x="52" y="59"/>
                </a:moveTo>
                <a:cubicBezTo>
                  <a:pt x="52" y="106"/>
                  <a:pt x="52" y="106"/>
                  <a:pt x="52" y="106"/>
                </a:cubicBezTo>
                <a:cubicBezTo>
                  <a:pt x="115" y="115"/>
                  <a:pt x="115" y="115"/>
                  <a:pt x="115" y="115"/>
                </a:cubicBezTo>
                <a:cubicBezTo>
                  <a:pt x="115" y="59"/>
                  <a:pt x="115" y="59"/>
                  <a:pt x="115" y="59"/>
                </a:cubicBezTo>
                <a:lnTo>
                  <a:pt x="52" y="59"/>
                </a:lnTo>
                <a:close/>
                <a:moveTo>
                  <a:pt x="231" y="23"/>
                </a:moveTo>
                <a:cubicBezTo>
                  <a:pt x="217" y="76"/>
                  <a:pt x="217" y="76"/>
                  <a:pt x="217" y="76"/>
                </a:cubicBezTo>
                <a:cubicBezTo>
                  <a:pt x="216" y="79"/>
                  <a:pt x="215" y="81"/>
                  <a:pt x="215" y="83"/>
                </a:cubicBezTo>
                <a:cubicBezTo>
                  <a:pt x="215" y="83"/>
                  <a:pt x="215" y="83"/>
                  <a:pt x="215" y="83"/>
                </a:cubicBezTo>
                <a:cubicBezTo>
                  <a:pt x="215" y="81"/>
                  <a:pt x="215" y="79"/>
                  <a:pt x="214" y="77"/>
                </a:cubicBezTo>
                <a:cubicBezTo>
                  <a:pt x="199" y="23"/>
                  <a:pt x="199" y="23"/>
                  <a:pt x="199" y="23"/>
                </a:cubicBezTo>
                <a:cubicBezTo>
                  <a:pt x="192" y="23"/>
                  <a:pt x="192" y="23"/>
                  <a:pt x="192" y="23"/>
                </a:cubicBezTo>
                <a:cubicBezTo>
                  <a:pt x="176" y="76"/>
                  <a:pt x="176" y="76"/>
                  <a:pt x="176" y="76"/>
                </a:cubicBezTo>
                <a:cubicBezTo>
                  <a:pt x="175" y="79"/>
                  <a:pt x="175" y="81"/>
                  <a:pt x="175" y="83"/>
                </a:cubicBezTo>
                <a:cubicBezTo>
                  <a:pt x="175" y="83"/>
                  <a:pt x="175" y="83"/>
                  <a:pt x="175" y="83"/>
                </a:cubicBezTo>
                <a:cubicBezTo>
                  <a:pt x="174" y="81"/>
                  <a:pt x="174" y="79"/>
                  <a:pt x="173" y="76"/>
                </a:cubicBezTo>
                <a:cubicBezTo>
                  <a:pt x="159" y="23"/>
                  <a:pt x="159" y="23"/>
                  <a:pt x="159" y="23"/>
                </a:cubicBezTo>
                <a:cubicBezTo>
                  <a:pt x="150" y="23"/>
                  <a:pt x="150" y="23"/>
                  <a:pt x="150" y="23"/>
                </a:cubicBezTo>
                <a:cubicBezTo>
                  <a:pt x="170" y="92"/>
                  <a:pt x="170" y="92"/>
                  <a:pt x="170" y="92"/>
                </a:cubicBezTo>
                <a:cubicBezTo>
                  <a:pt x="179" y="92"/>
                  <a:pt x="179" y="92"/>
                  <a:pt x="179" y="92"/>
                </a:cubicBezTo>
                <a:cubicBezTo>
                  <a:pt x="194" y="42"/>
                  <a:pt x="194" y="42"/>
                  <a:pt x="194" y="42"/>
                </a:cubicBezTo>
                <a:cubicBezTo>
                  <a:pt x="194" y="40"/>
                  <a:pt x="195" y="37"/>
                  <a:pt x="195" y="35"/>
                </a:cubicBezTo>
                <a:cubicBezTo>
                  <a:pt x="195" y="35"/>
                  <a:pt x="195" y="35"/>
                  <a:pt x="195" y="35"/>
                </a:cubicBezTo>
                <a:cubicBezTo>
                  <a:pt x="195" y="38"/>
                  <a:pt x="196" y="40"/>
                  <a:pt x="196" y="42"/>
                </a:cubicBezTo>
                <a:cubicBezTo>
                  <a:pt x="210" y="92"/>
                  <a:pt x="210" y="92"/>
                  <a:pt x="210" y="92"/>
                </a:cubicBezTo>
                <a:cubicBezTo>
                  <a:pt x="220" y="92"/>
                  <a:pt x="220" y="92"/>
                  <a:pt x="220" y="92"/>
                </a:cubicBezTo>
                <a:cubicBezTo>
                  <a:pt x="240" y="23"/>
                  <a:pt x="240" y="23"/>
                  <a:pt x="240" y="23"/>
                </a:cubicBezTo>
                <a:lnTo>
                  <a:pt x="231" y="23"/>
                </a:lnTo>
                <a:close/>
                <a:moveTo>
                  <a:pt x="254" y="23"/>
                </a:moveTo>
                <a:cubicBezTo>
                  <a:pt x="253" y="22"/>
                  <a:pt x="251" y="22"/>
                  <a:pt x="250" y="22"/>
                </a:cubicBezTo>
                <a:cubicBezTo>
                  <a:pt x="248" y="22"/>
                  <a:pt x="247" y="22"/>
                  <a:pt x="246" y="23"/>
                </a:cubicBezTo>
                <a:cubicBezTo>
                  <a:pt x="245" y="24"/>
                  <a:pt x="245" y="25"/>
                  <a:pt x="245" y="27"/>
                </a:cubicBezTo>
                <a:cubicBezTo>
                  <a:pt x="245" y="28"/>
                  <a:pt x="245" y="30"/>
                  <a:pt x="246" y="31"/>
                </a:cubicBezTo>
                <a:cubicBezTo>
                  <a:pt x="247" y="31"/>
                  <a:pt x="249" y="32"/>
                  <a:pt x="250" y="32"/>
                </a:cubicBezTo>
                <a:cubicBezTo>
                  <a:pt x="251" y="32"/>
                  <a:pt x="253" y="31"/>
                  <a:pt x="254" y="30"/>
                </a:cubicBezTo>
                <a:cubicBezTo>
                  <a:pt x="255" y="30"/>
                  <a:pt x="255" y="28"/>
                  <a:pt x="255" y="27"/>
                </a:cubicBezTo>
                <a:cubicBezTo>
                  <a:pt x="255" y="25"/>
                  <a:pt x="255" y="24"/>
                  <a:pt x="254" y="23"/>
                </a:cubicBezTo>
                <a:close/>
                <a:moveTo>
                  <a:pt x="254" y="43"/>
                </a:moveTo>
                <a:cubicBezTo>
                  <a:pt x="246" y="43"/>
                  <a:pt x="246" y="43"/>
                  <a:pt x="246" y="43"/>
                </a:cubicBezTo>
                <a:cubicBezTo>
                  <a:pt x="246" y="92"/>
                  <a:pt x="246" y="92"/>
                  <a:pt x="246" y="92"/>
                </a:cubicBezTo>
                <a:cubicBezTo>
                  <a:pt x="254" y="92"/>
                  <a:pt x="254" y="92"/>
                  <a:pt x="254" y="92"/>
                </a:cubicBezTo>
                <a:lnTo>
                  <a:pt x="254" y="43"/>
                </a:lnTo>
                <a:close/>
                <a:moveTo>
                  <a:pt x="307" y="62"/>
                </a:moveTo>
                <a:cubicBezTo>
                  <a:pt x="307" y="56"/>
                  <a:pt x="305" y="51"/>
                  <a:pt x="302" y="47"/>
                </a:cubicBezTo>
                <a:cubicBezTo>
                  <a:pt x="300" y="44"/>
                  <a:pt x="295" y="42"/>
                  <a:pt x="290" y="42"/>
                </a:cubicBezTo>
                <a:cubicBezTo>
                  <a:pt x="283" y="42"/>
                  <a:pt x="278" y="45"/>
                  <a:pt x="274" y="51"/>
                </a:cubicBezTo>
                <a:cubicBezTo>
                  <a:pt x="274" y="51"/>
                  <a:pt x="274" y="51"/>
                  <a:pt x="274" y="51"/>
                </a:cubicBezTo>
                <a:cubicBezTo>
                  <a:pt x="274" y="43"/>
                  <a:pt x="274" y="43"/>
                  <a:pt x="274" y="43"/>
                </a:cubicBezTo>
                <a:cubicBezTo>
                  <a:pt x="266" y="43"/>
                  <a:pt x="266" y="43"/>
                  <a:pt x="266" y="43"/>
                </a:cubicBezTo>
                <a:cubicBezTo>
                  <a:pt x="266" y="92"/>
                  <a:pt x="266" y="92"/>
                  <a:pt x="266" y="92"/>
                </a:cubicBezTo>
                <a:cubicBezTo>
                  <a:pt x="274" y="92"/>
                  <a:pt x="274" y="92"/>
                  <a:pt x="274" y="92"/>
                </a:cubicBezTo>
                <a:cubicBezTo>
                  <a:pt x="274" y="64"/>
                  <a:pt x="274" y="64"/>
                  <a:pt x="274" y="64"/>
                </a:cubicBezTo>
                <a:cubicBezTo>
                  <a:pt x="274" y="60"/>
                  <a:pt x="275" y="56"/>
                  <a:pt x="278" y="53"/>
                </a:cubicBezTo>
                <a:cubicBezTo>
                  <a:pt x="280" y="50"/>
                  <a:pt x="283" y="49"/>
                  <a:pt x="287" y="49"/>
                </a:cubicBezTo>
                <a:cubicBezTo>
                  <a:pt x="295" y="49"/>
                  <a:pt x="299" y="54"/>
                  <a:pt x="299" y="64"/>
                </a:cubicBezTo>
                <a:cubicBezTo>
                  <a:pt x="299" y="92"/>
                  <a:pt x="299" y="92"/>
                  <a:pt x="299" y="92"/>
                </a:cubicBezTo>
                <a:cubicBezTo>
                  <a:pt x="307" y="92"/>
                  <a:pt x="307" y="92"/>
                  <a:pt x="307" y="92"/>
                </a:cubicBezTo>
                <a:lnTo>
                  <a:pt x="307" y="62"/>
                </a:lnTo>
                <a:close/>
                <a:moveTo>
                  <a:pt x="362" y="19"/>
                </a:moveTo>
                <a:cubicBezTo>
                  <a:pt x="354" y="19"/>
                  <a:pt x="354" y="19"/>
                  <a:pt x="354" y="19"/>
                </a:cubicBezTo>
                <a:cubicBezTo>
                  <a:pt x="354" y="50"/>
                  <a:pt x="354" y="50"/>
                  <a:pt x="354" y="50"/>
                </a:cubicBezTo>
                <a:cubicBezTo>
                  <a:pt x="353" y="50"/>
                  <a:pt x="353" y="50"/>
                  <a:pt x="353" y="50"/>
                </a:cubicBezTo>
                <a:cubicBezTo>
                  <a:pt x="350" y="44"/>
                  <a:pt x="345" y="42"/>
                  <a:pt x="339" y="42"/>
                </a:cubicBezTo>
                <a:cubicBezTo>
                  <a:pt x="332" y="42"/>
                  <a:pt x="326" y="44"/>
                  <a:pt x="322" y="49"/>
                </a:cubicBezTo>
                <a:cubicBezTo>
                  <a:pt x="318" y="54"/>
                  <a:pt x="316" y="61"/>
                  <a:pt x="316" y="69"/>
                </a:cubicBezTo>
                <a:cubicBezTo>
                  <a:pt x="316" y="76"/>
                  <a:pt x="318" y="82"/>
                  <a:pt x="322" y="87"/>
                </a:cubicBezTo>
                <a:cubicBezTo>
                  <a:pt x="325" y="91"/>
                  <a:pt x="330" y="94"/>
                  <a:pt x="337" y="94"/>
                </a:cubicBezTo>
                <a:cubicBezTo>
                  <a:pt x="344" y="94"/>
                  <a:pt x="350" y="90"/>
                  <a:pt x="353" y="84"/>
                </a:cubicBezTo>
                <a:cubicBezTo>
                  <a:pt x="354" y="84"/>
                  <a:pt x="354" y="84"/>
                  <a:pt x="354" y="84"/>
                </a:cubicBezTo>
                <a:cubicBezTo>
                  <a:pt x="354" y="92"/>
                  <a:pt x="354" y="92"/>
                  <a:pt x="354" y="92"/>
                </a:cubicBezTo>
                <a:cubicBezTo>
                  <a:pt x="362" y="92"/>
                  <a:pt x="362" y="92"/>
                  <a:pt x="362" y="92"/>
                </a:cubicBezTo>
                <a:lnTo>
                  <a:pt x="362" y="19"/>
                </a:lnTo>
                <a:close/>
                <a:moveTo>
                  <a:pt x="349" y="82"/>
                </a:moveTo>
                <a:cubicBezTo>
                  <a:pt x="347" y="85"/>
                  <a:pt x="343" y="87"/>
                  <a:pt x="339" y="87"/>
                </a:cubicBezTo>
                <a:cubicBezTo>
                  <a:pt x="334" y="87"/>
                  <a:pt x="331" y="85"/>
                  <a:pt x="328" y="82"/>
                </a:cubicBezTo>
                <a:cubicBezTo>
                  <a:pt x="325" y="79"/>
                  <a:pt x="324" y="74"/>
                  <a:pt x="324" y="68"/>
                </a:cubicBezTo>
                <a:cubicBezTo>
                  <a:pt x="324" y="62"/>
                  <a:pt x="326" y="57"/>
                  <a:pt x="328" y="54"/>
                </a:cubicBezTo>
                <a:cubicBezTo>
                  <a:pt x="331" y="50"/>
                  <a:pt x="335" y="49"/>
                  <a:pt x="340" y="49"/>
                </a:cubicBezTo>
                <a:cubicBezTo>
                  <a:pt x="344" y="49"/>
                  <a:pt x="347" y="50"/>
                  <a:pt x="350" y="53"/>
                </a:cubicBezTo>
                <a:cubicBezTo>
                  <a:pt x="352" y="55"/>
                  <a:pt x="354" y="59"/>
                  <a:pt x="354" y="63"/>
                </a:cubicBezTo>
                <a:cubicBezTo>
                  <a:pt x="354" y="70"/>
                  <a:pt x="354" y="70"/>
                  <a:pt x="354" y="70"/>
                </a:cubicBezTo>
                <a:cubicBezTo>
                  <a:pt x="354" y="75"/>
                  <a:pt x="352" y="79"/>
                  <a:pt x="349" y="82"/>
                </a:cubicBezTo>
                <a:close/>
                <a:moveTo>
                  <a:pt x="414" y="49"/>
                </a:moveTo>
                <a:cubicBezTo>
                  <a:pt x="410" y="44"/>
                  <a:pt x="404" y="42"/>
                  <a:pt x="396" y="42"/>
                </a:cubicBezTo>
                <a:cubicBezTo>
                  <a:pt x="389" y="42"/>
                  <a:pt x="383" y="44"/>
                  <a:pt x="378" y="49"/>
                </a:cubicBezTo>
                <a:cubicBezTo>
                  <a:pt x="374" y="54"/>
                  <a:pt x="371" y="60"/>
                  <a:pt x="371" y="68"/>
                </a:cubicBezTo>
                <a:cubicBezTo>
                  <a:pt x="371" y="76"/>
                  <a:pt x="374" y="82"/>
                  <a:pt x="378" y="87"/>
                </a:cubicBezTo>
                <a:cubicBezTo>
                  <a:pt x="382" y="91"/>
                  <a:pt x="388" y="94"/>
                  <a:pt x="395" y="94"/>
                </a:cubicBezTo>
                <a:cubicBezTo>
                  <a:pt x="403" y="94"/>
                  <a:pt x="409" y="91"/>
                  <a:pt x="413" y="86"/>
                </a:cubicBezTo>
                <a:cubicBezTo>
                  <a:pt x="418" y="82"/>
                  <a:pt x="420" y="75"/>
                  <a:pt x="420" y="68"/>
                </a:cubicBezTo>
                <a:cubicBezTo>
                  <a:pt x="420" y="60"/>
                  <a:pt x="418" y="53"/>
                  <a:pt x="414" y="49"/>
                </a:cubicBezTo>
                <a:close/>
                <a:moveTo>
                  <a:pt x="408" y="82"/>
                </a:moveTo>
                <a:cubicBezTo>
                  <a:pt x="405" y="85"/>
                  <a:pt x="401" y="87"/>
                  <a:pt x="396" y="87"/>
                </a:cubicBezTo>
                <a:cubicBezTo>
                  <a:pt x="391" y="87"/>
                  <a:pt x="387" y="85"/>
                  <a:pt x="384" y="82"/>
                </a:cubicBezTo>
                <a:cubicBezTo>
                  <a:pt x="381" y="79"/>
                  <a:pt x="379" y="74"/>
                  <a:pt x="379" y="68"/>
                </a:cubicBezTo>
                <a:cubicBezTo>
                  <a:pt x="379" y="62"/>
                  <a:pt x="381" y="57"/>
                  <a:pt x="384" y="54"/>
                </a:cubicBezTo>
                <a:cubicBezTo>
                  <a:pt x="387" y="50"/>
                  <a:pt x="391" y="49"/>
                  <a:pt x="396" y="49"/>
                </a:cubicBezTo>
                <a:cubicBezTo>
                  <a:pt x="401" y="49"/>
                  <a:pt x="405" y="50"/>
                  <a:pt x="408" y="54"/>
                </a:cubicBezTo>
                <a:cubicBezTo>
                  <a:pt x="410" y="57"/>
                  <a:pt x="412" y="62"/>
                  <a:pt x="412" y="68"/>
                </a:cubicBezTo>
                <a:cubicBezTo>
                  <a:pt x="412" y="74"/>
                  <a:pt x="410" y="79"/>
                  <a:pt x="408" y="82"/>
                </a:cubicBezTo>
                <a:close/>
                <a:moveTo>
                  <a:pt x="484" y="43"/>
                </a:moveTo>
                <a:cubicBezTo>
                  <a:pt x="474" y="80"/>
                  <a:pt x="474" y="80"/>
                  <a:pt x="474" y="80"/>
                </a:cubicBezTo>
                <a:cubicBezTo>
                  <a:pt x="474" y="82"/>
                  <a:pt x="473" y="83"/>
                  <a:pt x="473" y="85"/>
                </a:cubicBezTo>
                <a:cubicBezTo>
                  <a:pt x="473" y="85"/>
                  <a:pt x="473" y="85"/>
                  <a:pt x="473" y="85"/>
                </a:cubicBezTo>
                <a:cubicBezTo>
                  <a:pt x="473" y="83"/>
                  <a:pt x="472" y="81"/>
                  <a:pt x="472" y="80"/>
                </a:cubicBezTo>
                <a:cubicBezTo>
                  <a:pt x="462" y="43"/>
                  <a:pt x="462" y="43"/>
                  <a:pt x="462" y="43"/>
                </a:cubicBezTo>
                <a:cubicBezTo>
                  <a:pt x="455" y="43"/>
                  <a:pt x="455" y="43"/>
                  <a:pt x="455" y="43"/>
                </a:cubicBezTo>
                <a:cubicBezTo>
                  <a:pt x="443" y="80"/>
                  <a:pt x="443" y="80"/>
                  <a:pt x="443" y="80"/>
                </a:cubicBezTo>
                <a:cubicBezTo>
                  <a:pt x="443" y="82"/>
                  <a:pt x="442" y="83"/>
                  <a:pt x="442" y="85"/>
                </a:cubicBezTo>
                <a:cubicBezTo>
                  <a:pt x="442" y="85"/>
                  <a:pt x="442" y="85"/>
                  <a:pt x="442" y="85"/>
                </a:cubicBezTo>
                <a:cubicBezTo>
                  <a:pt x="442" y="83"/>
                  <a:pt x="442" y="81"/>
                  <a:pt x="441" y="80"/>
                </a:cubicBezTo>
                <a:cubicBezTo>
                  <a:pt x="431" y="43"/>
                  <a:pt x="431" y="43"/>
                  <a:pt x="431" y="43"/>
                </a:cubicBezTo>
                <a:cubicBezTo>
                  <a:pt x="423" y="43"/>
                  <a:pt x="423" y="43"/>
                  <a:pt x="423" y="43"/>
                </a:cubicBezTo>
                <a:cubicBezTo>
                  <a:pt x="438" y="92"/>
                  <a:pt x="438" y="92"/>
                  <a:pt x="438" y="92"/>
                </a:cubicBezTo>
                <a:cubicBezTo>
                  <a:pt x="446" y="92"/>
                  <a:pt x="446" y="92"/>
                  <a:pt x="446" y="92"/>
                </a:cubicBezTo>
                <a:cubicBezTo>
                  <a:pt x="457" y="57"/>
                  <a:pt x="457" y="57"/>
                  <a:pt x="457" y="57"/>
                </a:cubicBezTo>
                <a:cubicBezTo>
                  <a:pt x="457" y="55"/>
                  <a:pt x="458" y="54"/>
                  <a:pt x="458" y="53"/>
                </a:cubicBezTo>
                <a:cubicBezTo>
                  <a:pt x="458" y="53"/>
                  <a:pt x="458" y="53"/>
                  <a:pt x="458" y="53"/>
                </a:cubicBezTo>
                <a:cubicBezTo>
                  <a:pt x="458" y="54"/>
                  <a:pt x="458" y="56"/>
                  <a:pt x="459" y="57"/>
                </a:cubicBezTo>
                <a:cubicBezTo>
                  <a:pt x="469" y="92"/>
                  <a:pt x="469" y="92"/>
                  <a:pt x="469" y="92"/>
                </a:cubicBezTo>
                <a:cubicBezTo>
                  <a:pt x="477" y="92"/>
                  <a:pt x="477" y="92"/>
                  <a:pt x="477" y="92"/>
                </a:cubicBezTo>
                <a:cubicBezTo>
                  <a:pt x="492" y="43"/>
                  <a:pt x="492" y="43"/>
                  <a:pt x="492" y="43"/>
                </a:cubicBezTo>
                <a:lnTo>
                  <a:pt x="484" y="43"/>
                </a:lnTo>
                <a:close/>
                <a:moveTo>
                  <a:pt x="523" y="71"/>
                </a:moveTo>
                <a:cubicBezTo>
                  <a:pt x="521" y="69"/>
                  <a:pt x="517" y="67"/>
                  <a:pt x="513" y="65"/>
                </a:cubicBezTo>
                <a:cubicBezTo>
                  <a:pt x="509" y="63"/>
                  <a:pt x="506" y="62"/>
                  <a:pt x="505" y="60"/>
                </a:cubicBezTo>
                <a:cubicBezTo>
                  <a:pt x="504" y="59"/>
                  <a:pt x="503" y="58"/>
                  <a:pt x="503" y="55"/>
                </a:cubicBezTo>
                <a:cubicBezTo>
                  <a:pt x="503" y="53"/>
                  <a:pt x="504" y="52"/>
                  <a:pt x="506" y="50"/>
                </a:cubicBezTo>
                <a:cubicBezTo>
                  <a:pt x="507" y="49"/>
                  <a:pt x="509" y="49"/>
                  <a:pt x="512" y="49"/>
                </a:cubicBezTo>
                <a:cubicBezTo>
                  <a:pt x="516" y="49"/>
                  <a:pt x="520" y="50"/>
                  <a:pt x="523" y="52"/>
                </a:cubicBezTo>
                <a:cubicBezTo>
                  <a:pt x="523" y="44"/>
                  <a:pt x="523" y="44"/>
                  <a:pt x="523" y="44"/>
                </a:cubicBezTo>
                <a:cubicBezTo>
                  <a:pt x="520" y="43"/>
                  <a:pt x="517" y="42"/>
                  <a:pt x="513" y="42"/>
                </a:cubicBezTo>
                <a:cubicBezTo>
                  <a:pt x="508" y="42"/>
                  <a:pt x="503" y="43"/>
                  <a:pt x="500" y="46"/>
                </a:cubicBezTo>
                <a:cubicBezTo>
                  <a:pt x="497" y="49"/>
                  <a:pt x="495" y="52"/>
                  <a:pt x="495" y="56"/>
                </a:cubicBezTo>
                <a:cubicBezTo>
                  <a:pt x="495" y="60"/>
                  <a:pt x="496" y="62"/>
                  <a:pt x="498" y="65"/>
                </a:cubicBezTo>
                <a:cubicBezTo>
                  <a:pt x="500" y="67"/>
                  <a:pt x="503" y="69"/>
                  <a:pt x="507" y="71"/>
                </a:cubicBezTo>
                <a:cubicBezTo>
                  <a:pt x="512" y="73"/>
                  <a:pt x="514" y="74"/>
                  <a:pt x="516" y="75"/>
                </a:cubicBezTo>
                <a:cubicBezTo>
                  <a:pt x="517" y="77"/>
                  <a:pt x="517" y="78"/>
                  <a:pt x="517" y="80"/>
                </a:cubicBezTo>
                <a:cubicBezTo>
                  <a:pt x="517" y="85"/>
                  <a:pt x="514" y="87"/>
                  <a:pt x="508" y="87"/>
                </a:cubicBezTo>
                <a:cubicBezTo>
                  <a:pt x="503" y="87"/>
                  <a:pt x="499" y="85"/>
                  <a:pt x="495" y="82"/>
                </a:cubicBezTo>
                <a:cubicBezTo>
                  <a:pt x="495" y="91"/>
                  <a:pt x="495" y="91"/>
                  <a:pt x="495" y="91"/>
                </a:cubicBezTo>
                <a:cubicBezTo>
                  <a:pt x="499" y="93"/>
                  <a:pt x="503" y="94"/>
                  <a:pt x="507" y="94"/>
                </a:cubicBezTo>
                <a:cubicBezTo>
                  <a:pt x="513" y="94"/>
                  <a:pt x="517" y="92"/>
                  <a:pt x="521" y="90"/>
                </a:cubicBezTo>
                <a:cubicBezTo>
                  <a:pt x="524" y="87"/>
                  <a:pt x="526" y="83"/>
                  <a:pt x="526" y="79"/>
                </a:cubicBezTo>
                <a:cubicBezTo>
                  <a:pt x="526" y="76"/>
                  <a:pt x="525" y="73"/>
                  <a:pt x="523" y="71"/>
                </a:cubicBezTo>
                <a:close/>
              </a:path>
            </a:pathLst>
          </a:custGeom>
          <a:solidFill>
            <a:schemeClr val="tx1"/>
          </a:solidFill>
          <a:ln>
            <a:noFill/>
          </a:ln>
        </p:spPr>
        <p:txBody>
          <a:bodyPr vert="horz" wrap="square" lIns="87867" tIns="43934" rIns="87867" bIns="43934" numCol="1" anchor="t" anchorCtr="0" compatLnSpc="1">
            <a:prstTxWarp prst="textNoShape">
              <a:avLst/>
            </a:prstTxWarp>
          </a:bodyPr>
          <a:lstStyle/>
          <a:p>
            <a:pPr defTabSz="896182">
              <a:lnSpc>
                <a:spcPct val="90000"/>
              </a:lnSpc>
              <a:defRPr/>
            </a:pPr>
            <a:endParaRPr lang="en-US" sz="1730" kern="0">
              <a:gradFill>
                <a:gsLst>
                  <a:gs pos="93162">
                    <a:srgbClr val="505050">
                      <a:lumMod val="50000"/>
                    </a:srgbClr>
                  </a:gs>
                  <a:gs pos="68000">
                    <a:srgbClr val="505050">
                      <a:lumMod val="50000"/>
                    </a:srgbClr>
                  </a:gs>
                </a:gsLst>
                <a:lin ang="5400000" scaled="0"/>
              </a:gradFill>
            </a:endParaRPr>
          </a:p>
        </p:txBody>
      </p:sp>
      <p:sp>
        <p:nvSpPr>
          <p:cNvPr id="99" name="Freeform 11"/>
          <p:cNvSpPr>
            <a:spLocks noEditPoints="1"/>
          </p:cNvSpPr>
          <p:nvPr/>
        </p:nvSpPr>
        <p:spPr bwMode="black">
          <a:xfrm>
            <a:off x="10220179" y="5959437"/>
            <a:ext cx="171976" cy="178990"/>
          </a:xfrm>
          <a:custGeom>
            <a:avLst/>
            <a:gdLst>
              <a:gd name="T0" fmla="*/ 574 w 618"/>
              <a:gd name="T1" fmla="*/ 227 h 723"/>
              <a:gd name="T2" fmla="*/ 530 w 618"/>
              <a:gd name="T3" fmla="*/ 272 h 723"/>
              <a:gd name="T4" fmla="*/ 530 w 618"/>
              <a:gd name="T5" fmla="*/ 446 h 723"/>
              <a:gd name="T6" fmla="*/ 574 w 618"/>
              <a:gd name="T7" fmla="*/ 491 h 723"/>
              <a:gd name="T8" fmla="*/ 618 w 618"/>
              <a:gd name="T9" fmla="*/ 446 h 723"/>
              <a:gd name="T10" fmla="*/ 618 w 618"/>
              <a:gd name="T11" fmla="*/ 272 h 723"/>
              <a:gd name="T12" fmla="*/ 574 w 618"/>
              <a:gd name="T13" fmla="*/ 227 h 723"/>
              <a:gd name="T14" fmla="*/ 44 w 618"/>
              <a:gd name="T15" fmla="*/ 227 h 723"/>
              <a:gd name="T16" fmla="*/ 0 w 618"/>
              <a:gd name="T17" fmla="*/ 272 h 723"/>
              <a:gd name="T18" fmla="*/ 0 w 618"/>
              <a:gd name="T19" fmla="*/ 446 h 723"/>
              <a:gd name="T20" fmla="*/ 44 w 618"/>
              <a:gd name="T21" fmla="*/ 491 h 723"/>
              <a:gd name="T22" fmla="*/ 88 w 618"/>
              <a:gd name="T23" fmla="*/ 446 h 723"/>
              <a:gd name="T24" fmla="*/ 88 w 618"/>
              <a:gd name="T25" fmla="*/ 272 h 723"/>
              <a:gd name="T26" fmla="*/ 44 w 618"/>
              <a:gd name="T27" fmla="*/ 227 h 723"/>
              <a:gd name="T28" fmla="*/ 505 w 618"/>
              <a:gd name="T29" fmla="*/ 228 h 723"/>
              <a:gd name="T30" fmla="*/ 505 w 618"/>
              <a:gd name="T31" fmla="*/ 547 h 723"/>
              <a:gd name="T32" fmla="*/ 471 w 618"/>
              <a:gd name="T33" fmla="*/ 581 h 723"/>
              <a:gd name="T34" fmla="*/ 432 w 618"/>
              <a:gd name="T35" fmla="*/ 581 h 723"/>
              <a:gd name="T36" fmla="*/ 432 w 618"/>
              <a:gd name="T37" fmla="*/ 678 h 723"/>
              <a:gd name="T38" fmla="*/ 388 w 618"/>
              <a:gd name="T39" fmla="*/ 723 h 723"/>
              <a:gd name="T40" fmla="*/ 344 w 618"/>
              <a:gd name="T41" fmla="*/ 678 h 723"/>
              <a:gd name="T42" fmla="*/ 344 w 618"/>
              <a:gd name="T43" fmla="*/ 581 h 723"/>
              <a:gd name="T44" fmla="*/ 276 w 618"/>
              <a:gd name="T45" fmla="*/ 581 h 723"/>
              <a:gd name="T46" fmla="*/ 276 w 618"/>
              <a:gd name="T47" fmla="*/ 678 h 723"/>
              <a:gd name="T48" fmla="*/ 232 w 618"/>
              <a:gd name="T49" fmla="*/ 723 h 723"/>
              <a:gd name="T50" fmla="*/ 188 w 618"/>
              <a:gd name="T51" fmla="*/ 678 h 723"/>
              <a:gd name="T52" fmla="*/ 188 w 618"/>
              <a:gd name="T53" fmla="*/ 581 h 723"/>
              <a:gd name="T54" fmla="*/ 149 w 618"/>
              <a:gd name="T55" fmla="*/ 581 h 723"/>
              <a:gd name="T56" fmla="*/ 115 w 618"/>
              <a:gd name="T57" fmla="*/ 547 h 723"/>
              <a:gd name="T58" fmla="*/ 115 w 618"/>
              <a:gd name="T59" fmla="*/ 228 h 723"/>
              <a:gd name="T60" fmla="*/ 505 w 618"/>
              <a:gd name="T61" fmla="*/ 228 h 723"/>
              <a:gd name="T62" fmla="*/ 402 w 618"/>
              <a:gd name="T63" fmla="*/ 63 h 723"/>
              <a:gd name="T64" fmla="*/ 438 w 618"/>
              <a:gd name="T65" fmla="*/ 11 h 723"/>
              <a:gd name="T66" fmla="*/ 437 w 618"/>
              <a:gd name="T67" fmla="*/ 2 h 723"/>
              <a:gd name="T68" fmla="*/ 428 w 618"/>
              <a:gd name="T69" fmla="*/ 4 h 723"/>
              <a:gd name="T70" fmla="*/ 390 w 618"/>
              <a:gd name="T71" fmla="*/ 59 h 723"/>
              <a:gd name="T72" fmla="*/ 309 w 618"/>
              <a:gd name="T73" fmla="*/ 43 h 723"/>
              <a:gd name="T74" fmla="*/ 228 w 618"/>
              <a:gd name="T75" fmla="*/ 59 h 723"/>
              <a:gd name="T76" fmla="*/ 190 w 618"/>
              <a:gd name="T77" fmla="*/ 4 h 723"/>
              <a:gd name="T78" fmla="*/ 181 w 618"/>
              <a:gd name="T79" fmla="*/ 2 h 723"/>
              <a:gd name="T80" fmla="*/ 180 w 618"/>
              <a:gd name="T81" fmla="*/ 11 h 723"/>
              <a:gd name="T82" fmla="*/ 216 w 618"/>
              <a:gd name="T83" fmla="*/ 63 h 723"/>
              <a:gd name="T84" fmla="*/ 114 w 618"/>
              <a:gd name="T85" fmla="*/ 200 h 723"/>
              <a:gd name="T86" fmla="*/ 504 w 618"/>
              <a:gd name="T87" fmla="*/ 200 h 723"/>
              <a:gd name="T88" fmla="*/ 402 w 618"/>
              <a:gd name="T89" fmla="*/ 63 h 723"/>
              <a:gd name="T90" fmla="*/ 227 w 618"/>
              <a:gd name="T91" fmla="*/ 146 h 723"/>
              <a:gd name="T92" fmla="*/ 205 w 618"/>
              <a:gd name="T93" fmla="*/ 124 h 723"/>
              <a:gd name="T94" fmla="*/ 227 w 618"/>
              <a:gd name="T95" fmla="*/ 103 h 723"/>
              <a:gd name="T96" fmla="*/ 248 w 618"/>
              <a:gd name="T97" fmla="*/ 124 h 723"/>
              <a:gd name="T98" fmla="*/ 227 w 618"/>
              <a:gd name="T99" fmla="*/ 146 h 723"/>
              <a:gd name="T100" fmla="*/ 394 w 618"/>
              <a:gd name="T101" fmla="*/ 146 h 723"/>
              <a:gd name="T102" fmla="*/ 373 w 618"/>
              <a:gd name="T103" fmla="*/ 124 h 723"/>
              <a:gd name="T104" fmla="*/ 394 w 618"/>
              <a:gd name="T105" fmla="*/ 103 h 723"/>
              <a:gd name="T106" fmla="*/ 416 w 618"/>
              <a:gd name="T107" fmla="*/ 124 h 723"/>
              <a:gd name="T108" fmla="*/ 394 w 618"/>
              <a:gd name="T109" fmla="*/ 146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8" h="723">
                <a:moveTo>
                  <a:pt x="574" y="227"/>
                </a:moveTo>
                <a:cubicBezTo>
                  <a:pt x="550" y="227"/>
                  <a:pt x="530" y="247"/>
                  <a:pt x="530" y="272"/>
                </a:cubicBezTo>
                <a:cubicBezTo>
                  <a:pt x="530" y="446"/>
                  <a:pt x="530" y="446"/>
                  <a:pt x="530" y="446"/>
                </a:cubicBezTo>
                <a:cubicBezTo>
                  <a:pt x="530" y="471"/>
                  <a:pt x="550" y="491"/>
                  <a:pt x="574" y="491"/>
                </a:cubicBezTo>
                <a:cubicBezTo>
                  <a:pt x="598" y="491"/>
                  <a:pt x="618" y="471"/>
                  <a:pt x="618" y="446"/>
                </a:cubicBezTo>
                <a:cubicBezTo>
                  <a:pt x="618" y="272"/>
                  <a:pt x="618" y="272"/>
                  <a:pt x="618" y="272"/>
                </a:cubicBezTo>
                <a:cubicBezTo>
                  <a:pt x="618" y="247"/>
                  <a:pt x="598" y="227"/>
                  <a:pt x="574" y="227"/>
                </a:cubicBezTo>
                <a:close/>
                <a:moveTo>
                  <a:pt x="44" y="227"/>
                </a:moveTo>
                <a:cubicBezTo>
                  <a:pt x="20" y="227"/>
                  <a:pt x="0" y="247"/>
                  <a:pt x="0" y="272"/>
                </a:cubicBezTo>
                <a:cubicBezTo>
                  <a:pt x="0" y="446"/>
                  <a:pt x="0" y="446"/>
                  <a:pt x="0" y="446"/>
                </a:cubicBezTo>
                <a:cubicBezTo>
                  <a:pt x="0" y="471"/>
                  <a:pt x="20" y="491"/>
                  <a:pt x="44" y="491"/>
                </a:cubicBezTo>
                <a:cubicBezTo>
                  <a:pt x="68" y="491"/>
                  <a:pt x="88" y="471"/>
                  <a:pt x="88" y="446"/>
                </a:cubicBezTo>
                <a:cubicBezTo>
                  <a:pt x="88" y="272"/>
                  <a:pt x="88" y="272"/>
                  <a:pt x="88" y="272"/>
                </a:cubicBezTo>
                <a:cubicBezTo>
                  <a:pt x="88" y="247"/>
                  <a:pt x="68" y="227"/>
                  <a:pt x="44" y="227"/>
                </a:cubicBezTo>
                <a:close/>
                <a:moveTo>
                  <a:pt x="505" y="228"/>
                </a:moveTo>
                <a:cubicBezTo>
                  <a:pt x="505" y="547"/>
                  <a:pt x="505" y="547"/>
                  <a:pt x="505" y="547"/>
                </a:cubicBezTo>
                <a:cubicBezTo>
                  <a:pt x="505" y="566"/>
                  <a:pt x="490" y="581"/>
                  <a:pt x="471" y="581"/>
                </a:cubicBezTo>
                <a:cubicBezTo>
                  <a:pt x="432" y="581"/>
                  <a:pt x="432" y="581"/>
                  <a:pt x="432" y="581"/>
                </a:cubicBezTo>
                <a:cubicBezTo>
                  <a:pt x="432" y="678"/>
                  <a:pt x="432" y="678"/>
                  <a:pt x="432" y="678"/>
                </a:cubicBezTo>
                <a:cubicBezTo>
                  <a:pt x="432" y="703"/>
                  <a:pt x="412" y="723"/>
                  <a:pt x="388" y="723"/>
                </a:cubicBezTo>
                <a:cubicBezTo>
                  <a:pt x="364" y="723"/>
                  <a:pt x="344" y="703"/>
                  <a:pt x="344" y="678"/>
                </a:cubicBezTo>
                <a:cubicBezTo>
                  <a:pt x="344" y="581"/>
                  <a:pt x="344" y="581"/>
                  <a:pt x="344" y="581"/>
                </a:cubicBezTo>
                <a:cubicBezTo>
                  <a:pt x="276" y="581"/>
                  <a:pt x="276" y="581"/>
                  <a:pt x="276" y="581"/>
                </a:cubicBezTo>
                <a:cubicBezTo>
                  <a:pt x="276" y="678"/>
                  <a:pt x="276" y="678"/>
                  <a:pt x="276" y="678"/>
                </a:cubicBezTo>
                <a:cubicBezTo>
                  <a:pt x="276" y="703"/>
                  <a:pt x="256" y="723"/>
                  <a:pt x="232" y="723"/>
                </a:cubicBezTo>
                <a:cubicBezTo>
                  <a:pt x="208" y="723"/>
                  <a:pt x="188" y="703"/>
                  <a:pt x="188" y="678"/>
                </a:cubicBezTo>
                <a:cubicBezTo>
                  <a:pt x="188" y="581"/>
                  <a:pt x="188" y="581"/>
                  <a:pt x="188" y="581"/>
                </a:cubicBezTo>
                <a:cubicBezTo>
                  <a:pt x="149" y="581"/>
                  <a:pt x="149" y="581"/>
                  <a:pt x="149" y="581"/>
                </a:cubicBezTo>
                <a:cubicBezTo>
                  <a:pt x="130" y="581"/>
                  <a:pt x="115" y="566"/>
                  <a:pt x="115" y="547"/>
                </a:cubicBezTo>
                <a:cubicBezTo>
                  <a:pt x="115" y="228"/>
                  <a:pt x="115" y="228"/>
                  <a:pt x="115" y="228"/>
                </a:cubicBezTo>
                <a:lnTo>
                  <a:pt x="505" y="228"/>
                </a:lnTo>
                <a:close/>
                <a:moveTo>
                  <a:pt x="402" y="63"/>
                </a:moveTo>
                <a:cubicBezTo>
                  <a:pt x="438" y="11"/>
                  <a:pt x="438" y="11"/>
                  <a:pt x="438" y="11"/>
                </a:cubicBezTo>
                <a:cubicBezTo>
                  <a:pt x="440" y="8"/>
                  <a:pt x="439" y="4"/>
                  <a:pt x="437" y="2"/>
                </a:cubicBezTo>
                <a:cubicBezTo>
                  <a:pt x="434" y="0"/>
                  <a:pt x="430" y="1"/>
                  <a:pt x="428" y="4"/>
                </a:cubicBezTo>
                <a:cubicBezTo>
                  <a:pt x="390" y="59"/>
                  <a:pt x="390" y="59"/>
                  <a:pt x="390" y="59"/>
                </a:cubicBezTo>
                <a:cubicBezTo>
                  <a:pt x="365" y="49"/>
                  <a:pt x="338" y="43"/>
                  <a:pt x="309" y="43"/>
                </a:cubicBezTo>
                <a:cubicBezTo>
                  <a:pt x="280" y="43"/>
                  <a:pt x="253" y="49"/>
                  <a:pt x="228" y="59"/>
                </a:cubicBezTo>
                <a:cubicBezTo>
                  <a:pt x="190" y="4"/>
                  <a:pt x="190" y="4"/>
                  <a:pt x="190" y="4"/>
                </a:cubicBezTo>
                <a:cubicBezTo>
                  <a:pt x="188" y="1"/>
                  <a:pt x="184" y="0"/>
                  <a:pt x="181" y="2"/>
                </a:cubicBezTo>
                <a:cubicBezTo>
                  <a:pt x="179" y="4"/>
                  <a:pt x="178" y="8"/>
                  <a:pt x="180" y="11"/>
                </a:cubicBezTo>
                <a:cubicBezTo>
                  <a:pt x="216" y="63"/>
                  <a:pt x="216" y="63"/>
                  <a:pt x="216" y="63"/>
                </a:cubicBezTo>
                <a:cubicBezTo>
                  <a:pt x="159" y="90"/>
                  <a:pt x="119" y="141"/>
                  <a:pt x="114" y="200"/>
                </a:cubicBezTo>
                <a:cubicBezTo>
                  <a:pt x="504" y="200"/>
                  <a:pt x="504" y="200"/>
                  <a:pt x="504" y="200"/>
                </a:cubicBezTo>
                <a:cubicBezTo>
                  <a:pt x="499" y="141"/>
                  <a:pt x="459" y="90"/>
                  <a:pt x="402" y="63"/>
                </a:cubicBezTo>
                <a:close/>
                <a:moveTo>
                  <a:pt x="227" y="146"/>
                </a:moveTo>
                <a:cubicBezTo>
                  <a:pt x="215" y="146"/>
                  <a:pt x="205" y="136"/>
                  <a:pt x="205" y="124"/>
                </a:cubicBezTo>
                <a:cubicBezTo>
                  <a:pt x="205" y="113"/>
                  <a:pt x="215" y="103"/>
                  <a:pt x="227" y="103"/>
                </a:cubicBezTo>
                <a:cubicBezTo>
                  <a:pt x="239" y="103"/>
                  <a:pt x="248" y="113"/>
                  <a:pt x="248" y="124"/>
                </a:cubicBezTo>
                <a:cubicBezTo>
                  <a:pt x="248" y="136"/>
                  <a:pt x="239" y="146"/>
                  <a:pt x="227" y="146"/>
                </a:cubicBezTo>
                <a:close/>
                <a:moveTo>
                  <a:pt x="394" y="146"/>
                </a:moveTo>
                <a:cubicBezTo>
                  <a:pt x="382" y="146"/>
                  <a:pt x="373" y="136"/>
                  <a:pt x="373" y="124"/>
                </a:cubicBezTo>
                <a:cubicBezTo>
                  <a:pt x="373" y="113"/>
                  <a:pt x="382" y="103"/>
                  <a:pt x="394" y="103"/>
                </a:cubicBezTo>
                <a:cubicBezTo>
                  <a:pt x="406" y="103"/>
                  <a:pt x="416" y="113"/>
                  <a:pt x="416" y="124"/>
                </a:cubicBezTo>
                <a:cubicBezTo>
                  <a:pt x="416" y="136"/>
                  <a:pt x="406" y="146"/>
                  <a:pt x="394" y="146"/>
                </a:cubicBezTo>
                <a:close/>
              </a:path>
            </a:pathLst>
          </a:custGeom>
          <a:solidFill>
            <a:schemeClr val="tx1"/>
          </a:solidFill>
          <a:ln>
            <a:noFill/>
          </a:ln>
        </p:spPr>
        <p:txBody>
          <a:bodyPr vert="horz" wrap="square" lIns="87867" tIns="43934" rIns="87867" bIns="43934" numCol="1" anchor="t" anchorCtr="0" compatLnSpc="1">
            <a:prstTxWarp prst="textNoShape">
              <a:avLst/>
            </a:prstTxWarp>
          </a:bodyPr>
          <a:lstStyle/>
          <a:p>
            <a:pPr defTabSz="896182">
              <a:lnSpc>
                <a:spcPct val="90000"/>
              </a:lnSpc>
              <a:defRPr/>
            </a:pPr>
            <a:endParaRPr lang="en-US" sz="1730" kern="0">
              <a:gradFill>
                <a:gsLst>
                  <a:gs pos="93162">
                    <a:srgbClr val="505050">
                      <a:lumMod val="50000"/>
                    </a:srgbClr>
                  </a:gs>
                  <a:gs pos="68000">
                    <a:srgbClr val="505050">
                      <a:lumMod val="50000"/>
                    </a:srgbClr>
                  </a:gs>
                </a:gsLst>
                <a:lin ang="5400000" scaled="0"/>
              </a:gradFill>
            </a:endParaRPr>
          </a:p>
        </p:txBody>
      </p:sp>
      <p:sp>
        <p:nvSpPr>
          <p:cNvPr id="100" name="Freeform 15"/>
          <p:cNvSpPr>
            <a:spLocks noEditPoints="1"/>
          </p:cNvSpPr>
          <p:nvPr/>
        </p:nvSpPr>
        <p:spPr bwMode="black">
          <a:xfrm>
            <a:off x="10140286" y="6202889"/>
            <a:ext cx="297301" cy="45712"/>
          </a:xfrm>
          <a:custGeom>
            <a:avLst/>
            <a:gdLst>
              <a:gd name="T0" fmla="*/ 125 w 1047"/>
              <a:gd name="T1" fmla="*/ 35 h 146"/>
              <a:gd name="T2" fmla="*/ 32 w 1047"/>
              <a:gd name="T3" fmla="*/ 75 h 146"/>
              <a:gd name="T4" fmla="*/ 100 w 1047"/>
              <a:gd name="T5" fmla="*/ 115 h 146"/>
              <a:gd name="T6" fmla="*/ 76 w 1047"/>
              <a:gd name="T7" fmla="*/ 146 h 146"/>
              <a:gd name="T8" fmla="*/ 76 w 1047"/>
              <a:gd name="T9" fmla="*/ 5 h 146"/>
              <a:gd name="T10" fmla="*/ 155 w 1047"/>
              <a:gd name="T11" fmla="*/ 146 h 146"/>
              <a:gd name="T12" fmla="*/ 256 w 1047"/>
              <a:gd name="T13" fmla="*/ 0 h 146"/>
              <a:gd name="T14" fmla="*/ 182 w 1047"/>
              <a:gd name="T15" fmla="*/ 146 h 146"/>
              <a:gd name="T16" fmla="*/ 212 w 1047"/>
              <a:gd name="T17" fmla="*/ 68 h 146"/>
              <a:gd name="T18" fmla="*/ 298 w 1047"/>
              <a:gd name="T19" fmla="*/ 68 h 146"/>
              <a:gd name="T20" fmla="*/ 329 w 1047"/>
              <a:gd name="T21" fmla="*/ 146 h 146"/>
              <a:gd name="T22" fmla="*/ 256 w 1047"/>
              <a:gd name="T23" fmla="*/ 0 h 146"/>
              <a:gd name="T24" fmla="*/ 426 w 1047"/>
              <a:gd name="T25" fmla="*/ 5 h 146"/>
              <a:gd name="T26" fmla="*/ 359 w 1047"/>
              <a:gd name="T27" fmla="*/ 35 h 146"/>
              <a:gd name="T28" fmla="*/ 464 w 1047"/>
              <a:gd name="T29" fmla="*/ 74 h 146"/>
              <a:gd name="T30" fmla="*/ 359 w 1047"/>
              <a:gd name="T31" fmla="*/ 115 h 146"/>
              <a:gd name="T32" fmla="*/ 426 w 1047"/>
              <a:gd name="T33" fmla="*/ 145 h 146"/>
              <a:gd name="T34" fmla="*/ 1047 w 1047"/>
              <a:gd name="T35" fmla="*/ 74 h 146"/>
              <a:gd name="T36" fmla="*/ 913 w 1047"/>
              <a:gd name="T37" fmla="*/ 5 h 146"/>
              <a:gd name="T38" fmla="*/ 982 w 1047"/>
              <a:gd name="T39" fmla="*/ 35 h 146"/>
              <a:gd name="T40" fmla="*/ 981 w 1047"/>
              <a:gd name="T41" fmla="*/ 115 h 146"/>
              <a:gd name="T42" fmla="*/ 913 w 1047"/>
              <a:gd name="T43" fmla="*/ 145 h 146"/>
              <a:gd name="T44" fmla="*/ 1047 w 1047"/>
              <a:gd name="T45" fmla="*/ 74 h 146"/>
              <a:gd name="T46" fmla="*/ 652 w 1047"/>
              <a:gd name="T47" fmla="*/ 56 h 146"/>
              <a:gd name="T48" fmla="*/ 524 w 1047"/>
              <a:gd name="T49" fmla="*/ 5 h 146"/>
              <a:gd name="T50" fmla="*/ 592 w 1047"/>
              <a:gd name="T51" fmla="*/ 35 h 146"/>
              <a:gd name="T52" fmla="*/ 593 w 1047"/>
              <a:gd name="T53" fmla="*/ 77 h 146"/>
              <a:gd name="T54" fmla="*/ 524 w 1047"/>
              <a:gd name="T55" fmla="*/ 105 h 146"/>
              <a:gd name="T56" fmla="*/ 593 w 1047"/>
              <a:gd name="T57" fmla="*/ 105 h 146"/>
              <a:gd name="T58" fmla="*/ 616 w 1047"/>
              <a:gd name="T59" fmla="*/ 144 h 146"/>
              <a:gd name="T60" fmla="*/ 645 w 1047"/>
              <a:gd name="T61" fmla="*/ 146 h 146"/>
              <a:gd name="T62" fmla="*/ 749 w 1047"/>
              <a:gd name="T63" fmla="*/ 1 h 146"/>
              <a:gd name="T64" fmla="*/ 749 w 1047"/>
              <a:gd name="T65" fmla="*/ 146 h 146"/>
              <a:gd name="T66" fmla="*/ 749 w 1047"/>
              <a:gd name="T67" fmla="*/ 1 h 146"/>
              <a:gd name="T68" fmla="*/ 790 w 1047"/>
              <a:gd name="T69" fmla="*/ 73 h 146"/>
              <a:gd name="T70" fmla="*/ 707 w 1047"/>
              <a:gd name="T71" fmla="*/ 73 h 146"/>
              <a:gd name="T72" fmla="*/ 852 w 1047"/>
              <a:gd name="T73" fmla="*/ 146 h 146"/>
              <a:gd name="T74" fmla="*/ 883 w 1047"/>
              <a:gd name="T75" fmla="*/ 5 h 146"/>
              <a:gd name="T76" fmla="*/ 852 w 1047"/>
              <a:gd name="T77"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47" h="146">
                <a:moveTo>
                  <a:pt x="125" y="146"/>
                </a:moveTo>
                <a:cubicBezTo>
                  <a:pt x="125" y="35"/>
                  <a:pt x="125" y="35"/>
                  <a:pt x="125" y="35"/>
                </a:cubicBezTo>
                <a:cubicBezTo>
                  <a:pt x="75" y="35"/>
                  <a:pt x="75" y="35"/>
                  <a:pt x="75" y="35"/>
                </a:cubicBezTo>
                <a:cubicBezTo>
                  <a:pt x="51" y="35"/>
                  <a:pt x="32" y="53"/>
                  <a:pt x="32" y="75"/>
                </a:cubicBezTo>
                <a:cubicBezTo>
                  <a:pt x="32" y="98"/>
                  <a:pt x="52" y="115"/>
                  <a:pt x="76" y="115"/>
                </a:cubicBezTo>
                <a:cubicBezTo>
                  <a:pt x="100" y="115"/>
                  <a:pt x="100" y="115"/>
                  <a:pt x="100" y="115"/>
                </a:cubicBezTo>
                <a:cubicBezTo>
                  <a:pt x="100" y="146"/>
                  <a:pt x="100" y="146"/>
                  <a:pt x="100" y="146"/>
                </a:cubicBezTo>
                <a:cubicBezTo>
                  <a:pt x="76" y="146"/>
                  <a:pt x="76" y="146"/>
                  <a:pt x="76" y="146"/>
                </a:cubicBezTo>
                <a:cubicBezTo>
                  <a:pt x="34" y="146"/>
                  <a:pt x="0" y="114"/>
                  <a:pt x="0" y="75"/>
                </a:cubicBezTo>
                <a:cubicBezTo>
                  <a:pt x="0" y="36"/>
                  <a:pt x="34" y="5"/>
                  <a:pt x="76" y="5"/>
                </a:cubicBezTo>
                <a:cubicBezTo>
                  <a:pt x="155" y="5"/>
                  <a:pt x="155" y="5"/>
                  <a:pt x="155" y="5"/>
                </a:cubicBezTo>
                <a:cubicBezTo>
                  <a:pt x="155" y="146"/>
                  <a:pt x="155" y="146"/>
                  <a:pt x="155" y="146"/>
                </a:cubicBezTo>
                <a:lnTo>
                  <a:pt x="125" y="146"/>
                </a:lnTo>
                <a:close/>
                <a:moveTo>
                  <a:pt x="256" y="0"/>
                </a:moveTo>
                <a:cubicBezTo>
                  <a:pt x="215" y="0"/>
                  <a:pt x="182" y="27"/>
                  <a:pt x="182" y="69"/>
                </a:cubicBezTo>
                <a:cubicBezTo>
                  <a:pt x="182" y="146"/>
                  <a:pt x="182" y="146"/>
                  <a:pt x="182" y="146"/>
                </a:cubicBezTo>
                <a:cubicBezTo>
                  <a:pt x="212" y="146"/>
                  <a:pt x="212" y="146"/>
                  <a:pt x="212" y="146"/>
                </a:cubicBezTo>
                <a:cubicBezTo>
                  <a:pt x="212" y="68"/>
                  <a:pt x="212" y="68"/>
                  <a:pt x="212" y="68"/>
                </a:cubicBezTo>
                <a:cubicBezTo>
                  <a:pt x="212" y="41"/>
                  <a:pt x="235" y="25"/>
                  <a:pt x="256" y="25"/>
                </a:cubicBezTo>
                <a:cubicBezTo>
                  <a:pt x="276" y="25"/>
                  <a:pt x="298" y="41"/>
                  <a:pt x="298" y="68"/>
                </a:cubicBezTo>
                <a:cubicBezTo>
                  <a:pt x="298" y="146"/>
                  <a:pt x="298" y="146"/>
                  <a:pt x="298" y="146"/>
                </a:cubicBezTo>
                <a:cubicBezTo>
                  <a:pt x="329" y="146"/>
                  <a:pt x="329" y="146"/>
                  <a:pt x="329" y="146"/>
                </a:cubicBezTo>
                <a:cubicBezTo>
                  <a:pt x="329" y="69"/>
                  <a:pt x="329" y="69"/>
                  <a:pt x="329" y="69"/>
                </a:cubicBezTo>
                <a:cubicBezTo>
                  <a:pt x="329" y="27"/>
                  <a:pt x="296" y="0"/>
                  <a:pt x="256" y="0"/>
                </a:cubicBezTo>
                <a:close/>
                <a:moveTo>
                  <a:pt x="493" y="74"/>
                </a:moveTo>
                <a:cubicBezTo>
                  <a:pt x="493" y="34"/>
                  <a:pt x="466" y="5"/>
                  <a:pt x="426" y="5"/>
                </a:cubicBezTo>
                <a:cubicBezTo>
                  <a:pt x="359" y="5"/>
                  <a:pt x="359" y="5"/>
                  <a:pt x="359" y="5"/>
                </a:cubicBezTo>
                <a:cubicBezTo>
                  <a:pt x="359" y="35"/>
                  <a:pt x="359" y="35"/>
                  <a:pt x="359" y="35"/>
                </a:cubicBezTo>
                <a:cubicBezTo>
                  <a:pt x="428" y="35"/>
                  <a:pt x="428" y="35"/>
                  <a:pt x="428" y="35"/>
                </a:cubicBezTo>
                <a:cubicBezTo>
                  <a:pt x="454" y="35"/>
                  <a:pt x="464" y="54"/>
                  <a:pt x="464" y="74"/>
                </a:cubicBezTo>
                <a:cubicBezTo>
                  <a:pt x="464" y="94"/>
                  <a:pt x="453" y="115"/>
                  <a:pt x="427" y="115"/>
                </a:cubicBezTo>
                <a:cubicBezTo>
                  <a:pt x="359" y="115"/>
                  <a:pt x="359" y="115"/>
                  <a:pt x="359" y="115"/>
                </a:cubicBezTo>
                <a:cubicBezTo>
                  <a:pt x="359" y="145"/>
                  <a:pt x="359" y="145"/>
                  <a:pt x="359" y="145"/>
                </a:cubicBezTo>
                <a:cubicBezTo>
                  <a:pt x="426" y="145"/>
                  <a:pt x="426" y="145"/>
                  <a:pt x="426" y="145"/>
                </a:cubicBezTo>
                <a:cubicBezTo>
                  <a:pt x="466" y="145"/>
                  <a:pt x="493" y="115"/>
                  <a:pt x="493" y="74"/>
                </a:cubicBezTo>
                <a:close/>
                <a:moveTo>
                  <a:pt x="1047" y="74"/>
                </a:moveTo>
                <a:cubicBezTo>
                  <a:pt x="1047" y="34"/>
                  <a:pt x="1021" y="5"/>
                  <a:pt x="980" y="5"/>
                </a:cubicBezTo>
                <a:cubicBezTo>
                  <a:pt x="913" y="5"/>
                  <a:pt x="913" y="5"/>
                  <a:pt x="913" y="5"/>
                </a:cubicBezTo>
                <a:cubicBezTo>
                  <a:pt x="913" y="35"/>
                  <a:pt x="913" y="35"/>
                  <a:pt x="913" y="35"/>
                </a:cubicBezTo>
                <a:cubicBezTo>
                  <a:pt x="982" y="35"/>
                  <a:pt x="982" y="35"/>
                  <a:pt x="982" y="35"/>
                </a:cubicBezTo>
                <a:cubicBezTo>
                  <a:pt x="1008" y="35"/>
                  <a:pt x="1019" y="54"/>
                  <a:pt x="1019" y="74"/>
                </a:cubicBezTo>
                <a:cubicBezTo>
                  <a:pt x="1019" y="94"/>
                  <a:pt x="1008" y="115"/>
                  <a:pt x="981" y="115"/>
                </a:cubicBezTo>
                <a:cubicBezTo>
                  <a:pt x="913" y="115"/>
                  <a:pt x="913" y="115"/>
                  <a:pt x="913" y="115"/>
                </a:cubicBezTo>
                <a:cubicBezTo>
                  <a:pt x="913" y="145"/>
                  <a:pt x="913" y="145"/>
                  <a:pt x="913" y="145"/>
                </a:cubicBezTo>
                <a:cubicBezTo>
                  <a:pt x="980" y="145"/>
                  <a:pt x="980" y="145"/>
                  <a:pt x="980" y="145"/>
                </a:cubicBezTo>
                <a:cubicBezTo>
                  <a:pt x="1020" y="145"/>
                  <a:pt x="1047" y="115"/>
                  <a:pt x="1047" y="74"/>
                </a:cubicBezTo>
                <a:close/>
                <a:moveTo>
                  <a:pt x="632" y="98"/>
                </a:moveTo>
                <a:cubicBezTo>
                  <a:pt x="645" y="91"/>
                  <a:pt x="652" y="78"/>
                  <a:pt x="652" y="56"/>
                </a:cubicBezTo>
                <a:cubicBezTo>
                  <a:pt x="652" y="17"/>
                  <a:pt x="631" y="5"/>
                  <a:pt x="590" y="5"/>
                </a:cubicBezTo>
                <a:cubicBezTo>
                  <a:pt x="524" y="5"/>
                  <a:pt x="524" y="5"/>
                  <a:pt x="524" y="5"/>
                </a:cubicBezTo>
                <a:cubicBezTo>
                  <a:pt x="524" y="35"/>
                  <a:pt x="524" y="35"/>
                  <a:pt x="524" y="35"/>
                </a:cubicBezTo>
                <a:cubicBezTo>
                  <a:pt x="592" y="35"/>
                  <a:pt x="592" y="35"/>
                  <a:pt x="592" y="35"/>
                </a:cubicBezTo>
                <a:cubicBezTo>
                  <a:pt x="618" y="35"/>
                  <a:pt x="623" y="44"/>
                  <a:pt x="623" y="55"/>
                </a:cubicBezTo>
                <a:cubicBezTo>
                  <a:pt x="623" y="67"/>
                  <a:pt x="619" y="77"/>
                  <a:pt x="593" y="77"/>
                </a:cubicBezTo>
                <a:cubicBezTo>
                  <a:pt x="524" y="77"/>
                  <a:pt x="524" y="77"/>
                  <a:pt x="524" y="77"/>
                </a:cubicBezTo>
                <a:cubicBezTo>
                  <a:pt x="524" y="105"/>
                  <a:pt x="524" y="105"/>
                  <a:pt x="524" y="105"/>
                </a:cubicBezTo>
                <a:cubicBezTo>
                  <a:pt x="591" y="105"/>
                  <a:pt x="591" y="105"/>
                  <a:pt x="591" y="105"/>
                </a:cubicBezTo>
                <a:cubicBezTo>
                  <a:pt x="592" y="105"/>
                  <a:pt x="593" y="105"/>
                  <a:pt x="593" y="105"/>
                </a:cubicBezTo>
                <a:cubicBezTo>
                  <a:pt x="607" y="107"/>
                  <a:pt x="617" y="118"/>
                  <a:pt x="617" y="132"/>
                </a:cubicBezTo>
                <a:cubicBezTo>
                  <a:pt x="617" y="136"/>
                  <a:pt x="618" y="140"/>
                  <a:pt x="616" y="144"/>
                </a:cubicBezTo>
                <a:cubicBezTo>
                  <a:pt x="616" y="145"/>
                  <a:pt x="618" y="145"/>
                  <a:pt x="618" y="146"/>
                </a:cubicBezTo>
                <a:cubicBezTo>
                  <a:pt x="645" y="146"/>
                  <a:pt x="645" y="146"/>
                  <a:pt x="645" y="146"/>
                </a:cubicBezTo>
                <a:cubicBezTo>
                  <a:pt x="645" y="146"/>
                  <a:pt x="650" y="116"/>
                  <a:pt x="632" y="98"/>
                </a:cubicBezTo>
                <a:close/>
                <a:moveTo>
                  <a:pt x="749" y="1"/>
                </a:moveTo>
                <a:cubicBezTo>
                  <a:pt x="787" y="1"/>
                  <a:pt x="818" y="33"/>
                  <a:pt x="818" y="73"/>
                </a:cubicBezTo>
                <a:cubicBezTo>
                  <a:pt x="818" y="113"/>
                  <a:pt x="787" y="146"/>
                  <a:pt x="749" y="146"/>
                </a:cubicBezTo>
                <a:cubicBezTo>
                  <a:pt x="710" y="146"/>
                  <a:pt x="679" y="113"/>
                  <a:pt x="679" y="73"/>
                </a:cubicBezTo>
                <a:cubicBezTo>
                  <a:pt x="679" y="33"/>
                  <a:pt x="710" y="1"/>
                  <a:pt x="749" y="1"/>
                </a:cubicBezTo>
                <a:close/>
                <a:moveTo>
                  <a:pt x="749" y="117"/>
                </a:moveTo>
                <a:cubicBezTo>
                  <a:pt x="772" y="117"/>
                  <a:pt x="790" y="97"/>
                  <a:pt x="790" y="73"/>
                </a:cubicBezTo>
                <a:cubicBezTo>
                  <a:pt x="790" y="49"/>
                  <a:pt x="772" y="30"/>
                  <a:pt x="749" y="30"/>
                </a:cubicBezTo>
                <a:cubicBezTo>
                  <a:pt x="726" y="30"/>
                  <a:pt x="707" y="49"/>
                  <a:pt x="707" y="73"/>
                </a:cubicBezTo>
                <a:cubicBezTo>
                  <a:pt x="707" y="97"/>
                  <a:pt x="726" y="117"/>
                  <a:pt x="749" y="117"/>
                </a:cubicBezTo>
                <a:close/>
                <a:moveTo>
                  <a:pt x="852" y="146"/>
                </a:moveTo>
                <a:cubicBezTo>
                  <a:pt x="883" y="146"/>
                  <a:pt x="883" y="146"/>
                  <a:pt x="883" y="146"/>
                </a:cubicBezTo>
                <a:cubicBezTo>
                  <a:pt x="883" y="5"/>
                  <a:pt x="883" y="5"/>
                  <a:pt x="883" y="5"/>
                </a:cubicBezTo>
                <a:cubicBezTo>
                  <a:pt x="852" y="5"/>
                  <a:pt x="852" y="5"/>
                  <a:pt x="852" y="5"/>
                </a:cubicBezTo>
                <a:lnTo>
                  <a:pt x="852" y="146"/>
                </a:lnTo>
                <a:close/>
              </a:path>
            </a:pathLst>
          </a:custGeom>
          <a:solidFill>
            <a:schemeClr val="tx1"/>
          </a:solidFill>
          <a:ln>
            <a:noFill/>
          </a:ln>
        </p:spPr>
        <p:txBody>
          <a:bodyPr vert="horz" wrap="square" lIns="87867" tIns="43934" rIns="87867" bIns="43934" numCol="1" anchor="t" anchorCtr="0" compatLnSpc="1">
            <a:prstTxWarp prst="textNoShape">
              <a:avLst/>
            </a:prstTxWarp>
          </a:bodyPr>
          <a:lstStyle/>
          <a:p>
            <a:pPr defTabSz="896182">
              <a:lnSpc>
                <a:spcPct val="90000"/>
              </a:lnSpc>
              <a:defRPr/>
            </a:pPr>
            <a:endParaRPr lang="en-US" sz="1730" kern="0">
              <a:gradFill>
                <a:gsLst>
                  <a:gs pos="93162">
                    <a:srgbClr val="505050">
                      <a:lumMod val="50000"/>
                    </a:srgbClr>
                  </a:gs>
                  <a:gs pos="68000">
                    <a:srgbClr val="505050">
                      <a:lumMod val="50000"/>
                    </a:srgbClr>
                  </a:gs>
                </a:gsLst>
                <a:lin ang="5400000" scaled="0"/>
              </a:gradFill>
            </a:endParaRPr>
          </a:p>
        </p:txBody>
      </p:sp>
      <p:sp>
        <p:nvSpPr>
          <p:cNvPr id="102" name="Freeform 101"/>
          <p:cNvSpPr>
            <a:spLocks/>
          </p:cNvSpPr>
          <p:nvPr/>
        </p:nvSpPr>
        <p:spPr bwMode="black">
          <a:xfrm>
            <a:off x="8307762" y="5987883"/>
            <a:ext cx="205135" cy="163837"/>
          </a:xfrm>
          <a:custGeom>
            <a:avLst/>
            <a:gdLst>
              <a:gd name="T0" fmla="*/ 455 w 539"/>
              <a:gd name="T1" fmla="*/ 186 h 482"/>
              <a:gd name="T2" fmla="*/ 522 w 539"/>
              <a:gd name="T3" fmla="*/ 67 h 482"/>
              <a:gd name="T4" fmla="*/ 408 w 539"/>
              <a:gd name="T5" fmla="*/ 5 h 482"/>
              <a:gd name="T6" fmla="*/ 288 w 539"/>
              <a:gd name="T7" fmla="*/ 34 h 482"/>
              <a:gd name="T8" fmla="*/ 184 w 539"/>
              <a:gd name="T9" fmla="*/ 7 h 482"/>
              <a:gd name="T10" fmla="*/ 55 w 539"/>
              <a:gd name="T11" fmla="*/ 86 h 482"/>
              <a:gd name="T12" fmla="*/ 95 w 539"/>
              <a:gd name="T13" fmla="*/ 401 h 482"/>
              <a:gd name="T14" fmla="*/ 194 w 539"/>
              <a:gd name="T15" fmla="*/ 480 h 482"/>
              <a:gd name="T16" fmla="*/ 296 w 539"/>
              <a:gd name="T17" fmla="*/ 455 h 482"/>
              <a:gd name="T18" fmla="*/ 400 w 539"/>
              <a:gd name="T19" fmla="*/ 479 h 482"/>
              <a:gd name="T20" fmla="*/ 496 w 539"/>
              <a:gd name="T21" fmla="*/ 402 h 482"/>
              <a:gd name="T22" fmla="*/ 539 w 539"/>
              <a:gd name="T23" fmla="*/ 313 h 482"/>
              <a:gd name="T24" fmla="*/ 455 w 539"/>
              <a:gd name="T25" fmla="*/ 186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9" h="482">
                <a:moveTo>
                  <a:pt x="455" y="186"/>
                </a:moveTo>
                <a:cubicBezTo>
                  <a:pt x="454" y="107"/>
                  <a:pt x="519" y="69"/>
                  <a:pt x="522" y="67"/>
                </a:cubicBezTo>
                <a:cubicBezTo>
                  <a:pt x="485" y="13"/>
                  <a:pt x="428" y="6"/>
                  <a:pt x="408" y="5"/>
                </a:cubicBezTo>
                <a:cubicBezTo>
                  <a:pt x="359" y="0"/>
                  <a:pt x="312" y="34"/>
                  <a:pt x="288" y="34"/>
                </a:cubicBezTo>
                <a:cubicBezTo>
                  <a:pt x="263" y="34"/>
                  <a:pt x="225" y="6"/>
                  <a:pt x="184" y="7"/>
                </a:cubicBezTo>
                <a:cubicBezTo>
                  <a:pt x="131" y="8"/>
                  <a:pt x="82" y="38"/>
                  <a:pt x="55" y="86"/>
                </a:cubicBezTo>
                <a:cubicBezTo>
                  <a:pt x="0" y="182"/>
                  <a:pt x="41" y="323"/>
                  <a:pt x="95" y="401"/>
                </a:cubicBezTo>
                <a:cubicBezTo>
                  <a:pt x="121" y="439"/>
                  <a:pt x="153" y="482"/>
                  <a:pt x="194" y="480"/>
                </a:cubicBezTo>
                <a:cubicBezTo>
                  <a:pt x="234" y="479"/>
                  <a:pt x="248" y="455"/>
                  <a:pt x="296" y="455"/>
                </a:cubicBezTo>
                <a:cubicBezTo>
                  <a:pt x="344" y="454"/>
                  <a:pt x="358" y="480"/>
                  <a:pt x="400" y="479"/>
                </a:cubicBezTo>
                <a:cubicBezTo>
                  <a:pt x="443" y="478"/>
                  <a:pt x="470" y="440"/>
                  <a:pt x="496" y="402"/>
                </a:cubicBezTo>
                <a:cubicBezTo>
                  <a:pt x="526" y="358"/>
                  <a:pt x="538" y="315"/>
                  <a:pt x="539" y="313"/>
                </a:cubicBezTo>
                <a:cubicBezTo>
                  <a:pt x="538" y="313"/>
                  <a:pt x="456" y="281"/>
                  <a:pt x="455" y="186"/>
                </a:cubicBezTo>
              </a:path>
            </a:pathLst>
          </a:custGeom>
          <a:solidFill>
            <a:schemeClr val="tx1"/>
          </a:solidFill>
          <a:ln>
            <a:noFill/>
          </a:ln>
          <a:extLst/>
        </p:spPr>
        <p:txBody>
          <a:bodyPr vert="horz" wrap="square" lIns="87867" tIns="43934" rIns="87867" bIns="43934" numCol="1" anchor="t" anchorCtr="0" compatLnSpc="1">
            <a:prstTxWarp prst="textNoShape">
              <a:avLst/>
            </a:prstTxWarp>
          </a:bodyPr>
          <a:lstStyle/>
          <a:p>
            <a:pPr defTabSz="896182">
              <a:lnSpc>
                <a:spcPct val="90000"/>
              </a:lnSpc>
              <a:defRPr/>
            </a:pPr>
            <a:endParaRPr lang="en-US" sz="1730" kern="0">
              <a:gradFill>
                <a:gsLst>
                  <a:gs pos="93162">
                    <a:srgbClr val="505050">
                      <a:lumMod val="50000"/>
                    </a:srgbClr>
                  </a:gs>
                  <a:gs pos="68000">
                    <a:srgbClr val="505050">
                      <a:lumMod val="50000"/>
                    </a:srgbClr>
                  </a:gs>
                </a:gsLst>
                <a:lin ang="5400000" scaled="0"/>
              </a:gradFill>
            </a:endParaRPr>
          </a:p>
        </p:txBody>
      </p:sp>
      <p:sp>
        <p:nvSpPr>
          <p:cNvPr id="103" name="TextBox 102"/>
          <p:cNvSpPr txBox="1"/>
          <p:nvPr/>
        </p:nvSpPr>
        <p:spPr>
          <a:xfrm>
            <a:off x="8509763" y="6015841"/>
            <a:ext cx="333870" cy="169377"/>
          </a:xfrm>
          <a:prstGeom prst="rect">
            <a:avLst/>
          </a:prstGeom>
          <a:noFill/>
        </p:spPr>
        <p:txBody>
          <a:bodyPr wrap="square" lIns="0" tIns="0" rIns="0" bIns="0" rtlCol="0">
            <a:spAutoFit/>
          </a:bodyPr>
          <a:lstStyle/>
          <a:p>
            <a:pPr algn="ctr" defTabSz="896182">
              <a:lnSpc>
                <a:spcPct val="90000"/>
              </a:lnSpc>
              <a:spcAft>
                <a:spcPts val="576"/>
              </a:spcAft>
              <a:defRPr/>
            </a:pPr>
            <a:r>
              <a:rPr lang="en-US" sz="1199" kern="0" dirty="0">
                <a:gradFill>
                  <a:gsLst>
                    <a:gs pos="12821">
                      <a:srgbClr val="505050"/>
                    </a:gs>
                    <a:gs pos="23000">
                      <a:srgbClr val="505050"/>
                    </a:gs>
                  </a:gsLst>
                  <a:lin ang="5400000" scaled="0"/>
                </a:gradFill>
              </a:rPr>
              <a:t>iOS</a:t>
            </a:r>
          </a:p>
        </p:txBody>
      </p:sp>
      <p:pic>
        <p:nvPicPr>
          <p:cNvPr id="104" name="Picture 103"/>
          <p:cNvPicPr>
            <a:picLocks noChangeAspect="1"/>
          </p:cNvPicPr>
          <p:nvPr/>
        </p:nvPicPr>
        <p:blipFill>
          <a:blip r:embed="rId16"/>
          <a:stretch>
            <a:fillRect/>
          </a:stretch>
        </p:blipFill>
        <p:spPr>
          <a:xfrm>
            <a:off x="10566897" y="2323971"/>
            <a:ext cx="572904" cy="526139"/>
          </a:xfrm>
          <a:prstGeom prst="rect">
            <a:avLst/>
          </a:prstGeom>
        </p:spPr>
      </p:pic>
      <p:pic>
        <p:nvPicPr>
          <p:cNvPr id="16" name="Picture 15"/>
          <p:cNvPicPr>
            <a:picLocks noChangeAspect="1"/>
          </p:cNvPicPr>
          <p:nvPr/>
        </p:nvPicPr>
        <p:blipFill>
          <a:blip r:embed="rId17"/>
          <a:stretch>
            <a:fillRect/>
          </a:stretch>
        </p:blipFill>
        <p:spPr>
          <a:xfrm>
            <a:off x="617241" y="1518417"/>
            <a:ext cx="682819" cy="711200"/>
          </a:xfrm>
          <a:prstGeom prst="rect">
            <a:avLst/>
          </a:prstGeom>
        </p:spPr>
      </p:pic>
      <p:grpSp>
        <p:nvGrpSpPr>
          <p:cNvPr id="9" name="Group 8"/>
          <p:cNvGrpSpPr/>
          <p:nvPr/>
        </p:nvGrpSpPr>
        <p:grpSpPr>
          <a:xfrm>
            <a:off x="601602" y="4480161"/>
            <a:ext cx="682819" cy="436800"/>
            <a:chOff x="586683" y="4217406"/>
            <a:chExt cx="682819" cy="436800"/>
          </a:xfrm>
        </p:grpSpPr>
        <p:pic>
          <p:nvPicPr>
            <p:cNvPr id="12" name="Picture 11"/>
            <p:cNvPicPr>
              <a:picLocks noChangeAspect="1"/>
            </p:cNvPicPr>
            <p:nvPr/>
          </p:nvPicPr>
          <p:blipFill>
            <a:blip r:embed="rId18"/>
            <a:stretch>
              <a:fillRect/>
            </a:stretch>
          </p:blipFill>
          <p:spPr>
            <a:xfrm>
              <a:off x="586683" y="4217406"/>
              <a:ext cx="682819" cy="436800"/>
            </a:xfrm>
            <a:prstGeom prst="rect">
              <a:avLst/>
            </a:prstGeom>
          </p:spPr>
        </p:pic>
        <p:pic>
          <p:nvPicPr>
            <p:cNvPr id="15" name="Picture 14"/>
            <p:cNvPicPr>
              <a:picLocks noChangeAspect="1"/>
            </p:cNvPicPr>
            <p:nvPr/>
          </p:nvPicPr>
          <p:blipFill>
            <a:blip r:embed="rId19"/>
            <a:stretch>
              <a:fillRect/>
            </a:stretch>
          </p:blipFill>
          <p:spPr>
            <a:xfrm>
              <a:off x="729010" y="4272832"/>
              <a:ext cx="400463" cy="325947"/>
            </a:xfrm>
            <a:prstGeom prst="rect">
              <a:avLst/>
            </a:prstGeom>
          </p:spPr>
        </p:pic>
      </p:grpSp>
    </p:spTree>
    <p:extLst>
      <p:ext uri="{BB962C8B-B14F-4D97-AF65-F5344CB8AC3E}">
        <p14:creationId xmlns:p14="http://schemas.microsoft.com/office/powerpoint/2010/main" val="3574444810"/>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66" name="Rectangle 65"/>
          <p:cNvSpPr/>
          <p:nvPr/>
        </p:nvSpPr>
        <p:spPr bwMode="auto">
          <a:xfrm>
            <a:off x="0" y="6440061"/>
            <a:ext cx="12436475" cy="554464"/>
          </a:xfrm>
          <a:prstGeom prst="rect">
            <a:avLst/>
          </a:prstGeom>
          <a:solidFill>
            <a:schemeClr val="bg2">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microsoft"/>
          <p:cNvSpPr/>
          <p:nvPr/>
        </p:nvSpPr>
        <p:spPr>
          <a:xfrm>
            <a:off x="316122" y="550847"/>
            <a:ext cx="4446948" cy="1525310"/>
          </a:xfrm>
          <a:prstGeom prst="rect">
            <a:avLst/>
          </a:prstGeom>
        </p:spPr>
        <p:txBody>
          <a:bodyPr wrap="square" anchor="ctr">
            <a:spAutoFit/>
          </a:bodyPr>
          <a:lstStyle/>
          <a:p>
            <a:pPr marL="0" marR="0" lvl="0" indent="0" defTabSz="932293" eaLnBrk="1" fontAlgn="base" latinLnBrk="0" hangingPunct="1">
              <a:lnSpc>
                <a:spcPct val="95000"/>
              </a:lnSpc>
              <a:spcBef>
                <a:spcPct val="0"/>
              </a:spcBef>
              <a:spcAft>
                <a:spcPts val="1199"/>
              </a:spcAft>
              <a:buClrTx/>
              <a:buSzTx/>
              <a:buFontTx/>
              <a:buNone/>
              <a:tabLst/>
              <a:defRPr/>
            </a:pPr>
            <a:r>
              <a:rPr kumimoji="0" lang="en-US" sz="4799" b="0" i="0" u="none" strike="noStrike" kern="0" cap="none" spc="0" normalizeH="0" baseline="0" noProof="0" dirty="0">
                <a:ln w="3175">
                  <a:noFill/>
                </a:ln>
                <a:solidFill>
                  <a:srgbClr val="5E5E5E"/>
                </a:solidFill>
                <a:effectLst/>
                <a:uLnTx/>
                <a:uFillTx/>
                <a:latin typeface="Segoe UI Light"/>
                <a:ea typeface="Segoe UI" pitchFamily="34" charset="0"/>
                <a:cs typeface="Segoe UI" pitchFamily="34" charset="0"/>
              </a:rPr>
              <a:t>Data is the </a:t>
            </a:r>
            <a:br>
              <a:rPr kumimoji="0" lang="en-US" sz="4799" b="0" i="0" u="none" strike="noStrike" kern="0" cap="none" spc="0" normalizeH="0" baseline="0" noProof="0" dirty="0">
                <a:ln w="3175">
                  <a:noFill/>
                </a:ln>
                <a:solidFill>
                  <a:srgbClr val="5E5E5E"/>
                </a:solidFill>
                <a:effectLst/>
                <a:uLnTx/>
                <a:uFillTx/>
                <a:latin typeface="Segoe UI Light"/>
                <a:ea typeface="Segoe UI" pitchFamily="34" charset="0"/>
                <a:cs typeface="Segoe UI" pitchFamily="34" charset="0"/>
              </a:rPr>
            </a:br>
            <a:r>
              <a:rPr kumimoji="0" lang="en-US" sz="4799" b="0" i="0" u="none" strike="noStrike" kern="0" cap="none" spc="0" normalizeH="0" baseline="0" noProof="0" dirty="0">
                <a:ln w="3175">
                  <a:noFill/>
                </a:ln>
                <a:solidFill>
                  <a:srgbClr val="5E5E5E"/>
                </a:solidFill>
                <a:effectLst/>
                <a:uLnTx/>
                <a:uFillTx/>
                <a:latin typeface="Segoe UI Light"/>
                <a:ea typeface="Segoe UI" pitchFamily="34" charset="0"/>
                <a:cs typeface="Segoe UI" pitchFamily="34" charset="0"/>
              </a:rPr>
              <a:t>new electricity</a:t>
            </a:r>
          </a:p>
        </p:txBody>
      </p:sp>
      <p:sp>
        <p:nvSpPr>
          <p:cNvPr id="13" name="Arc 12"/>
          <p:cNvSpPr/>
          <p:nvPr/>
        </p:nvSpPr>
        <p:spPr>
          <a:xfrm rot="15966431">
            <a:off x="8475968" y="715797"/>
            <a:ext cx="2955658" cy="4995249"/>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67609 w 2653509"/>
              <a:gd name="connsiteY0" fmla="*/ 0 h 5123677"/>
              <a:gd name="connsiteX1" fmla="*/ 2416791 w 2653509"/>
              <a:gd name="connsiteY1" fmla="*/ 1050219 h 5123677"/>
              <a:gd name="connsiteX2" fmla="*/ 2653494 w 2653509"/>
              <a:gd name="connsiteY2" fmla="*/ 2301099 h 5123677"/>
              <a:gd name="connsiteX3" fmla="*/ 1167609 w 2653509"/>
              <a:gd name="connsiteY3" fmla="*/ 2290634 h 5123677"/>
              <a:gd name="connsiteX4" fmla="*/ 1167609 w 2653509"/>
              <a:gd name="connsiteY4" fmla="*/ 0 h 5123677"/>
              <a:gd name="connsiteX0" fmla="*/ 0 w 2653509"/>
              <a:gd name="connsiteY0" fmla="*/ 1877225 h 5123677"/>
              <a:gd name="connsiteX1" fmla="*/ 1643843 w 2653509"/>
              <a:gd name="connsiteY1" fmla="*/ 5123677 h 5123677"/>
              <a:gd name="connsiteX0" fmla="*/ 1501605 w 2987505"/>
              <a:gd name="connsiteY0" fmla="*/ 0 h 5123677"/>
              <a:gd name="connsiteX1" fmla="*/ 2750787 w 2987505"/>
              <a:gd name="connsiteY1" fmla="*/ 1050219 h 5123677"/>
              <a:gd name="connsiteX2" fmla="*/ 2987490 w 2987505"/>
              <a:gd name="connsiteY2" fmla="*/ 2301099 h 5123677"/>
              <a:gd name="connsiteX3" fmla="*/ 1501605 w 2987505"/>
              <a:gd name="connsiteY3" fmla="*/ 2290634 h 5123677"/>
              <a:gd name="connsiteX4" fmla="*/ 1501605 w 2987505"/>
              <a:gd name="connsiteY4" fmla="*/ 0 h 5123677"/>
              <a:gd name="connsiteX0" fmla="*/ 0 w 2987505"/>
              <a:gd name="connsiteY0" fmla="*/ 1680818 h 5123677"/>
              <a:gd name="connsiteX1" fmla="*/ 1977839 w 2987505"/>
              <a:gd name="connsiteY1" fmla="*/ 5123677 h 5123677"/>
              <a:gd name="connsiteX0" fmla="*/ 1470177 w 2956077"/>
              <a:gd name="connsiteY0" fmla="*/ 0 h 5123677"/>
              <a:gd name="connsiteX1" fmla="*/ 2719359 w 2956077"/>
              <a:gd name="connsiteY1" fmla="*/ 1050219 h 5123677"/>
              <a:gd name="connsiteX2" fmla="*/ 2956062 w 2956077"/>
              <a:gd name="connsiteY2" fmla="*/ 2301099 h 5123677"/>
              <a:gd name="connsiteX3" fmla="*/ 1470177 w 2956077"/>
              <a:gd name="connsiteY3" fmla="*/ 2290634 h 5123677"/>
              <a:gd name="connsiteX4" fmla="*/ 1470177 w 2956077"/>
              <a:gd name="connsiteY4" fmla="*/ 0 h 5123677"/>
              <a:gd name="connsiteX0" fmla="*/ 0 w 2956077"/>
              <a:gd name="connsiteY0" fmla="*/ 1644361 h 5123677"/>
              <a:gd name="connsiteX1" fmla="*/ 1946411 w 2956077"/>
              <a:gd name="connsiteY1" fmla="*/ 5123677 h 5123677"/>
              <a:gd name="connsiteX0" fmla="*/ 1470177 w 2956077"/>
              <a:gd name="connsiteY0" fmla="*/ 0 h 5123677"/>
              <a:gd name="connsiteX1" fmla="*/ 2719359 w 2956077"/>
              <a:gd name="connsiteY1" fmla="*/ 1050219 h 5123677"/>
              <a:gd name="connsiteX2" fmla="*/ 2956062 w 2956077"/>
              <a:gd name="connsiteY2" fmla="*/ 2301099 h 5123677"/>
              <a:gd name="connsiteX3" fmla="*/ 1470177 w 2956077"/>
              <a:gd name="connsiteY3" fmla="*/ 2290634 h 5123677"/>
              <a:gd name="connsiteX4" fmla="*/ 1470177 w 2956077"/>
              <a:gd name="connsiteY4" fmla="*/ 0 h 5123677"/>
              <a:gd name="connsiteX0" fmla="*/ 0 w 2956077"/>
              <a:gd name="connsiteY0" fmla="*/ 1644361 h 5123677"/>
              <a:gd name="connsiteX1" fmla="*/ 1946411 w 2956077"/>
              <a:gd name="connsiteY1" fmla="*/ 5123677 h 5123677"/>
            </a:gdLst>
            <a:ahLst/>
            <a:cxnLst>
              <a:cxn ang="0">
                <a:pos x="connsiteX0" y="connsiteY0"/>
              </a:cxn>
              <a:cxn ang="0">
                <a:pos x="connsiteX1" y="connsiteY1"/>
              </a:cxn>
            </a:cxnLst>
            <a:rect l="l" t="t" r="r" b="b"/>
            <a:pathLst>
              <a:path w="2956077" h="5123677" stroke="0" extrusionOk="0">
                <a:moveTo>
                  <a:pt x="1470177" y="0"/>
                </a:moveTo>
                <a:cubicBezTo>
                  <a:pt x="1975299" y="0"/>
                  <a:pt x="2445827" y="395585"/>
                  <a:pt x="2719359" y="1050219"/>
                </a:cubicBezTo>
                <a:cubicBezTo>
                  <a:pt x="2875148" y="1423063"/>
                  <a:pt x="2957376" y="1857606"/>
                  <a:pt x="2956062" y="2301099"/>
                </a:cubicBezTo>
                <a:lnTo>
                  <a:pt x="1470177" y="2290634"/>
                </a:lnTo>
                <a:lnTo>
                  <a:pt x="1470177" y="0"/>
                </a:lnTo>
                <a:close/>
              </a:path>
              <a:path w="2956077" h="5123677" fill="none">
                <a:moveTo>
                  <a:pt x="0" y="1644361"/>
                </a:moveTo>
                <a:cubicBezTo>
                  <a:pt x="1285013" y="1886722"/>
                  <a:pt x="2202014" y="3976716"/>
                  <a:pt x="1946411" y="5123677"/>
                </a:cubicBezTo>
              </a:path>
            </a:pathLst>
          </a:custGeom>
          <a:noFill/>
          <a:ln w="12700">
            <a:solidFill>
              <a:srgbClr val="F2C811">
                <a:alpha val="75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 name="Arc 12"/>
          <p:cNvSpPr/>
          <p:nvPr/>
        </p:nvSpPr>
        <p:spPr>
          <a:xfrm rot="16200000">
            <a:off x="4974610" y="-2573273"/>
            <a:ext cx="6342748" cy="8579221"/>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Lst>
            <a:ahLst/>
            <a:cxnLst>
              <a:cxn ang="0">
                <a:pos x="connsiteX0" y="connsiteY0"/>
              </a:cxn>
              <a:cxn ang="0">
                <a:pos x="connsiteX1" y="connsiteY1"/>
              </a:cxn>
            </a:cxnLst>
            <a:rect l="l" t="t" r="r" b="b"/>
            <a:pathLst>
              <a:path w="2636109" h="5123677" stroke="0" extrusionOk="0">
                <a:moveTo>
                  <a:pt x="1150209" y="0"/>
                </a:moveTo>
                <a:cubicBezTo>
                  <a:pt x="1655331" y="0"/>
                  <a:pt x="2125859" y="395585"/>
                  <a:pt x="2399391" y="1050219"/>
                </a:cubicBezTo>
                <a:cubicBezTo>
                  <a:pt x="2555180" y="1423063"/>
                  <a:pt x="2637408" y="1857606"/>
                  <a:pt x="2636094" y="2301099"/>
                </a:cubicBezTo>
                <a:lnTo>
                  <a:pt x="1150209" y="2290634"/>
                </a:lnTo>
                <a:lnTo>
                  <a:pt x="1150209" y="0"/>
                </a:lnTo>
                <a:close/>
              </a:path>
              <a:path w="2636109" h="5123677" fill="none">
                <a:moveTo>
                  <a:pt x="0" y="2045387"/>
                </a:moveTo>
                <a:cubicBezTo>
                  <a:pt x="1360446" y="2375211"/>
                  <a:pt x="1736915" y="4098056"/>
                  <a:pt x="1626443" y="5123677"/>
                </a:cubicBezTo>
              </a:path>
            </a:pathLst>
          </a:custGeom>
          <a:noFill/>
          <a:ln w="12700">
            <a:solidFill>
              <a:srgbClr val="F2C811">
                <a:alpha val="75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 name="Arc 12"/>
          <p:cNvSpPr/>
          <p:nvPr/>
        </p:nvSpPr>
        <p:spPr>
          <a:xfrm rot="16200000">
            <a:off x="1745671" y="-2537185"/>
            <a:ext cx="7649395" cy="6766128"/>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4897570"/>
              <a:gd name="connsiteX1" fmla="*/ 2399391 w 2636109"/>
              <a:gd name="connsiteY1" fmla="*/ 1050219 h 4897570"/>
              <a:gd name="connsiteX2" fmla="*/ 2636094 w 2636109"/>
              <a:gd name="connsiteY2" fmla="*/ 2301099 h 4897570"/>
              <a:gd name="connsiteX3" fmla="*/ 1150209 w 2636109"/>
              <a:gd name="connsiteY3" fmla="*/ 2290634 h 4897570"/>
              <a:gd name="connsiteX4" fmla="*/ 1150209 w 2636109"/>
              <a:gd name="connsiteY4" fmla="*/ 0 h 4897570"/>
              <a:gd name="connsiteX0" fmla="*/ 0 w 2636109"/>
              <a:gd name="connsiteY0" fmla="*/ 2045387 h 4897570"/>
              <a:gd name="connsiteX1" fmla="*/ 1616003 w 2636109"/>
              <a:gd name="connsiteY1" fmla="*/ 4897570 h 4897570"/>
              <a:gd name="connsiteX0" fmla="*/ 1134549 w 2620449"/>
              <a:gd name="connsiteY0" fmla="*/ 0 h 4897570"/>
              <a:gd name="connsiteX1" fmla="*/ 2383731 w 2620449"/>
              <a:gd name="connsiteY1" fmla="*/ 1050219 h 4897570"/>
              <a:gd name="connsiteX2" fmla="*/ 2620434 w 2620449"/>
              <a:gd name="connsiteY2" fmla="*/ 2301099 h 4897570"/>
              <a:gd name="connsiteX3" fmla="*/ 1134549 w 2620449"/>
              <a:gd name="connsiteY3" fmla="*/ 2290634 h 4897570"/>
              <a:gd name="connsiteX4" fmla="*/ 1134549 w 2620449"/>
              <a:gd name="connsiteY4" fmla="*/ 0 h 4897570"/>
              <a:gd name="connsiteX0" fmla="*/ 0 w 2620449"/>
              <a:gd name="connsiteY0" fmla="*/ 2514150 h 4897570"/>
              <a:gd name="connsiteX1" fmla="*/ 1600343 w 2620449"/>
              <a:gd name="connsiteY1" fmla="*/ 4897570 h 4897570"/>
              <a:gd name="connsiteX0" fmla="*/ 1134549 w 2620449"/>
              <a:gd name="connsiteY0" fmla="*/ 0 h 4897570"/>
              <a:gd name="connsiteX1" fmla="*/ 2383731 w 2620449"/>
              <a:gd name="connsiteY1" fmla="*/ 1050219 h 4897570"/>
              <a:gd name="connsiteX2" fmla="*/ 2620434 w 2620449"/>
              <a:gd name="connsiteY2" fmla="*/ 2301099 h 4897570"/>
              <a:gd name="connsiteX3" fmla="*/ 1134549 w 2620449"/>
              <a:gd name="connsiteY3" fmla="*/ 2290634 h 4897570"/>
              <a:gd name="connsiteX4" fmla="*/ 1134549 w 2620449"/>
              <a:gd name="connsiteY4" fmla="*/ 0 h 4897570"/>
              <a:gd name="connsiteX0" fmla="*/ 0 w 2620449"/>
              <a:gd name="connsiteY0" fmla="*/ 2514150 h 4897570"/>
              <a:gd name="connsiteX1" fmla="*/ 1600343 w 2620449"/>
              <a:gd name="connsiteY1" fmla="*/ 4897570 h 4897570"/>
              <a:gd name="connsiteX0" fmla="*/ 1134549 w 2620449"/>
              <a:gd name="connsiteY0" fmla="*/ 0 h 4897570"/>
              <a:gd name="connsiteX1" fmla="*/ 2383731 w 2620449"/>
              <a:gd name="connsiteY1" fmla="*/ 1050219 h 4897570"/>
              <a:gd name="connsiteX2" fmla="*/ 2620434 w 2620449"/>
              <a:gd name="connsiteY2" fmla="*/ 2301099 h 4897570"/>
              <a:gd name="connsiteX3" fmla="*/ 1134549 w 2620449"/>
              <a:gd name="connsiteY3" fmla="*/ 2290634 h 4897570"/>
              <a:gd name="connsiteX4" fmla="*/ 1134549 w 2620449"/>
              <a:gd name="connsiteY4" fmla="*/ 0 h 4897570"/>
              <a:gd name="connsiteX0" fmla="*/ 0 w 2620449"/>
              <a:gd name="connsiteY0" fmla="*/ 2514150 h 4897570"/>
              <a:gd name="connsiteX1" fmla="*/ 1600343 w 2620449"/>
              <a:gd name="connsiteY1" fmla="*/ 4897570 h 4897570"/>
              <a:gd name="connsiteX0" fmla="*/ 1134549 w 2620449"/>
              <a:gd name="connsiteY0" fmla="*/ 0 h 4897570"/>
              <a:gd name="connsiteX1" fmla="*/ 2383731 w 2620449"/>
              <a:gd name="connsiteY1" fmla="*/ 1050219 h 4897570"/>
              <a:gd name="connsiteX2" fmla="*/ 2620434 w 2620449"/>
              <a:gd name="connsiteY2" fmla="*/ 2301099 h 4897570"/>
              <a:gd name="connsiteX3" fmla="*/ 1134549 w 2620449"/>
              <a:gd name="connsiteY3" fmla="*/ 2290634 h 4897570"/>
              <a:gd name="connsiteX4" fmla="*/ 1134549 w 2620449"/>
              <a:gd name="connsiteY4" fmla="*/ 0 h 4897570"/>
              <a:gd name="connsiteX0" fmla="*/ 0 w 2620449"/>
              <a:gd name="connsiteY0" fmla="*/ 2514150 h 4897570"/>
              <a:gd name="connsiteX1" fmla="*/ 1600343 w 2620449"/>
              <a:gd name="connsiteY1" fmla="*/ 4897570 h 4897570"/>
            </a:gdLst>
            <a:ahLst/>
            <a:cxnLst>
              <a:cxn ang="0">
                <a:pos x="connsiteX0" y="connsiteY0"/>
              </a:cxn>
              <a:cxn ang="0">
                <a:pos x="connsiteX1" y="connsiteY1"/>
              </a:cxn>
            </a:cxnLst>
            <a:rect l="l" t="t" r="r" b="b"/>
            <a:pathLst>
              <a:path w="2620449" h="4897570" stroke="0" extrusionOk="0">
                <a:moveTo>
                  <a:pt x="1134549" y="0"/>
                </a:moveTo>
                <a:cubicBezTo>
                  <a:pt x="1639671" y="0"/>
                  <a:pt x="2110199" y="395585"/>
                  <a:pt x="2383731" y="1050219"/>
                </a:cubicBezTo>
                <a:cubicBezTo>
                  <a:pt x="2539520" y="1423063"/>
                  <a:pt x="2621748" y="1857606"/>
                  <a:pt x="2620434" y="2301099"/>
                </a:cubicBezTo>
                <a:lnTo>
                  <a:pt x="1134549" y="2290634"/>
                </a:lnTo>
                <a:lnTo>
                  <a:pt x="1134549" y="0"/>
                </a:lnTo>
                <a:close/>
              </a:path>
              <a:path w="2620449" h="4897570" fill="none">
                <a:moveTo>
                  <a:pt x="0" y="2514150"/>
                </a:moveTo>
                <a:cubicBezTo>
                  <a:pt x="987215" y="2860519"/>
                  <a:pt x="1431544" y="4208355"/>
                  <a:pt x="1600343" y="4897570"/>
                </a:cubicBezTo>
              </a:path>
            </a:pathLst>
          </a:custGeom>
          <a:noFill/>
          <a:ln w="12700">
            <a:solidFill>
              <a:srgbClr val="F2C811">
                <a:alpha val="75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2" name="Group 1"/>
          <p:cNvGrpSpPr/>
          <p:nvPr/>
        </p:nvGrpSpPr>
        <p:grpSpPr>
          <a:xfrm>
            <a:off x="5685309" y="3510888"/>
            <a:ext cx="411186" cy="411186"/>
            <a:chOff x="5659229" y="3510890"/>
            <a:chExt cx="411244" cy="411244"/>
          </a:xfrm>
        </p:grpSpPr>
        <p:sp>
          <p:nvSpPr>
            <p:cNvPr id="20" name="Oval 19"/>
            <p:cNvSpPr/>
            <p:nvPr/>
          </p:nvSpPr>
          <p:spPr bwMode="auto">
            <a:xfrm>
              <a:off x="5659229" y="3510890"/>
              <a:ext cx="411244" cy="411244"/>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2500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1" name="Freeform 5"/>
            <p:cNvSpPr>
              <a:spLocks noEditPoints="1"/>
            </p:cNvSpPr>
            <p:nvPr/>
          </p:nvSpPr>
          <p:spPr bwMode="auto">
            <a:xfrm>
              <a:off x="5765801" y="3632201"/>
              <a:ext cx="193675" cy="168275"/>
            </a:xfrm>
            <a:custGeom>
              <a:avLst/>
              <a:gdLst>
                <a:gd name="T0" fmla="*/ 48 w 122"/>
                <a:gd name="T1" fmla="*/ 0 h 106"/>
                <a:gd name="T2" fmla="*/ 0 w 122"/>
                <a:gd name="T3" fmla="*/ 0 h 106"/>
                <a:gd name="T4" fmla="*/ 0 w 122"/>
                <a:gd name="T5" fmla="*/ 23 h 106"/>
                <a:gd name="T6" fmla="*/ 0 w 122"/>
                <a:gd name="T7" fmla="*/ 26 h 106"/>
                <a:gd name="T8" fmla="*/ 0 w 122"/>
                <a:gd name="T9" fmla="*/ 106 h 106"/>
                <a:gd name="T10" fmla="*/ 122 w 122"/>
                <a:gd name="T11" fmla="*/ 106 h 106"/>
                <a:gd name="T12" fmla="*/ 122 w 122"/>
                <a:gd name="T13" fmla="*/ 28 h 106"/>
                <a:gd name="T14" fmla="*/ 122 w 122"/>
                <a:gd name="T15" fmla="*/ 23 h 106"/>
                <a:gd name="T16" fmla="*/ 122 w 122"/>
                <a:gd name="T17" fmla="*/ 8 h 106"/>
                <a:gd name="T18" fmla="*/ 55 w 122"/>
                <a:gd name="T19" fmla="*/ 8 h 106"/>
                <a:gd name="T20" fmla="*/ 48 w 122"/>
                <a:gd name="T21" fmla="*/ 0 h 106"/>
                <a:gd name="T22" fmla="*/ 114 w 122"/>
                <a:gd name="T23" fmla="*/ 98 h 106"/>
                <a:gd name="T24" fmla="*/ 8 w 122"/>
                <a:gd name="T25" fmla="*/ 98 h 106"/>
                <a:gd name="T26" fmla="*/ 8 w 122"/>
                <a:gd name="T27" fmla="*/ 30 h 106"/>
                <a:gd name="T28" fmla="*/ 114 w 122"/>
                <a:gd name="T29" fmla="*/ 30 h 106"/>
                <a:gd name="T30" fmla="*/ 114 w 122"/>
                <a:gd name="T31" fmla="*/ 98 h 106"/>
                <a:gd name="T32" fmla="*/ 114 w 122"/>
                <a:gd name="T33" fmla="*/ 23 h 106"/>
                <a:gd name="T34" fmla="*/ 8 w 122"/>
                <a:gd name="T35" fmla="*/ 23 h 106"/>
                <a:gd name="T36" fmla="*/ 8 w 122"/>
                <a:gd name="T37" fmla="*/ 8 h 106"/>
                <a:gd name="T38" fmla="*/ 44 w 122"/>
                <a:gd name="T39" fmla="*/ 8 h 106"/>
                <a:gd name="T40" fmla="*/ 51 w 122"/>
                <a:gd name="T41" fmla="*/ 15 h 106"/>
                <a:gd name="T42" fmla="*/ 114 w 122"/>
                <a:gd name="T43" fmla="*/ 15 h 106"/>
                <a:gd name="T44" fmla="*/ 114 w 122"/>
                <a:gd name="T45" fmla="*/ 2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2" h="106">
                  <a:moveTo>
                    <a:pt x="48" y="0"/>
                  </a:moveTo>
                  <a:lnTo>
                    <a:pt x="0" y="0"/>
                  </a:lnTo>
                  <a:lnTo>
                    <a:pt x="0" y="23"/>
                  </a:lnTo>
                  <a:lnTo>
                    <a:pt x="0" y="26"/>
                  </a:lnTo>
                  <a:lnTo>
                    <a:pt x="0" y="106"/>
                  </a:lnTo>
                  <a:lnTo>
                    <a:pt x="122" y="106"/>
                  </a:lnTo>
                  <a:lnTo>
                    <a:pt x="122" y="28"/>
                  </a:lnTo>
                  <a:lnTo>
                    <a:pt x="122" y="23"/>
                  </a:lnTo>
                  <a:lnTo>
                    <a:pt x="122" y="8"/>
                  </a:lnTo>
                  <a:lnTo>
                    <a:pt x="55" y="8"/>
                  </a:lnTo>
                  <a:lnTo>
                    <a:pt x="48" y="0"/>
                  </a:lnTo>
                  <a:close/>
                  <a:moveTo>
                    <a:pt x="114" y="98"/>
                  </a:moveTo>
                  <a:lnTo>
                    <a:pt x="8" y="98"/>
                  </a:lnTo>
                  <a:lnTo>
                    <a:pt x="8" y="30"/>
                  </a:lnTo>
                  <a:lnTo>
                    <a:pt x="114" y="30"/>
                  </a:lnTo>
                  <a:lnTo>
                    <a:pt x="114" y="98"/>
                  </a:lnTo>
                  <a:close/>
                  <a:moveTo>
                    <a:pt x="114" y="23"/>
                  </a:moveTo>
                  <a:lnTo>
                    <a:pt x="8" y="23"/>
                  </a:lnTo>
                  <a:lnTo>
                    <a:pt x="8" y="8"/>
                  </a:lnTo>
                  <a:lnTo>
                    <a:pt x="44" y="8"/>
                  </a:lnTo>
                  <a:lnTo>
                    <a:pt x="51" y="15"/>
                  </a:lnTo>
                  <a:lnTo>
                    <a:pt x="114" y="15"/>
                  </a:lnTo>
                  <a:lnTo>
                    <a:pt x="114" y="23"/>
                  </a:lnTo>
                  <a:close/>
                </a:path>
              </a:pathLst>
            </a:custGeom>
            <a:solidFill>
              <a:schemeClr val="tx1">
                <a:lumMod val="50000"/>
              </a:schemeClr>
            </a:solidFill>
            <a:ln w="6350">
              <a:solidFill>
                <a:schemeClr val="tx1">
                  <a:lumMod val="50000"/>
                </a:schemeClr>
              </a:solidFill>
            </a:ln>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dirty="0">
                <a:ln>
                  <a:noFill/>
                </a:ln>
                <a:solidFill>
                  <a:sysClr val="windowText" lastClr="000000"/>
                </a:solidFill>
                <a:effectLst/>
                <a:uLnTx/>
                <a:uFillTx/>
              </a:endParaRPr>
            </a:p>
          </p:txBody>
        </p:sp>
      </p:grpSp>
      <p:grpSp>
        <p:nvGrpSpPr>
          <p:cNvPr id="4" name="Group 3"/>
          <p:cNvGrpSpPr/>
          <p:nvPr/>
        </p:nvGrpSpPr>
        <p:grpSpPr>
          <a:xfrm>
            <a:off x="6635012" y="1364513"/>
            <a:ext cx="620014" cy="620014"/>
            <a:chOff x="6616021" y="1345161"/>
            <a:chExt cx="620102" cy="620102"/>
          </a:xfrm>
        </p:grpSpPr>
        <p:sp>
          <p:nvSpPr>
            <p:cNvPr id="19" name="Oval 18"/>
            <p:cNvSpPr/>
            <p:nvPr/>
          </p:nvSpPr>
          <p:spPr bwMode="auto">
            <a:xfrm>
              <a:off x="6616021" y="1345161"/>
              <a:ext cx="620102" cy="620102"/>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6" name="Freeform 9"/>
            <p:cNvSpPr>
              <a:spLocks noEditPoints="1"/>
            </p:cNvSpPr>
            <p:nvPr/>
          </p:nvSpPr>
          <p:spPr bwMode="auto">
            <a:xfrm>
              <a:off x="6819714" y="1514476"/>
              <a:ext cx="212716" cy="281472"/>
            </a:xfrm>
            <a:custGeom>
              <a:avLst/>
              <a:gdLst>
                <a:gd name="T0" fmla="*/ 0 w 198"/>
                <a:gd name="T1" fmla="*/ 262 h 262"/>
                <a:gd name="T2" fmla="*/ 165 w 198"/>
                <a:gd name="T3" fmla="*/ 262 h 262"/>
                <a:gd name="T4" fmla="*/ 165 w 198"/>
                <a:gd name="T5" fmla="*/ 229 h 262"/>
                <a:gd name="T6" fmla="*/ 198 w 198"/>
                <a:gd name="T7" fmla="*/ 229 h 262"/>
                <a:gd name="T8" fmla="*/ 198 w 198"/>
                <a:gd name="T9" fmla="*/ 49 h 262"/>
                <a:gd name="T10" fmla="*/ 149 w 198"/>
                <a:gd name="T11" fmla="*/ 0 h 262"/>
                <a:gd name="T12" fmla="*/ 33 w 198"/>
                <a:gd name="T13" fmla="*/ 0 h 262"/>
                <a:gd name="T14" fmla="*/ 33 w 198"/>
                <a:gd name="T15" fmla="*/ 33 h 262"/>
                <a:gd name="T16" fmla="*/ 0 w 198"/>
                <a:gd name="T17" fmla="*/ 33 h 262"/>
                <a:gd name="T18" fmla="*/ 0 w 198"/>
                <a:gd name="T19" fmla="*/ 262 h 262"/>
                <a:gd name="T20" fmla="*/ 175 w 198"/>
                <a:gd name="T21" fmla="*/ 49 h 262"/>
                <a:gd name="T22" fmla="*/ 149 w 198"/>
                <a:gd name="T23" fmla="*/ 49 h 262"/>
                <a:gd name="T24" fmla="*/ 149 w 198"/>
                <a:gd name="T25" fmla="*/ 22 h 262"/>
                <a:gd name="T26" fmla="*/ 175 w 198"/>
                <a:gd name="T27" fmla="*/ 49 h 262"/>
                <a:gd name="T28" fmla="*/ 50 w 198"/>
                <a:gd name="T29" fmla="*/ 16 h 262"/>
                <a:gd name="T30" fmla="*/ 132 w 198"/>
                <a:gd name="T31" fmla="*/ 16 h 262"/>
                <a:gd name="T32" fmla="*/ 132 w 198"/>
                <a:gd name="T33" fmla="*/ 65 h 262"/>
                <a:gd name="T34" fmla="*/ 182 w 198"/>
                <a:gd name="T35" fmla="*/ 65 h 262"/>
                <a:gd name="T36" fmla="*/ 182 w 198"/>
                <a:gd name="T37" fmla="*/ 213 h 262"/>
                <a:gd name="T38" fmla="*/ 50 w 198"/>
                <a:gd name="T39" fmla="*/ 213 h 262"/>
                <a:gd name="T40" fmla="*/ 50 w 198"/>
                <a:gd name="T41" fmla="*/ 16 h 262"/>
                <a:gd name="T42" fmla="*/ 17 w 198"/>
                <a:gd name="T43" fmla="*/ 49 h 262"/>
                <a:gd name="T44" fmla="*/ 33 w 198"/>
                <a:gd name="T45" fmla="*/ 49 h 262"/>
                <a:gd name="T46" fmla="*/ 33 w 198"/>
                <a:gd name="T47" fmla="*/ 229 h 262"/>
                <a:gd name="T48" fmla="*/ 149 w 198"/>
                <a:gd name="T49" fmla="*/ 229 h 262"/>
                <a:gd name="T50" fmla="*/ 149 w 198"/>
                <a:gd name="T51" fmla="*/ 246 h 262"/>
                <a:gd name="T52" fmla="*/ 17 w 198"/>
                <a:gd name="T53" fmla="*/ 246 h 262"/>
                <a:gd name="T54" fmla="*/ 17 w 198"/>
                <a:gd name="T55" fmla="*/ 49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8" h="262">
                  <a:moveTo>
                    <a:pt x="0" y="262"/>
                  </a:moveTo>
                  <a:lnTo>
                    <a:pt x="165" y="262"/>
                  </a:lnTo>
                  <a:lnTo>
                    <a:pt x="165" y="229"/>
                  </a:lnTo>
                  <a:lnTo>
                    <a:pt x="198" y="229"/>
                  </a:lnTo>
                  <a:lnTo>
                    <a:pt x="198" y="49"/>
                  </a:lnTo>
                  <a:lnTo>
                    <a:pt x="149" y="0"/>
                  </a:lnTo>
                  <a:lnTo>
                    <a:pt x="33" y="0"/>
                  </a:lnTo>
                  <a:lnTo>
                    <a:pt x="33" y="33"/>
                  </a:lnTo>
                  <a:lnTo>
                    <a:pt x="0" y="33"/>
                  </a:lnTo>
                  <a:lnTo>
                    <a:pt x="0" y="262"/>
                  </a:lnTo>
                  <a:close/>
                  <a:moveTo>
                    <a:pt x="175" y="49"/>
                  </a:moveTo>
                  <a:lnTo>
                    <a:pt x="149" y="49"/>
                  </a:lnTo>
                  <a:lnTo>
                    <a:pt x="149" y="22"/>
                  </a:lnTo>
                  <a:lnTo>
                    <a:pt x="175" y="49"/>
                  </a:lnTo>
                  <a:close/>
                  <a:moveTo>
                    <a:pt x="50" y="16"/>
                  </a:moveTo>
                  <a:lnTo>
                    <a:pt x="132" y="16"/>
                  </a:lnTo>
                  <a:lnTo>
                    <a:pt x="132" y="65"/>
                  </a:lnTo>
                  <a:lnTo>
                    <a:pt x="182" y="65"/>
                  </a:lnTo>
                  <a:lnTo>
                    <a:pt x="182" y="213"/>
                  </a:lnTo>
                  <a:lnTo>
                    <a:pt x="50" y="213"/>
                  </a:lnTo>
                  <a:lnTo>
                    <a:pt x="50" y="16"/>
                  </a:lnTo>
                  <a:close/>
                  <a:moveTo>
                    <a:pt x="17" y="49"/>
                  </a:moveTo>
                  <a:lnTo>
                    <a:pt x="33" y="49"/>
                  </a:lnTo>
                  <a:lnTo>
                    <a:pt x="33" y="229"/>
                  </a:lnTo>
                  <a:lnTo>
                    <a:pt x="149" y="229"/>
                  </a:lnTo>
                  <a:lnTo>
                    <a:pt x="149" y="246"/>
                  </a:lnTo>
                  <a:lnTo>
                    <a:pt x="17" y="246"/>
                  </a:lnTo>
                  <a:lnTo>
                    <a:pt x="17" y="49"/>
                  </a:lnTo>
                  <a:close/>
                </a:path>
              </a:pathLst>
            </a:custGeom>
            <a:solidFill>
              <a:schemeClr val="tx1">
                <a:lumMod val="50000"/>
              </a:schemeClr>
            </a:solidFill>
            <a:ln>
              <a:noFill/>
            </a:ln>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6" name="Group 5"/>
          <p:cNvGrpSpPr/>
          <p:nvPr/>
        </p:nvGrpSpPr>
        <p:grpSpPr>
          <a:xfrm>
            <a:off x="7362178" y="3259053"/>
            <a:ext cx="620014" cy="620014"/>
            <a:chOff x="7362341" y="3259020"/>
            <a:chExt cx="620102" cy="620102"/>
          </a:xfrm>
        </p:grpSpPr>
        <p:sp>
          <p:nvSpPr>
            <p:cNvPr id="16" name="Oval 15"/>
            <p:cNvSpPr/>
            <p:nvPr/>
          </p:nvSpPr>
          <p:spPr bwMode="auto">
            <a:xfrm>
              <a:off x="7362341" y="3259020"/>
              <a:ext cx="620102" cy="620102"/>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0" name="Freeform 13"/>
            <p:cNvSpPr>
              <a:spLocks noEditPoints="1"/>
            </p:cNvSpPr>
            <p:nvPr/>
          </p:nvSpPr>
          <p:spPr bwMode="auto">
            <a:xfrm rot="16200000">
              <a:off x="7522796" y="3440289"/>
              <a:ext cx="299192" cy="257566"/>
            </a:xfrm>
            <a:custGeom>
              <a:avLst/>
              <a:gdLst>
                <a:gd name="T0" fmla="*/ 14 w 112"/>
                <a:gd name="T1" fmla="*/ 68 h 96"/>
                <a:gd name="T2" fmla="*/ 22 w 112"/>
                <a:gd name="T3" fmla="*/ 60 h 96"/>
                <a:gd name="T4" fmla="*/ 40 w 112"/>
                <a:gd name="T5" fmla="*/ 60 h 96"/>
                <a:gd name="T6" fmla="*/ 40 w 112"/>
                <a:gd name="T7" fmla="*/ 96 h 96"/>
                <a:gd name="T8" fmla="*/ 55 w 112"/>
                <a:gd name="T9" fmla="*/ 96 h 96"/>
                <a:gd name="T10" fmla="*/ 74 w 112"/>
                <a:gd name="T11" fmla="*/ 64 h 96"/>
                <a:gd name="T12" fmla="*/ 96 w 112"/>
                <a:gd name="T13" fmla="*/ 64 h 96"/>
                <a:gd name="T14" fmla="*/ 112 w 112"/>
                <a:gd name="T15" fmla="*/ 48 h 96"/>
                <a:gd name="T16" fmla="*/ 96 w 112"/>
                <a:gd name="T17" fmla="*/ 32 h 96"/>
                <a:gd name="T18" fmla="*/ 74 w 112"/>
                <a:gd name="T19" fmla="*/ 32 h 96"/>
                <a:gd name="T20" fmla="*/ 55 w 112"/>
                <a:gd name="T21" fmla="*/ 0 h 96"/>
                <a:gd name="T22" fmla="*/ 40 w 112"/>
                <a:gd name="T23" fmla="*/ 0 h 96"/>
                <a:gd name="T24" fmla="*/ 40 w 112"/>
                <a:gd name="T25" fmla="*/ 36 h 96"/>
                <a:gd name="T26" fmla="*/ 22 w 112"/>
                <a:gd name="T27" fmla="*/ 36 h 96"/>
                <a:gd name="T28" fmla="*/ 14 w 112"/>
                <a:gd name="T29" fmla="*/ 28 h 96"/>
                <a:gd name="T30" fmla="*/ 0 w 112"/>
                <a:gd name="T31" fmla="*/ 28 h 96"/>
                <a:gd name="T32" fmla="*/ 3 w 112"/>
                <a:gd name="T33" fmla="*/ 48 h 96"/>
                <a:gd name="T34" fmla="*/ 0 w 112"/>
                <a:gd name="T35" fmla="*/ 68 h 96"/>
                <a:gd name="T36" fmla="*/ 14 w 112"/>
                <a:gd name="T37" fmla="*/ 68 h 96"/>
                <a:gd name="T38" fmla="*/ 9 w 112"/>
                <a:gd name="T39" fmla="*/ 36 h 96"/>
                <a:gd name="T40" fmla="*/ 11 w 112"/>
                <a:gd name="T41" fmla="*/ 36 h 96"/>
                <a:gd name="T42" fmla="*/ 19 w 112"/>
                <a:gd name="T43" fmla="*/ 44 h 96"/>
                <a:gd name="T44" fmla="*/ 48 w 112"/>
                <a:gd name="T45" fmla="*/ 44 h 96"/>
                <a:gd name="T46" fmla="*/ 48 w 112"/>
                <a:gd name="T47" fmla="*/ 8 h 96"/>
                <a:gd name="T48" fmla="*/ 50 w 112"/>
                <a:gd name="T49" fmla="*/ 8 h 96"/>
                <a:gd name="T50" fmla="*/ 69 w 112"/>
                <a:gd name="T51" fmla="*/ 40 h 96"/>
                <a:gd name="T52" fmla="*/ 96 w 112"/>
                <a:gd name="T53" fmla="*/ 40 h 96"/>
                <a:gd name="T54" fmla="*/ 104 w 112"/>
                <a:gd name="T55" fmla="*/ 48 h 96"/>
                <a:gd name="T56" fmla="*/ 96 w 112"/>
                <a:gd name="T57" fmla="*/ 56 h 96"/>
                <a:gd name="T58" fmla="*/ 69 w 112"/>
                <a:gd name="T59" fmla="*/ 56 h 96"/>
                <a:gd name="T60" fmla="*/ 50 w 112"/>
                <a:gd name="T61" fmla="*/ 88 h 96"/>
                <a:gd name="T62" fmla="*/ 48 w 112"/>
                <a:gd name="T63" fmla="*/ 88 h 96"/>
                <a:gd name="T64" fmla="*/ 48 w 112"/>
                <a:gd name="T65" fmla="*/ 52 h 96"/>
                <a:gd name="T66" fmla="*/ 19 w 112"/>
                <a:gd name="T67" fmla="*/ 52 h 96"/>
                <a:gd name="T68" fmla="*/ 11 w 112"/>
                <a:gd name="T69" fmla="*/ 60 h 96"/>
                <a:gd name="T70" fmla="*/ 9 w 112"/>
                <a:gd name="T71" fmla="*/ 60 h 96"/>
                <a:gd name="T72" fmla="*/ 11 w 112"/>
                <a:gd name="T73" fmla="*/ 48 h 96"/>
                <a:gd name="T74" fmla="*/ 9 w 112"/>
                <a:gd name="T75" fmla="*/ 3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96">
                  <a:moveTo>
                    <a:pt x="14" y="68"/>
                  </a:moveTo>
                  <a:cubicBezTo>
                    <a:pt x="22" y="60"/>
                    <a:pt x="22" y="60"/>
                    <a:pt x="22" y="60"/>
                  </a:cubicBezTo>
                  <a:cubicBezTo>
                    <a:pt x="40" y="60"/>
                    <a:pt x="40" y="60"/>
                    <a:pt x="40" y="60"/>
                  </a:cubicBezTo>
                  <a:cubicBezTo>
                    <a:pt x="40" y="96"/>
                    <a:pt x="40" y="96"/>
                    <a:pt x="40" y="96"/>
                  </a:cubicBezTo>
                  <a:cubicBezTo>
                    <a:pt x="55" y="96"/>
                    <a:pt x="55" y="96"/>
                    <a:pt x="55" y="96"/>
                  </a:cubicBezTo>
                  <a:cubicBezTo>
                    <a:pt x="74" y="64"/>
                    <a:pt x="74" y="64"/>
                    <a:pt x="74" y="64"/>
                  </a:cubicBezTo>
                  <a:cubicBezTo>
                    <a:pt x="96" y="64"/>
                    <a:pt x="96" y="64"/>
                    <a:pt x="96" y="64"/>
                  </a:cubicBezTo>
                  <a:cubicBezTo>
                    <a:pt x="105" y="64"/>
                    <a:pt x="112" y="57"/>
                    <a:pt x="112" y="48"/>
                  </a:cubicBezTo>
                  <a:cubicBezTo>
                    <a:pt x="112" y="39"/>
                    <a:pt x="105" y="32"/>
                    <a:pt x="96" y="32"/>
                  </a:cubicBezTo>
                  <a:cubicBezTo>
                    <a:pt x="74" y="32"/>
                    <a:pt x="74" y="32"/>
                    <a:pt x="74" y="32"/>
                  </a:cubicBezTo>
                  <a:cubicBezTo>
                    <a:pt x="55" y="0"/>
                    <a:pt x="55" y="0"/>
                    <a:pt x="55" y="0"/>
                  </a:cubicBezTo>
                  <a:cubicBezTo>
                    <a:pt x="40" y="0"/>
                    <a:pt x="40" y="0"/>
                    <a:pt x="40" y="0"/>
                  </a:cubicBezTo>
                  <a:cubicBezTo>
                    <a:pt x="40" y="36"/>
                    <a:pt x="40" y="36"/>
                    <a:pt x="40" y="36"/>
                  </a:cubicBezTo>
                  <a:cubicBezTo>
                    <a:pt x="22" y="36"/>
                    <a:pt x="22" y="36"/>
                    <a:pt x="22" y="36"/>
                  </a:cubicBezTo>
                  <a:cubicBezTo>
                    <a:pt x="14" y="28"/>
                    <a:pt x="14" y="28"/>
                    <a:pt x="14" y="28"/>
                  </a:cubicBezTo>
                  <a:cubicBezTo>
                    <a:pt x="0" y="28"/>
                    <a:pt x="0" y="28"/>
                    <a:pt x="0" y="28"/>
                  </a:cubicBezTo>
                  <a:cubicBezTo>
                    <a:pt x="3" y="48"/>
                    <a:pt x="3" y="48"/>
                    <a:pt x="3" y="48"/>
                  </a:cubicBezTo>
                  <a:cubicBezTo>
                    <a:pt x="0" y="68"/>
                    <a:pt x="0" y="68"/>
                    <a:pt x="0" y="68"/>
                  </a:cubicBezTo>
                  <a:lnTo>
                    <a:pt x="14" y="68"/>
                  </a:lnTo>
                  <a:close/>
                  <a:moveTo>
                    <a:pt x="9" y="36"/>
                  </a:moveTo>
                  <a:cubicBezTo>
                    <a:pt x="11" y="36"/>
                    <a:pt x="11" y="36"/>
                    <a:pt x="11" y="36"/>
                  </a:cubicBezTo>
                  <a:cubicBezTo>
                    <a:pt x="19" y="44"/>
                    <a:pt x="19" y="44"/>
                    <a:pt x="19" y="44"/>
                  </a:cubicBezTo>
                  <a:cubicBezTo>
                    <a:pt x="48" y="44"/>
                    <a:pt x="48" y="44"/>
                    <a:pt x="48" y="44"/>
                  </a:cubicBezTo>
                  <a:cubicBezTo>
                    <a:pt x="48" y="8"/>
                    <a:pt x="48" y="8"/>
                    <a:pt x="48" y="8"/>
                  </a:cubicBezTo>
                  <a:cubicBezTo>
                    <a:pt x="50" y="8"/>
                    <a:pt x="50" y="8"/>
                    <a:pt x="50" y="8"/>
                  </a:cubicBezTo>
                  <a:cubicBezTo>
                    <a:pt x="69" y="40"/>
                    <a:pt x="69" y="40"/>
                    <a:pt x="69" y="40"/>
                  </a:cubicBezTo>
                  <a:cubicBezTo>
                    <a:pt x="96" y="40"/>
                    <a:pt x="96" y="40"/>
                    <a:pt x="96" y="40"/>
                  </a:cubicBezTo>
                  <a:cubicBezTo>
                    <a:pt x="101" y="40"/>
                    <a:pt x="104" y="44"/>
                    <a:pt x="104" y="48"/>
                  </a:cubicBezTo>
                  <a:cubicBezTo>
                    <a:pt x="104" y="52"/>
                    <a:pt x="101" y="56"/>
                    <a:pt x="96" y="56"/>
                  </a:cubicBezTo>
                  <a:cubicBezTo>
                    <a:pt x="69" y="56"/>
                    <a:pt x="69" y="56"/>
                    <a:pt x="69" y="56"/>
                  </a:cubicBezTo>
                  <a:cubicBezTo>
                    <a:pt x="50" y="88"/>
                    <a:pt x="50" y="88"/>
                    <a:pt x="50" y="88"/>
                  </a:cubicBezTo>
                  <a:cubicBezTo>
                    <a:pt x="48" y="88"/>
                    <a:pt x="48" y="88"/>
                    <a:pt x="48" y="88"/>
                  </a:cubicBezTo>
                  <a:cubicBezTo>
                    <a:pt x="48" y="52"/>
                    <a:pt x="48" y="52"/>
                    <a:pt x="48" y="52"/>
                  </a:cubicBezTo>
                  <a:cubicBezTo>
                    <a:pt x="19" y="52"/>
                    <a:pt x="19" y="52"/>
                    <a:pt x="19" y="52"/>
                  </a:cubicBezTo>
                  <a:cubicBezTo>
                    <a:pt x="11" y="60"/>
                    <a:pt x="11" y="60"/>
                    <a:pt x="11" y="60"/>
                  </a:cubicBezTo>
                  <a:cubicBezTo>
                    <a:pt x="9" y="60"/>
                    <a:pt x="9" y="60"/>
                    <a:pt x="9" y="60"/>
                  </a:cubicBezTo>
                  <a:cubicBezTo>
                    <a:pt x="11" y="48"/>
                    <a:pt x="11" y="48"/>
                    <a:pt x="11" y="48"/>
                  </a:cubicBezTo>
                  <a:lnTo>
                    <a:pt x="9" y="36"/>
                  </a:lnTo>
                  <a:close/>
                </a:path>
              </a:pathLst>
            </a:custGeom>
            <a:solidFill>
              <a:schemeClr val="bg2">
                <a:lumMod val="10000"/>
              </a:schemeClr>
            </a:solidFill>
            <a:ln>
              <a:noFill/>
            </a:ln>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9" name="Group 8"/>
          <p:cNvGrpSpPr/>
          <p:nvPr/>
        </p:nvGrpSpPr>
        <p:grpSpPr>
          <a:xfrm>
            <a:off x="10941967" y="670444"/>
            <a:ext cx="620014" cy="620014"/>
            <a:chOff x="10942637" y="670043"/>
            <a:chExt cx="620102" cy="620102"/>
          </a:xfrm>
        </p:grpSpPr>
        <p:sp>
          <p:nvSpPr>
            <p:cNvPr id="18" name="Oval 17"/>
            <p:cNvSpPr/>
            <p:nvPr/>
          </p:nvSpPr>
          <p:spPr bwMode="auto">
            <a:xfrm>
              <a:off x="10942637" y="670043"/>
              <a:ext cx="620102" cy="620102"/>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3" name="Group 2"/>
            <p:cNvGrpSpPr/>
            <p:nvPr/>
          </p:nvGrpSpPr>
          <p:grpSpPr>
            <a:xfrm>
              <a:off x="11127399" y="857251"/>
              <a:ext cx="250578" cy="240926"/>
              <a:chOff x="11127399" y="857251"/>
              <a:chExt cx="250578" cy="240926"/>
            </a:xfrm>
          </p:grpSpPr>
          <p:sp>
            <p:nvSpPr>
              <p:cNvPr id="47" name="Freeform 17"/>
              <p:cNvSpPr>
                <a:spLocks/>
              </p:cNvSpPr>
              <p:nvPr/>
            </p:nvSpPr>
            <p:spPr bwMode="auto">
              <a:xfrm>
                <a:off x="11127399" y="885848"/>
                <a:ext cx="250578" cy="212329"/>
              </a:xfrm>
              <a:custGeom>
                <a:avLst/>
                <a:gdLst>
                  <a:gd name="T0" fmla="*/ 135 w 701"/>
                  <a:gd name="T1" fmla="*/ 0 h 594"/>
                  <a:gd name="T2" fmla="*/ 0 w 701"/>
                  <a:gd name="T3" fmla="*/ 0 h 594"/>
                  <a:gd name="T4" fmla="*/ 0 w 701"/>
                  <a:gd name="T5" fmla="*/ 594 h 594"/>
                  <a:gd name="T6" fmla="*/ 701 w 701"/>
                  <a:gd name="T7" fmla="*/ 594 h 594"/>
                  <a:gd name="T8" fmla="*/ 701 w 701"/>
                  <a:gd name="T9" fmla="*/ 0 h 594"/>
                  <a:gd name="T10" fmla="*/ 297 w 701"/>
                  <a:gd name="T11" fmla="*/ 0 h 594"/>
                </a:gdLst>
                <a:ahLst/>
                <a:cxnLst>
                  <a:cxn ang="0">
                    <a:pos x="T0" y="T1"/>
                  </a:cxn>
                  <a:cxn ang="0">
                    <a:pos x="T2" y="T3"/>
                  </a:cxn>
                  <a:cxn ang="0">
                    <a:pos x="T4" y="T5"/>
                  </a:cxn>
                  <a:cxn ang="0">
                    <a:pos x="T6" y="T7"/>
                  </a:cxn>
                  <a:cxn ang="0">
                    <a:pos x="T8" y="T9"/>
                  </a:cxn>
                  <a:cxn ang="0">
                    <a:pos x="T10" y="T11"/>
                  </a:cxn>
                </a:cxnLst>
                <a:rect l="0" t="0" r="r" b="b"/>
                <a:pathLst>
                  <a:path w="701" h="594">
                    <a:moveTo>
                      <a:pt x="135" y="0"/>
                    </a:moveTo>
                    <a:lnTo>
                      <a:pt x="0" y="0"/>
                    </a:lnTo>
                    <a:lnTo>
                      <a:pt x="0" y="594"/>
                    </a:lnTo>
                    <a:lnTo>
                      <a:pt x="701" y="594"/>
                    </a:lnTo>
                    <a:lnTo>
                      <a:pt x="701" y="0"/>
                    </a:lnTo>
                    <a:lnTo>
                      <a:pt x="297" y="0"/>
                    </a:lnTo>
                  </a:path>
                </a:pathLst>
              </a:custGeom>
              <a:noFill/>
              <a:ln w="19050" cap="flat">
                <a:solidFill>
                  <a:schemeClr val="tx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 name="Line 18"/>
              <p:cNvSpPr>
                <a:spLocks noChangeShapeType="1"/>
              </p:cNvSpPr>
              <p:nvPr/>
            </p:nvSpPr>
            <p:spPr bwMode="auto">
              <a:xfrm>
                <a:off x="11233564" y="943756"/>
                <a:ext cx="144413" cy="0"/>
              </a:xfrm>
              <a:prstGeom prst="line">
                <a:avLst/>
              </a:prstGeom>
              <a:noFill/>
              <a:ln w="19050" cap="flat">
                <a:solidFill>
                  <a:schemeClr val="tx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 name="Line 19"/>
              <p:cNvSpPr>
                <a:spLocks noChangeShapeType="1"/>
              </p:cNvSpPr>
              <p:nvPr/>
            </p:nvSpPr>
            <p:spPr bwMode="auto">
              <a:xfrm flipH="1">
                <a:off x="11127399" y="943756"/>
                <a:ext cx="48257" cy="0"/>
              </a:xfrm>
              <a:prstGeom prst="line">
                <a:avLst/>
              </a:prstGeom>
              <a:noFill/>
              <a:ln w="19050" cap="flat">
                <a:solidFill>
                  <a:schemeClr val="tx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 name="Line 20"/>
              <p:cNvSpPr>
                <a:spLocks noChangeShapeType="1"/>
              </p:cNvSpPr>
              <p:nvPr/>
            </p:nvSpPr>
            <p:spPr bwMode="auto">
              <a:xfrm>
                <a:off x="11204610" y="857251"/>
                <a:ext cx="0" cy="192669"/>
              </a:xfrm>
              <a:prstGeom prst="line">
                <a:avLst/>
              </a:prstGeom>
              <a:noFill/>
              <a:ln w="19050" cap="flat">
                <a:solidFill>
                  <a:schemeClr val="tx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 name="Freeform 21"/>
              <p:cNvSpPr>
                <a:spLocks/>
              </p:cNvSpPr>
              <p:nvPr/>
            </p:nvSpPr>
            <p:spPr bwMode="auto">
              <a:xfrm>
                <a:off x="11166004" y="1011314"/>
                <a:ext cx="77211" cy="38605"/>
              </a:xfrm>
              <a:custGeom>
                <a:avLst/>
                <a:gdLst>
                  <a:gd name="T0" fmla="*/ 216 w 216"/>
                  <a:gd name="T1" fmla="*/ 0 h 108"/>
                  <a:gd name="T2" fmla="*/ 108 w 216"/>
                  <a:gd name="T3" fmla="*/ 108 h 108"/>
                  <a:gd name="T4" fmla="*/ 0 w 216"/>
                  <a:gd name="T5" fmla="*/ 0 h 108"/>
                </a:gdLst>
                <a:ahLst/>
                <a:cxnLst>
                  <a:cxn ang="0">
                    <a:pos x="T0" y="T1"/>
                  </a:cxn>
                  <a:cxn ang="0">
                    <a:pos x="T2" y="T3"/>
                  </a:cxn>
                  <a:cxn ang="0">
                    <a:pos x="T4" y="T5"/>
                  </a:cxn>
                </a:cxnLst>
                <a:rect l="0" t="0" r="r" b="b"/>
                <a:pathLst>
                  <a:path w="216" h="108">
                    <a:moveTo>
                      <a:pt x="216" y="0"/>
                    </a:moveTo>
                    <a:lnTo>
                      <a:pt x="108" y="108"/>
                    </a:lnTo>
                    <a:lnTo>
                      <a:pt x="0" y="0"/>
                    </a:lnTo>
                  </a:path>
                </a:pathLst>
              </a:custGeom>
              <a:noFill/>
              <a:ln w="19050" cap="flat">
                <a:solidFill>
                  <a:schemeClr val="tx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 name="Oval 22"/>
              <p:cNvSpPr>
                <a:spLocks noChangeArrowheads="1"/>
              </p:cNvSpPr>
              <p:nvPr/>
            </p:nvSpPr>
            <p:spPr bwMode="auto">
              <a:xfrm>
                <a:off x="11271812" y="905151"/>
                <a:ext cx="19303" cy="19303"/>
              </a:xfrm>
              <a:prstGeom prst="ellipse">
                <a:avLst/>
              </a:prstGeom>
              <a:solidFill>
                <a:schemeClr val="tx1">
                  <a:lumMod val="50000"/>
                </a:schemeClr>
              </a:solidFill>
              <a:ln>
                <a:noFill/>
              </a:ln>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 name="Oval 23"/>
              <p:cNvSpPr>
                <a:spLocks noChangeArrowheads="1"/>
              </p:cNvSpPr>
              <p:nvPr/>
            </p:nvSpPr>
            <p:spPr bwMode="auto">
              <a:xfrm>
                <a:off x="11300766" y="905151"/>
                <a:ext cx="19303" cy="19303"/>
              </a:xfrm>
              <a:prstGeom prst="ellipse">
                <a:avLst/>
              </a:prstGeom>
              <a:solidFill>
                <a:schemeClr val="tx1">
                  <a:lumMod val="50000"/>
                </a:schemeClr>
              </a:solidFill>
              <a:ln>
                <a:noFill/>
              </a:ln>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 name="Oval 24"/>
              <p:cNvSpPr>
                <a:spLocks noChangeArrowheads="1"/>
              </p:cNvSpPr>
              <p:nvPr/>
            </p:nvSpPr>
            <p:spPr bwMode="auto">
              <a:xfrm>
                <a:off x="11329720" y="905151"/>
                <a:ext cx="19303" cy="19303"/>
              </a:xfrm>
              <a:prstGeom prst="ellipse">
                <a:avLst/>
              </a:prstGeom>
              <a:solidFill>
                <a:schemeClr val="tx1">
                  <a:lumMod val="50000"/>
                </a:schemeClr>
              </a:solidFill>
              <a:ln>
                <a:noFill/>
              </a:ln>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grpSp>
        <p:nvGrpSpPr>
          <p:cNvPr id="10" name="Group 9"/>
          <p:cNvGrpSpPr/>
          <p:nvPr/>
        </p:nvGrpSpPr>
        <p:grpSpPr>
          <a:xfrm>
            <a:off x="9791620" y="2962568"/>
            <a:ext cx="620014" cy="620014"/>
            <a:chOff x="9792127" y="2962492"/>
            <a:chExt cx="620102" cy="620102"/>
          </a:xfrm>
        </p:grpSpPr>
        <p:sp>
          <p:nvSpPr>
            <p:cNvPr id="21" name="Oval 20"/>
            <p:cNvSpPr/>
            <p:nvPr/>
          </p:nvSpPr>
          <p:spPr bwMode="auto">
            <a:xfrm>
              <a:off x="9792127" y="2962492"/>
              <a:ext cx="620102" cy="620102"/>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7" name="Freeform 28"/>
            <p:cNvSpPr>
              <a:spLocks noEditPoints="1"/>
            </p:cNvSpPr>
            <p:nvPr/>
          </p:nvSpPr>
          <p:spPr bwMode="auto">
            <a:xfrm>
              <a:off x="9955456" y="3128413"/>
              <a:ext cx="293444" cy="254922"/>
            </a:xfrm>
            <a:custGeom>
              <a:avLst/>
              <a:gdLst>
                <a:gd name="T0" fmla="*/ 92 w 120"/>
                <a:gd name="T1" fmla="*/ 40 h 104"/>
                <a:gd name="T2" fmla="*/ 64 w 120"/>
                <a:gd name="T3" fmla="*/ 40 h 104"/>
                <a:gd name="T4" fmla="*/ 64 w 120"/>
                <a:gd name="T5" fmla="*/ 31 h 104"/>
                <a:gd name="T6" fmla="*/ 76 w 120"/>
                <a:gd name="T7" fmla="*/ 16 h 104"/>
                <a:gd name="T8" fmla="*/ 60 w 120"/>
                <a:gd name="T9" fmla="*/ 0 h 104"/>
                <a:gd name="T10" fmla="*/ 44 w 120"/>
                <a:gd name="T11" fmla="*/ 16 h 104"/>
                <a:gd name="T12" fmla="*/ 56 w 120"/>
                <a:gd name="T13" fmla="*/ 31 h 104"/>
                <a:gd name="T14" fmla="*/ 56 w 120"/>
                <a:gd name="T15" fmla="*/ 40 h 104"/>
                <a:gd name="T16" fmla="*/ 28 w 120"/>
                <a:gd name="T17" fmla="*/ 40 h 104"/>
                <a:gd name="T18" fmla="*/ 0 w 120"/>
                <a:gd name="T19" fmla="*/ 104 h 104"/>
                <a:gd name="T20" fmla="*/ 120 w 120"/>
                <a:gd name="T21" fmla="*/ 104 h 104"/>
                <a:gd name="T22" fmla="*/ 92 w 120"/>
                <a:gd name="T23" fmla="*/ 40 h 104"/>
                <a:gd name="T24" fmla="*/ 52 w 120"/>
                <a:gd name="T25" fmla="*/ 16 h 104"/>
                <a:gd name="T26" fmla="*/ 60 w 120"/>
                <a:gd name="T27" fmla="*/ 8 h 104"/>
                <a:gd name="T28" fmla="*/ 68 w 120"/>
                <a:gd name="T29" fmla="*/ 16 h 104"/>
                <a:gd name="T30" fmla="*/ 60 w 120"/>
                <a:gd name="T31" fmla="*/ 24 h 104"/>
                <a:gd name="T32" fmla="*/ 52 w 120"/>
                <a:gd name="T33" fmla="*/ 16 h 104"/>
                <a:gd name="T34" fmla="*/ 79 w 120"/>
                <a:gd name="T35" fmla="*/ 80 h 104"/>
                <a:gd name="T36" fmla="*/ 83 w 120"/>
                <a:gd name="T37" fmla="*/ 96 h 104"/>
                <a:gd name="T38" fmla="*/ 37 w 120"/>
                <a:gd name="T39" fmla="*/ 96 h 104"/>
                <a:gd name="T40" fmla="*/ 41 w 120"/>
                <a:gd name="T41" fmla="*/ 80 h 104"/>
                <a:gd name="T42" fmla="*/ 79 w 120"/>
                <a:gd name="T43" fmla="*/ 80 h 104"/>
                <a:gd name="T44" fmla="*/ 87 w 120"/>
                <a:gd name="T45" fmla="*/ 80 h 104"/>
                <a:gd name="T46" fmla="*/ 101 w 120"/>
                <a:gd name="T47" fmla="*/ 80 h 104"/>
                <a:gd name="T48" fmla="*/ 108 w 120"/>
                <a:gd name="T49" fmla="*/ 96 h 104"/>
                <a:gd name="T50" fmla="*/ 91 w 120"/>
                <a:gd name="T51" fmla="*/ 96 h 104"/>
                <a:gd name="T52" fmla="*/ 87 w 120"/>
                <a:gd name="T53" fmla="*/ 80 h 104"/>
                <a:gd name="T54" fmla="*/ 83 w 120"/>
                <a:gd name="T55" fmla="*/ 64 h 104"/>
                <a:gd name="T56" fmla="*/ 94 w 120"/>
                <a:gd name="T57" fmla="*/ 64 h 104"/>
                <a:gd name="T58" fmla="*/ 97 w 120"/>
                <a:gd name="T59" fmla="*/ 72 h 104"/>
                <a:gd name="T60" fmla="*/ 85 w 120"/>
                <a:gd name="T61" fmla="*/ 72 h 104"/>
                <a:gd name="T62" fmla="*/ 83 w 120"/>
                <a:gd name="T63" fmla="*/ 64 h 104"/>
                <a:gd name="T64" fmla="*/ 90 w 120"/>
                <a:gd name="T65" fmla="*/ 56 h 104"/>
                <a:gd name="T66" fmla="*/ 81 w 120"/>
                <a:gd name="T67" fmla="*/ 56 h 104"/>
                <a:gd name="T68" fmla="*/ 79 w 120"/>
                <a:gd name="T69" fmla="*/ 48 h 104"/>
                <a:gd name="T70" fmla="*/ 87 w 120"/>
                <a:gd name="T71" fmla="*/ 48 h 104"/>
                <a:gd name="T72" fmla="*/ 90 w 120"/>
                <a:gd name="T73" fmla="*/ 56 h 104"/>
                <a:gd name="T74" fmla="*/ 71 w 120"/>
                <a:gd name="T75" fmla="*/ 48 h 104"/>
                <a:gd name="T76" fmla="*/ 77 w 120"/>
                <a:gd name="T77" fmla="*/ 72 h 104"/>
                <a:gd name="T78" fmla="*/ 64 w 120"/>
                <a:gd name="T79" fmla="*/ 72 h 104"/>
                <a:gd name="T80" fmla="*/ 64 w 120"/>
                <a:gd name="T81" fmla="*/ 48 h 104"/>
                <a:gd name="T82" fmla="*/ 71 w 120"/>
                <a:gd name="T83" fmla="*/ 48 h 104"/>
                <a:gd name="T84" fmla="*/ 33 w 120"/>
                <a:gd name="T85" fmla="*/ 48 h 104"/>
                <a:gd name="T86" fmla="*/ 56 w 120"/>
                <a:gd name="T87" fmla="*/ 48 h 104"/>
                <a:gd name="T88" fmla="*/ 56 w 120"/>
                <a:gd name="T89" fmla="*/ 72 h 104"/>
                <a:gd name="T90" fmla="*/ 23 w 120"/>
                <a:gd name="T91" fmla="*/ 72 h 104"/>
                <a:gd name="T92" fmla="*/ 33 w 120"/>
                <a:gd name="T93" fmla="*/ 48 h 104"/>
                <a:gd name="T94" fmla="*/ 19 w 120"/>
                <a:gd name="T95" fmla="*/ 80 h 104"/>
                <a:gd name="T96" fmla="*/ 33 w 120"/>
                <a:gd name="T97" fmla="*/ 80 h 104"/>
                <a:gd name="T98" fmla="*/ 29 w 120"/>
                <a:gd name="T99" fmla="*/ 96 h 104"/>
                <a:gd name="T100" fmla="*/ 12 w 120"/>
                <a:gd name="T101" fmla="*/ 96 h 104"/>
                <a:gd name="T102" fmla="*/ 19 w 120"/>
                <a:gd name="T103" fmla="*/ 8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0" h="104">
                  <a:moveTo>
                    <a:pt x="92" y="40"/>
                  </a:moveTo>
                  <a:cubicBezTo>
                    <a:pt x="64" y="40"/>
                    <a:pt x="64" y="40"/>
                    <a:pt x="64" y="40"/>
                  </a:cubicBezTo>
                  <a:cubicBezTo>
                    <a:pt x="64" y="31"/>
                    <a:pt x="64" y="31"/>
                    <a:pt x="64" y="31"/>
                  </a:cubicBezTo>
                  <a:cubicBezTo>
                    <a:pt x="71" y="29"/>
                    <a:pt x="76" y="23"/>
                    <a:pt x="76" y="16"/>
                  </a:cubicBezTo>
                  <a:cubicBezTo>
                    <a:pt x="76" y="7"/>
                    <a:pt x="69" y="0"/>
                    <a:pt x="60" y="0"/>
                  </a:cubicBezTo>
                  <a:cubicBezTo>
                    <a:pt x="51" y="0"/>
                    <a:pt x="44" y="7"/>
                    <a:pt x="44" y="16"/>
                  </a:cubicBezTo>
                  <a:cubicBezTo>
                    <a:pt x="44" y="23"/>
                    <a:pt x="49" y="29"/>
                    <a:pt x="56" y="31"/>
                  </a:cubicBezTo>
                  <a:cubicBezTo>
                    <a:pt x="56" y="40"/>
                    <a:pt x="56" y="40"/>
                    <a:pt x="56" y="40"/>
                  </a:cubicBezTo>
                  <a:cubicBezTo>
                    <a:pt x="28" y="40"/>
                    <a:pt x="28" y="40"/>
                    <a:pt x="28" y="40"/>
                  </a:cubicBezTo>
                  <a:cubicBezTo>
                    <a:pt x="0" y="104"/>
                    <a:pt x="0" y="104"/>
                    <a:pt x="0" y="104"/>
                  </a:cubicBezTo>
                  <a:cubicBezTo>
                    <a:pt x="120" y="104"/>
                    <a:pt x="120" y="104"/>
                    <a:pt x="120" y="104"/>
                  </a:cubicBezTo>
                  <a:lnTo>
                    <a:pt x="92" y="40"/>
                  </a:lnTo>
                  <a:close/>
                  <a:moveTo>
                    <a:pt x="52" y="16"/>
                  </a:moveTo>
                  <a:cubicBezTo>
                    <a:pt x="52" y="12"/>
                    <a:pt x="56" y="8"/>
                    <a:pt x="60" y="8"/>
                  </a:cubicBezTo>
                  <a:cubicBezTo>
                    <a:pt x="64" y="8"/>
                    <a:pt x="68" y="12"/>
                    <a:pt x="68" y="16"/>
                  </a:cubicBezTo>
                  <a:cubicBezTo>
                    <a:pt x="68" y="20"/>
                    <a:pt x="64" y="24"/>
                    <a:pt x="60" y="24"/>
                  </a:cubicBezTo>
                  <a:cubicBezTo>
                    <a:pt x="56" y="24"/>
                    <a:pt x="52" y="20"/>
                    <a:pt x="52" y="16"/>
                  </a:cubicBezTo>
                  <a:close/>
                  <a:moveTo>
                    <a:pt x="79" y="80"/>
                  </a:moveTo>
                  <a:cubicBezTo>
                    <a:pt x="83" y="96"/>
                    <a:pt x="83" y="96"/>
                    <a:pt x="83" y="96"/>
                  </a:cubicBezTo>
                  <a:cubicBezTo>
                    <a:pt x="37" y="96"/>
                    <a:pt x="37" y="96"/>
                    <a:pt x="37" y="96"/>
                  </a:cubicBezTo>
                  <a:cubicBezTo>
                    <a:pt x="41" y="80"/>
                    <a:pt x="41" y="80"/>
                    <a:pt x="41" y="80"/>
                  </a:cubicBezTo>
                  <a:lnTo>
                    <a:pt x="79" y="80"/>
                  </a:lnTo>
                  <a:close/>
                  <a:moveTo>
                    <a:pt x="87" y="80"/>
                  </a:moveTo>
                  <a:cubicBezTo>
                    <a:pt x="101" y="80"/>
                    <a:pt x="101" y="80"/>
                    <a:pt x="101" y="80"/>
                  </a:cubicBezTo>
                  <a:cubicBezTo>
                    <a:pt x="108" y="96"/>
                    <a:pt x="108" y="96"/>
                    <a:pt x="108" y="96"/>
                  </a:cubicBezTo>
                  <a:cubicBezTo>
                    <a:pt x="91" y="96"/>
                    <a:pt x="91" y="96"/>
                    <a:pt x="91" y="96"/>
                  </a:cubicBezTo>
                  <a:lnTo>
                    <a:pt x="87" y="80"/>
                  </a:lnTo>
                  <a:close/>
                  <a:moveTo>
                    <a:pt x="83" y="64"/>
                  </a:moveTo>
                  <a:cubicBezTo>
                    <a:pt x="94" y="64"/>
                    <a:pt x="94" y="64"/>
                    <a:pt x="94" y="64"/>
                  </a:cubicBezTo>
                  <a:cubicBezTo>
                    <a:pt x="97" y="72"/>
                    <a:pt x="97" y="72"/>
                    <a:pt x="97" y="72"/>
                  </a:cubicBezTo>
                  <a:cubicBezTo>
                    <a:pt x="85" y="72"/>
                    <a:pt x="85" y="72"/>
                    <a:pt x="85" y="72"/>
                  </a:cubicBezTo>
                  <a:lnTo>
                    <a:pt x="83" y="64"/>
                  </a:lnTo>
                  <a:close/>
                  <a:moveTo>
                    <a:pt x="90" y="56"/>
                  </a:moveTo>
                  <a:cubicBezTo>
                    <a:pt x="81" y="56"/>
                    <a:pt x="81" y="56"/>
                    <a:pt x="81" y="56"/>
                  </a:cubicBezTo>
                  <a:cubicBezTo>
                    <a:pt x="79" y="48"/>
                    <a:pt x="79" y="48"/>
                    <a:pt x="79" y="48"/>
                  </a:cubicBezTo>
                  <a:cubicBezTo>
                    <a:pt x="87" y="48"/>
                    <a:pt x="87" y="48"/>
                    <a:pt x="87" y="48"/>
                  </a:cubicBezTo>
                  <a:lnTo>
                    <a:pt x="90" y="56"/>
                  </a:lnTo>
                  <a:close/>
                  <a:moveTo>
                    <a:pt x="71" y="48"/>
                  </a:moveTo>
                  <a:cubicBezTo>
                    <a:pt x="77" y="72"/>
                    <a:pt x="77" y="72"/>
                    <a:pt x="77" y="72"/>
                  </a:cubicBezTo>
                  <a:cubicBezTo>
                    <a:pt x="64" y="72"/>
                    <a:pt x="64" y="72"/>
                    <a:pt x="64" y="72"/>
                  </a:cubicBezTo>
                  <a:cubicBezTo>
                    <a:pt x="64" y="48"/>
                    <a:pt x="64" y="48"/>
                    <a:pt x="64" y="48"/>
                  </a:cubicBezTo>
                  <a:lnTo>
                    <a:pt x="71" y="48"/>
                  </a:lnTo>
                  <a:close/>
                  <a:moveTo>
                    <a:pt x="33" y="48"/>
                  </a:moveTo>
                  <a:cubicBezTo>
                    <a:pt x="56" y="48"/>
                    <a:pt x="56" y="48"/>
                    <a:pt x="56" y="48"/>
                  </a:cubicBezTo>
                  <a:cubicBezTo>
                    <a:pt x="56" y="72"/>
                    <a:pt x="56" y="72"/>
                    <a:pt x="56" y="72"/>
                  </a:cubicBezTo>
                  <a:cubicBezTo>
                    <a:pt x="23" y="72"/>
                    <a:pt x="23" y="72"/>
                    <a:pt x="23" y="72"/>
                  </a:cubicBezTo>
                  <a:lnTo>
                    <a:pt x="33" y="48"/>
                  </a:lnTo>
                  <a:close/>
                  <a:moveTo>
                    <a:pt x="19" y="80"/>
                  </a:moveTo>
                  <a:cubicBezTo>
                    <a:pt x="33" y="80"/>
                    <a:pt x="33" y="80"/>
                    <a:pt x="33" y="80"/>
                  </a:cubicBezTo>
                  <a:cubicBezTo>
                    <a:pt x="29" y="96"/>
                    <a:pt x="29" y="96"/>
                    <a:pt x="29" y="96"/>
                  </a:cubicBezTo>
                  <a:cubicBezTo>
                    <a:pt x="12" y="96"/>
                    <a:pt x="12" y="96"/>
                    <a:pt x="12" y="96"/>
                  </a:cubicBezTo>
                  <a:lnTo>
                    <a:pt x="19" y="80"/>
                  </a:lnTo>
                  <a:close/>
                </a:path>
              </a:pathLst>
            </a:custGeom>
            <a:solidFill>
              <a:schemeClr val="tx1">
                <a:lumMod val="50000"/>
              </a:schemeClr>
            </a:solidFill>
            <a:ln>
              <a:noFill/>
            </a:ln>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5" name="Group 4"/>
          <p:cNvGrpSpPr/>
          <p:nvPr/>
        </p:nvGrpSpPr>
        <p:grpSpPr>
          <a:xfrm>
            <a:off x="7983825" y="237052"/>
            <a:ext cx="470425" cy="470425"/>
            <a:chOff x="7984075" y="236589"/>
            <a:chExt cx="470492" cy="470492"/>
          </a:xfrm>
        </p:grpSpPr>
        <p:sp>
          <p:nvSpPr>
            <p:cNvPr id="22" name="Oval 21"/>
            <p:cNvSpPr/>
            <p:nvPr/>
          </p:nvSpPr>
          <p:spPr bwMode="auto">
            <a:xfrm>
              <a:off x="7984075" y="236589"/>
              <a:ext cx="470492" cy="470492"/>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68" name="Group 67"/>
            <p:cNvGrpSpPr/>
            <p:nvPr/>
          </p:nvGrpSpPr>
          <p:grpSpPr>
            <a:xfrm>
              <a:off x="8082836" y="373642"/>
              <a:ext cx="272970" cy="205912"/>
              <a:chOff x="-1452562" y="3876676"/>
              <a:chExt cx="639761" cy="482600"/>
            </a:xfrm>
            <a:solidFill>
              <a:schemeClr val="tx2"/>
            </a:solidFill>
          </p:grpSpPr>
          <p:sp>
            <p:nvSpPr>
              <p:cNvPr id="60" name="Freeform 32"/>
              <p:cNvSpPr>
                <a:spLocks/>
              </p:cNvSpPr>
              <p:nvPr/>
            </p:nvSpPr>
            <p:spPr bwMode="auto">
              <a:xfrm>
                <a:off x="-1452562" y="3876676"/>
                <a:ext cx="141287" cy="414338"/>
              </a:xfrm>
              <a:custGeom>
                <a:avLst/>
                <a:gdLst>
                  <a:gd name="T0" fmla="*/ 21 w 27"/>
                  <a:gd name="T1" fmla="*/ 79 h 79"/>
                  <a:gd name="T2" fmla="*/ 27 w 27"/>
                  <a:gd name="T3" fmla="*/ 74 h 79"/>
                  <a:gd name="T4" fmla="*/ 27 w 27"/>
                  <a:gd name="T5" fmla="*/ 6 h 79"/>
                  <a:gd name="T6" fmla="*/ 21 w 27"/>
                  <a:gd name="T7" fmla="*/ 0 h 79"/>
                  <a:gd name="T8" fmla="*/ 21 w 27"/>
                  <a:gd name="T9" fmla="*/ 79 h 79"/>
                </a:gdLst>
                <a:ahLst/>
                <a:cxnLst>
                  <a:cxn ang="0">
                    <a:pos x="T0" y="T1"/>
                  </a:cxn>
                  <a:cxn ang="0">
                    <a:pos x="T2" y="T3"/>
                  </a:cxn>
                  <a:cxn ang="0">
                    <a:pos x="T4" y="T5"/>
                  </a:cxn>
                  <a:cxn ang="0">
                    <a:pos x="T6" y="T7"/>
                  </a:cxn>
                  <a:cxn ang="0">
                    <a:pos x="T8" y="T9"/>
                  </a:cxn>
                </a:cxnLst>
                <a:rect l="0" t="0" r="r" b="b"/>
                <a:pathLst>
                  <a:path w="27" h="79">
                    <a:moveTo>
                      <a:pt x="21" y="79"/>
                    </a:moveTo>
                    <a:cubicBezTo>
                      <a:pt x="27" y="74"/>
                      <a:pt x="27" y="74"/>
                      <a:pt x="27" y="74"/>
                    </a:cubicBezTo>
                    <a:cubicBezTo>
                      <a:pt x="8" y="55"/>
                      <a:pt x="8" y="25"/>
                      <a:pt x="27" y="6"/>
                    </a:cubicBezTo>
                    <a:cubicBezTo>
                      <a:pt x="21" y="0"/>
                      <a:pt x="21" y="0"/>
                      <a:pt x="21" y="0"/>
                    </a:cubicBezTo>
                    <a:cubicBezTo>
                      <a:pt x="0" y="22"/>
                      <a:pt x="0" y="58"/>
                      <a:pt x="21" y="79"/>
                    </a:cubicBezTo>
                    <a:close/>
                  </a:path>
                </a:pathLst>
              </a:custGeom>
              <a:solidFill>
                <a:schemeClr val="bg2">
                  <a:lumMod val="10000"/>
                </a:schemeClr>
              </a:solidFill>
              <a:ln>
                <a:noFill/>
              </a:ln>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1" name="Freeform 33"/>
              <p:cNvSpPr>
                <a:spLocks/>
              </p:cNvSpPr>
              <p:nvPr/>
            </p:nvSpPr>
            <p:spPr bwMode="auto">
              <a:xfrm>
                <a:off x="-954088" y="3876676"/>
                <a:ext cx="141287" cy="414338"/>
              </a:xfrm>
              <a:custGeom>
                <a:avLst/>
                <a:gdLst>
                  <a:gd name="T0" fmla="*/ 6 w 27"/>
                  <a:gd name="T1" fmla="*/ 0 h 79"/>
                  <a:gd name="T2" fmla="*/ 0 w 27"/>
                  <a:gd name="T3" fmla="*/ 6 h 79"/>
                  <a:gd name="T4" fmla="*/ 0 w 27"/>
                  <a:gd name="T5" fmla="*/ 74 h 79"/>
                  <a:gd name="T6" fmla="*/ 6 w 27"/>
                  <a:gd name="T7" fmla="*/ 79 h 79"/>
                  <a:gd name="T8" fmla="*/ 6 w 27"/>
                  <a:gd name="T9" fmla="*/ 0 h 79"/>
                </a:gdLst>
                <a:ahLst/>
                <a:cxnLst>
                  <a:cxn ang="0">
                    <a:pos x="T0" y="T1"/>
                  </a:cxn>
                  <a:cxn ang="0">
                    <a:pos x="T2" y="T3"/>
                  </a:cxn>
                  <a:cxn ang="0">
                    <a:pos x="T4" y="T5"/>
                  </a:cxn>
                  <a:cxn ang="0">
                    <a:pos x="T6" y="T7"/>
                  </a:cxn>
                  <a:cxn ang="0">
                    <a:pos x="T8" y="T9"/>
                  </a:cxn>
                </a:cxnLst>
                <a:rect l="0" t="0" r="r" b="b"/>
                <a:pathLst>
                  <a:path w="27" h="79">
                    <a:moveTo>
                      <a:pt x="6" y="0"/>
                    </a:moveTo>
                    <a:cubicBezTo>
                      <a:pt x="0" y="6"/>
                      <a:pt x="0" y="6"/>
                      <a:pt x="0" y="6"/>
                    </a:cubicBezTo>
                    <a:cubicBezTo>
                      <a:pt x="19" y="25"/>
                      <a:pt x="19" y="55"/>
                      <a:pt x="0" y="74"/>
                    </a:cubicBezTo>
                    <a:cubicBezTo>
                      <a:pt x="6" y="79"/>
                      <a:pt x="6" y="79"/>
                      <a:pt x="6" y="79"/>
                    </a:cubicBezTo>
                    <a:cubicBezTo>
                      <a:pt x="27" y="58"/>
                      <a:pt x="27" y="22"/>
                      <a:pt x="6" y="0"/>
                    </a:cubicBezTo>
                    <a:close/>
                  </a:path>
                </a:pathLst>
              </a:custGeom>
              <a:solidFill>
                <a:schemeClr val="tx1">
                  <a:lumMod val="50000"/>
                </a:schemeClr>
              </a:solidFill>
              <a:ln>
                <a:noFill/>
              </a:ln>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2" name="Freeform 34"/>
              <p:cNvSpPr>
                <a:spLocks/>
              </p:cNvSpPr>
              <p:nvPr/>
            </p:nvSpPr>
            <p:spPr bwMode="auto">
              <a:xfrm>
                <a:off x="-1336675" y="3949701"/>
                <a:ext cx="98425" cy="268288"/>
              </a:xfrm>
              <a:custGeom>
                <a:avLst/>
                <a:gdLst>
                  <a:gd name="T0" fmla="*/ 14 w 19"/>
                  <a:gd name="T1" fmla="*/ 0 h 51"/>
                  <a:gd name="T2" fmla="*/ 14 w 19"/>
                  <a:gd name="T3" fmla="*/ 51 h 51"/>
                  <a:gd name="T4" fmla="*/ 19 w 19"/>
                  <a:gd name="T5" fmla="*/ 46 h 51"/>
                  <a:gd name="T6" fmla="*/ 19 w 19"/>
                  <a:gd name="T7" fmla="*/ 6 h 51"/>
                  <a:gd name="T8" fmla="*/ 14 w 19"/>
                  <a:gd name="T9" fmla="*/ 0 h 51"/>
                </a:gdLst>
                <a:ahLst/>
                <a:cxnLst>
                  <a:cxn ang="0">
                    <a:pos x="T0" y="T1"/>
                  </a:cxn>
                  <a:cxn ang="0">
                    <a:pos x="T2" y="T3"/>
                  </a:cxn>
                  <a:cxn ang="0">
                    <a:pos x="T4" y="T5"/>
                  </a:cxn>
                  <a:cxn ang="0">
                    <a:pos x="T6" y="T7"/>
                  </a:cxn>
                  <a:cxn ang="0">
                    <a:pos x="T8" y="T9"/>
                  </a:cxn>
                </a:cxnLst>
                <a:rect l="0" t="0" r="r" b="b"/>
                <a:pathLst>
                  <a:path w="19" h="51">
                    <a:moveTo>
                      <a:pt x="14" y="0"/>
                    </a:moveTo>
                    <a:cubicBezTo>
                      <a:pt x="0" y="14"/>
                      <a:pt x="0" y="37"/>
                      <a:pt x="14" y="51"/>
                    </a:cubicBezTo>
                    <a:cubicBezTo>
                      <a:pt x="19" y="46"/>
                      <a:pt x="19" y="46"/>
                      <a:pt x="19" y="46"/>
                    </a:cubicBezTo>
                    <a:cubicBezTo>
                      <a:pt x="8" y="35"/>
                      <a:pt x="8" y="17"/>
                      <a:pt x="19" y="6"/>
                    </a:cubicBezTo>
                    <a:lnTo>
                      <a:pt x="14" y="0"/>
                    </a:lnTo>
                    <a:close/>
                  </a:path>
                </a:pathLst>
              </a:custGeom>
              <a:solidFill>
                <a:schemeClr val="bg2">
                  <a:lumMod val="10000"/>
                </a:schemeClr>
              </a:solidFill>
              <a:ln>
                <a:noFill/>
              </a:ln>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3" name="Freeform 35"/>
              <p:cNvSpPr>
                <a:spLocks/>
              </p:cNvSpPr>
              <p:nvPr/>
            </p:nvSpPr>
            <p:spPr bwMode="auto">
              <a:xfrm>
                <a:off x="-1027113" y="3949701"/>
                <a:ext cx="98425" cy="268288"/>
              </a:xfrm>
              <a:custGeom>
                <a:avLst/>
                <a:gdLst>
                  <a:gd name="T0" fmla="*/ 5 w 19"/>
                  <a:gd name="T1" fmla="*/ 51 h 51"/>
                  <a:gd name="T2" fmla="*/ 5 w 19"/>
                  <a:gd name="T3" fmla="*/ 0 h 51"/>
                  <a:gd name="T4" fmla="*/ 0 w 19"/>
                  <a:gd name="T5" fmla="*/ 6 h 51"/>
                  <a:gd name="T6" fmla="*/ 0 w 19"/>
                  <a:gd name="T7" fmla="*/ 46 h 51"/>
                  <a:gd name="T8" fmla="*/ 5 w 19"/>
                  <a:gd name="T9" fmla="*/ 51 h 51"/>
                </a:gdLst>
                <a:ahLst/>
                <a:cxnLst>
                  <a:cxn ang="0">
                    <a:pos x="T0" y="T1"/>
                  </a:cxn>
                  <a:cxn ang="0">
                    <a:pos x="T2" y="T3"/>
                  </a:cxn>
                  <a:cxn ang="0">
                    <a:pos x="T4" y="T5"/>
                  </a:cxn>
                  <a:cxn ang="0">
                    <a:pos x="T6" y="T7"/>
                  </a:cxn>
                  <a:cxn ang="0">
                    <a:pos x="T8" y="T9"/>
                  </a:cxn>
                </a:cxnLst>
                <a:rect l="0" t="0" r="r" b="b"/>
                <a:pathLst>
                  <a:path w="19" h="51">
                    <a:moveTo>
                      <a:pt x="5" y="51"/>
                    </a:moveTo>
                    <a:cubicBezTo>
                      <a:pt x="19" y="37"/>
                      <a:pt x="19" y="14"/>
                      <a:pt x="5" y="0"/>
                    </a:cubicBezTo>
                    <a:cubicBezTo>
                      <a:pt x="0" y="6"/>
                      <a:pt x="0" y="6"/>
                      <a:pt x="0" y="6"/>
                    </a:cubicBezTo>
                    <a:cubicBezTo>
                      <a:pt x="11" y="17"/>
                      <a:pt x="11" y="35"/>
                      <a:pt x="0" y="46"/>
                    </a:cubicBezTo>
                    <a:lnTo>
                      <a:pt x="5" y="51"/>
                    </a:lnTo>
                    <a:close/>
                  </a:path>
                </a:pathLst>
              </a:custGeom>
              <a:solidFill>
                <a:schemeClr val="bg2">
                  <a:lumMod val="10000"/>
                </a:schemeClr>
              </a:solidFill>
              <a:ln>
                <a:noFill/>
              </a:ln>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4" name="Freeform 36"/>
              <p:cNvSpPr>
                <a:spLocks noEditPoints="1"/>
              </p:cNvSpPr>
              <p:nvPr/>
            </p:nvSpPr>
            <p:spPr bwMode="auto">
              <a:xfrm>
                <a:off x="-1216025" y="4002088"/>
                <a:ext cx="166687" cy="357188"/>
              </a:xfrm>
              <a:custGeom>
                <a:avLst/>
                <a:gdLst>
                  <a:gd name="T0" fmla="*/ 20 w 32"/>
                  <a:gd name="T1" fmla="*/ 68 h 68"/>
                  <a:gd name="T2" fmla="*/ 20 w 32"/>
                  <a:gd name="T3" fmla="*/ 31 h 68"/>
                  <a:gd name="T4" fmla="*/ 32 w 32"/>
                  <a:gd name="T5" fmla="*/ 16 h 68"/>
                  <a:gd name="T6" fmla="*/ 16 w 32"/>
                  <a:gd name="T7" fmla="*/ 0 h 68"/>
                  <a:gd name="T8" fmla="*/ 0 w 32"/>
                  <a:gd name="T9" fmla="*/ 16 h 68"/>
                  <a:gd name="T10" fmla="*/ 12 w 32"/>
                  <a:gd name="T11" fmla="*/ 31 h 68"/>
                  <a:gd name="T12" fmla="*/ 12 w 32"/>
                  <a:gd name="T13" fmla="*/ 68 h 68"/>
                  <a:gd name="T14" fmla="*/ 20 w 32"/>
                  <a:gd name="T15" fmla="*/ 68 h 68"/>
                  <a:gd name="T16" fmla="*/ 8 w 32"/>
                  <a:gd name="T17" fmla="*/ 16 h 68"/>
                  <a:gd name="T18" fmla="*/ 16 w 32"/>
                  <a:gd name="T19" fmla="*/ 8 h 68"/>
                  <a:gd name="T20" fmla="*/ 24 w 32"/>
                  <a:gd name="T21" fmla="*/ 16 h 68"/>
                  <a:gd name="T22" fmla="*/ 16 w 32"/>
                  <a:gd name="T23" fmla="*/ 24 h 68"/>
                  <a:gd name="T24" fmla="*/ 8 w 32"/>
                  <a:gd name="T25" fmla="*/ 1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68">
                    <a:moveTo>
                      <a:pt x="20" y="68"/>
                    </a:moveTo>
                    <a:cubicBezTo>
                      <a:pt x="20" y="31"/>
                      <a:pt x="20" y="31"/>
                      <a:pt x="20" y="31"/>
                    </a:cubicBezTo>
                    <a:cubicBezTo>
                      <a:pt x="27" y="29"/>
                      <a:pt x="32" y="23"/>
                      <a:pt x="32" y="16"/>
                    </a:cubicBezTo>
                    <a:cubicBezTo>
                      <a:pt x="32" y="7"/>
                      <a:pt x="25" y="0"/>
                      <a:pt x="16" y="0"/>
                    </a:cubicBezTo>
                    <a:cubicBezTo>
                      <a:pt x="7" y="0"/>
                      <a:pt x="0" y="7"/>
                      <a:pt x="0" y="16"/>
                    </a:cubicBezTo>
                    <a:cubicBezTo>
                      <a:pt x="0" y="23"/>
                      <a:pt x="5" y="29"/>
                      <a:pt x="12" y="31"/>
                    </a:cubicBezTo>
                    <a:cubicBezTo>
                      <a:pt x="12" y="68"/>
                      <a:pt x="12" y="68"/>
                      <a:pt x="12" y="68"/>
                    </a:cubicBezTo>
                    <a:lnTo>
                      <a:pt x="20" y="68"/>
                    </a:lnTo>
                    <a:close/>
                    <a:moveTo>
                      <a:pt x="8" y="16"/>
                    </a:moveTo>
                    <a:cubicBezTo>
                      <a:pt x="8" y="11"/>
                      <a:pt x="12" y="8"/>
                      <a:pt x="16" y="8"/>
                    </a:cubicBezTo>
                    <a:cubicBezTo>
                      <a:pt x="20" y="8"/>
                      <a:pt x="24" y="11"/>
                      <a:pt x="24" y="16"/>
                    </a:cubicBezTo>
                    <a:cubicBezTo>
                      <a:pt x="24" y="20"/>
                      <a:pt x="20" y="24"/>
                      <a:pt x="16" y="24"/>
                    </a:cubicBezTo>
                    <a:cubicBezTo>
                      <a:pt x="12" y="24"/>
                      <a:pt x="8" y="20"/>
                      <a:pt x="8" y="16"/>
                    </a:cubicBezTo>
                    <a:close/>
                  </a:path>
                </a:pathLst>
              </a:custGeom>
              <a:solidFill>
                <a:schemeClr val="tx1">
                  <a:lumMod val="50000"/>
                </a:schemeClr>
              </a:solidFill>
              <a:ln>
                <a:noFill/>
              </a:ln>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grpSp>
        <p:nvGrpSpPr>
          <p:cNvPr id="11" name="Group 10"/>
          <p:cNvGrpSpPr/>
          <p:nvPr/>
        </p:nvGrpSpPr>
        <p:grpSpPr>
          <a:xfrm>
            <a:off x="11585840" y="2391347"/>
            <a:ext cx="411186" cy="411186"/>
            <a:chOff x="11586602" y="2475873"/>
            <a:chExt cx="411244" cy="411244"/>
          </a:xfrm>
        </p:grpSpPr>
        <p:sp>
          <p:nvSpPr>
            <p:cNvPr id="23" name="Oval 22"/>
            <p:cNvSpPr/>
            <p:nvPr/>
          </p:nvSpPr>
          <p:spPr bwMode="auto">
            <a:xfrm>
              <a:off x="11586602" y="2475873"/>
              <a:ext cx="411244" cy="411244"/>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7" name="Freeform 40"/>
            <p:cNvSpPr>
              <a:spLocks noEditPoints="1"/>
            </p:cNvSpPr>
            <p:nvPr/>
          </p:nvSpPr>
          <p:spPr bwMode="auto">
            <a:xfrm>
              <a:off x="11678396" y="2556026"/>
              <a:ext cx="227657" cy="227127"/>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chemeClr val="tx1">
                <a:lumMod val="50000"/>
              </a:schemeClr>
            </a:solidFill>
            <a:ln w="6350">
              <a:solidFill>
                <a:schemeClr val="tx1">
                  <a:lumMod val="50000"/>
                </a:schemeClr>
              </a:solidFill>
            </a:ln>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7" name="Group 6"/>
          <p:cNvGrpSpPr/>
          <p:nvPr/>
        </p:nvGrpSpPr>
        <p:grpSpPr>
          <a:xfrm>
            <a:off x="8819835" y="1666790"/>
            <a:ext cx="425624" cy="425624"/>
            <a:chOff x="8820204" y="1666531"/>
            <a:chExt cx="425684" cy="425684"/>
          </a:xfrm>
        </p:grpSpPr>
        <p:sp>
          <p:nvSpPr>
            <p:cNvPr id="17" name="Oval 16"/>
            <p:cNvSpPr/>
            <p:nvPr/>
          </p:nvSpPr>
          <p:spPr bwMode="auto">
            <a:xfrm>
              <a:off x="8820204" y="1666531"/>
              <a:ext cx="425684" cy="425684"/>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78" name="Group 77"/>
            <p:cNvGrpSpPr/>
            <p:nvPr/>
          </p:nvGrpSpPr>
          <p:grpSpPr>
            <a:xfrm>
              <a:off x="8923169" y="1816772"/>
              <a:ext cx="219754" cy="125202"/>
              <a:chOff x="-2160588" y="3748088"/>
              <a:chExt cx="1343025" cy="765175"/>
            </a:xfrm>
          </p:grpSpPr>
          <p:sp>
            <p:nvSpPr>
              <p:cNvPr id="75" name="Freeform 44"/>
              <p:cNvSpPr>
                <a:spLocks/>
              </p:cNvSpPr>
              <p:nvPr/>
            </p:nvSpPr>
            <p:spPr bwMode="auto">
              <a:xfrm>
                <a:off x="-2160582" y="3858967"/>
                <a:ext cx="1177484" cy="441572"/>
              </a:xfrm>
              <a:custGeom>
                <a:avLst/>
                <a:gdLst>
                  <a:gd name="T0" fmla="*/ 0 w 819"/>
                  <a:gd name="T1" fmla="*/ 348 h 348"/>
                  <a:gd name="T2" fmla="*/ 238 w 819"/>
                  <a:gd name="T3" fmla="*/ 107 h 348"/>
                  <a:gd name="T4" fmla="*/ 476 w 819"/>
                  <a:gd name="T5" fmla="*/ 348 h 348"/>
                  <a:gd name="T6" fmla="*/ 819 w 819"/>
                  <a:gd name="T7" fmla="*/ 0 h 348"/>
                </a:gdLst>
                <a:ahLst/>
                <a:cxnLst>
                  <a:cxn ang="0">
                    <a:pos x="T0" y="T1"/>
                  </a:cxn>
                  <a:cxn ang="0">
                    <a:pos x="T2" y="T3"/>
                  </a:cxn>
                  <a:cxn ang="0">
                    <a:pos x="T4" y="T5"/>
                  </a:cxn>
                  <a:cxn ang="0">
                    <a:pos x="T6" y="T7"/>
                  </a:cxn>
                </a:cxnLst>
                <a:rect l="0" t="0" r="r" b="b"/>
                <a:pathLst>
                  <a:path w="819" h="348">
                    <a:moveTo>
                      <a:pt x="0" y="348"/>
                    </a:moveTo>
                    <a:lnTo>
                      <a:pt x="238" y="107"/>
                    </a:lnTo>
                    <a:lnTo>
                      <a:pt x="476" y="348"/>
                    </a:lnTo>
                    <a:lnTo>
                      <a:pt x="819" y="0"/>
                    </a:lnTo>
                  </a:path>
                </a:pathLst>
              </a:custGeom>
              <a:noFill/>
              <a:ln w="19050" cap="flat">
                <a:solidFill>
                  <a:schemeClr val="tx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6" name="Line 45"/>
              <p:cNvSpPr>
                <a:spLocks noChangeShapeType="1"/>
              </p:cNvSpPr>
              <p:nvPr/>
            </p:nvSpPr>
            <p:spPr bwMode="auto">
              <a:xfrm>
                <a:off x="-2160588" y="4513263"/>
                <a:ext cx="1343025" cy="0"/>
              </a:xfrm>
              <a:prstGeom prst="line">
                <a:avLst/>
              </a:prstGeom>
              <a:noFill/>
              <a:ln w="19050" cap="flat">
                <a:solidFill>
                  <a:schemeClr val="tx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7" name="Freeform 46"/>
              <p:cNvSpPr>
                <a:spLocks/>
              </p:cNvSpPr>
              <p:nvPr/>
            </p:nvSpPr>
            <p:spPr bwMode="auto">
              <a:xfrm>
                <a:off x="-1111250" y="3748088"/>
                <a:ext cx="250825" cy="255588"/>
              </a:xfrm>
              <a:custGeom>
                <a:avLst/>
                <a:gdLst>
                  <a:gd name="T0" fmla="*/ 158 w 158"/>
                  <a:gd name="T1" fmla="*/ 161 h 161"/>
                  <a:gd name="T2" fmla="*/ 158 w 158"/>
                  <a:gd name="T3" fmla="*/ 0 h 161"/>
                  <a:gd name="T4" fmla="*/ 0 w 158"/>
                  <a:gd name="T5" fmla="*/ 0 h 161"/>
                </a:gdLst>
                <a:ahLst/>
                <a:cxnLst>
                  <a:cxn ang="0">
                    <a:pos x="T0" y="T1"/>
                  </a:cxn>
                  <a:cxn ang="0">
                    <a:pos x="T2" y="T3"/>
                  </a:cxn>
                  <a:cxn ang="0">
                    <a:pos x="T4" y="T5"/>
                  </a:cxn>
                </a:cxnLst>
                <a:rect l="0" t="0" r="r" b="b"/>
                <a:pathLst>
                  <a:path w="158" h="161">
                    <a:moveTo>
                      <a:pt x="158" y="161"/>
                    </a:moveTo>
                    <a:lnTo>
                      <a:pt x="158" y="0"/>
                    </a:lnTo>
                    <a:lnTo>
                      <a:pt x="0" y="0"/>
                    </a:lnTo>
                  </a:path>
                </a:pathLst>
              </a:custGeom>
              <a:noFill/>
              <a:ln w="19050" cap="flat">
                <a:solidFill>
                  <a:schemeClr val="tx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pic>
        <p:nvPicPr>
          <p:cNvPr id="24" name="Picture 23"/>
          <p:cNvPicPr>
            <a:picLocks noChangeAspect="1"/>
          </p:cNvPicPr>
          <p:nvPr/>
        </p:nvPicPr>
        <p:blipFill>
          <a:blip r:embed="rId3"/>
          <a:stretch>
            <a:fillRect/>
          </a:stretch>
        </p:blipFill>
        <p:spPr>
          <a:xfrm>
            <a:off x="-141890" y="4069211"/>
            <a:ext cx="13397752" cy="2542029"/>
          </a:xfrm>
          <a:prstGeom prst="rect">
            <a:avLst/>
          </a:prstGeom>
        </p:spPr>
      </p:pic>
    </p:spTree>
    <p:extLst>
      <p:ext uri="{BB962C8B-B14F-4D97-AF65-F5344CB8AC3E}">
        <p14:creationId xmlns:p14="http://schemas.microsoft.com/office/powerpoint/2010/main" val="1816115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250"/>
                                        <p:tgtEl>
                                          <p:spTgt spid="8"/>
                                        </p:tgtEl>
                                      </p:cBhvr>
                                    </p:animEffect>
                                  </p:childTnLst>
                                </p:cTn>
                              </p:par>
                              <p:par>
                                <p:cTn id="8" presetID="42" presetClass="path" presetSubtype="0" decel="100000" fill="hold" grpId="1" nodeType="withEffect">
                                  <p:stCondLst>
                                    <p:cond delay="0"/>
                                  </p:stCondLst>
                                  <p:childTnLst>
                                    <p:animMotion origin="layout" path="M 1.86622E-6 2.23332E-6 L 1.86622E-6 0.25011 " pathEditMode="relative" rAng="0" ptsTypes="AA">
                                      <p:cBhvr>
                                        <p:cTn id="9" dur="750" spd="-100000" fill="hold"/>
                                        <p:tgtEl>
                                          <p:spTgt spid="8"/>
                                        </p:tgtEl>
                                        <p:attrNameLst>
                                          <p:attrName>ppt_x</p:attrName>
                                          <p:attrName>ppt_y</p:attrName>
                                        </p:attrNameLst>
                                      </p:cBhvr>
                                      <p:rCtr x="0" y="12506"/>
                                    </p:animMotion>
                                  </p:childTnLst>
                                </p:cTn>
                              </p:par>
                              <p:par>
                                <p:cTn id="10" presetID="10" presetClass="entr" presetSubtype="0" fill="hold" grpId="0" nodeType="withEffect">
                                  <p:stCondLst>
                                    <p:cond delay="75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1000"/>
                                        <p:tgtEl>
                                          <p:spTgt spid="15"/>
                                        </p:tgtEl>
                                      </p:cBhvr>
                                    </p:animEffect>
                                  </p:childTnLst>
                                </p:cTn>
                              </p:par>
                              <p:par>
                                <p:cTn id="13" presetID="42" presetClass="path" presetSubtype="0" decel="100000" fill="hold" grpId="1" nodeType="withEffect">
                                  <p:stCondLst>
                                    <p:cond delay="750"/>
                                  </p:stCondLst>
                                  <p:childTnLst>
                                    <p:animMotion origin="layout" path="M -1.6773E-6 -4.4394E-6 L 0.00881 0.02225 " pathEditMode="relative" rAng="0" ptsTypes="AA">
                                      <p:cBhvr>
                                        <p:cTn id="14" dur="500" spd="-100000" fill="hold"/>
                                        <p:tgtEl>
                                          <p:spTgt spid="15"/>
                                        </p:tgtEl>
                                        <p:attrNameLst>
                                          <p:attrName>ppt_x</p:attrName>
                                          <p:attrName>ppt_y</p:attrName>
                                        </p:attrNameLst>
                                      </p:cBhvr>
                                      <p:rCtr x="434" y="1112"/>
                                    </p:animMotion>
                                  </p:childTnLst>
                                </p:cTn>
                              </p:par>
                              <p:par>
                                <p:cTn id="15" presetID="10" presetClass="entr" presetSubtype="0" fill="hold" grpId="0" nodeType="withEffect">
                                  <p:stCondLst>
                                    <p:cond delay="90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1000"/>
                                        <p:tgtEl>
                                          <p:spTgt spid="14"/>
                                        </p:tgtEl>
                                      </p:cBhvr>
                                    </p:animEffect>
                                  </p:childTnLst>
                                </p:cTn>
                              </p:par>
                              <p:par>
                                <p:cTn id="18" presetID="42" presetClass="path" presetSubtype="0" decel="100000" fill="hold" grpId="1" nodeType="withEffect">
                                  <p:stCondLst>
                                    <p:cond delay="900"/>
                                  </p:stCondLst>
                                  <p:childTnLst>
                                    <p:animMotion origin="layout" path="M 4.46515E-6 -2.90513E-7 L 0.0097 0.01838 " pathEditMode="relative" rAng="0" ptsTypes="AA">
                                      <p:cBhvr>
                                        <p:cTn id="19" dur="500" spd="-100000" fill="hold"/>
                                        <p:tgtEl>
                                          <p:spTgt spid="14"/>
                                        </p:tgtEl>
                                        <p:attrNameLst>
                                          <p:attrName>ppt_x</p:attrName>
                                          <p:attrName>ppt_y</p:attrName>
                                        </p:attrNameLst>
                                      </p:cBhvr>
                                      <p:rCtr x="485" y="908"/>
                                    </p:animMotion>
                                  </p:childTnLst>
                                </p:cTn>
                              </p:par>
                              <p:par>
                                <p:cTn id="20" presetID="10" presetClass="entr" presetSubtype="0" fill="hold" grpId="0" nodeType="withEffect">
                                  <p:stCondLst>
                                    <p:cond delay="105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1000"/>
                                        <p:tgtEl>
                                          <p:spTgt spid="13"/>
                                        </p:tgtEl>
                                      </p:cBhvr>
                                    </p:animEffect>
                                  </p:childTnLst>
                                </p:cTn>
                              </p:par>
                              <p:par>
                                <p:cTn id="23" presetID="42" presetClass="path" presetSubtype="0" decel="100000" fill="hold" grpId="1" nodeType="withEffect">
                                  <p:stCondLst>
                                    <p:cond delay="1050"/>
                                  </p:stCondLst>
                                  <p:childTnLst>
                                    <p:animMotion origin="layout" path="M 2.58361E-6 -3.58148E-6 L 0.00459 0.04585 " pathEditMode="relative" rAng="0" ptsTypes="AA">
                                      <p:cBhvr>
                                        <p:cTn id="24" dur="500" spd="-100000" fill="hold"/>
                                        <p:tgtEl>
                                          <p:spTgt spid="13"/>
                                        </p:tgtEl>
                                        <p:attrNameLst>
                                          <p:attrName>ppt_x</p:attrName>
                                          <p:attrName>ppt_y</p:attrName>
                                        </p:attrNameLst>
                                      </p:cBhvr>
                                      <p:rCtr x="230" y="2292"/>
                                    </p:animMotion>
                                  </p:childTnLst>
                                </p:cTn>
                              </p:par>
                              <p:par>
                                <p:cTn id="25" presetID="1" presetClass="entr" presetSubtype="0" fill="hold" nodeType="withEffect">
                                  <p:stCondLst>
                                    <p:cond delay="850"/>
                                  </p:stCondLst>
                                  <p:childTnLst>
                                    <p:set>
                                      <p:cBhvr>
                                        <p:cTn id="26" dur="1" fill="hold">
                                          <p:stCondLst>
                                            <p:cond delay="0"/>
                                          </p:stCondLst>
                                        </p:cTn>
                                        <p:tgtEl>
                                          <p:spTgt spid="2"/>
                                        </p:tgtEl>
                                        <p:attrNameLst>
                                          <p:attrName>style.visibility</p:attrName>
                                        </p:attrNameLst>
                                      </p:cBhvr>
                                      <p:to>
                                        <p:strVal val="visible"/>
                                      </p:to>
                                    </p:set>
                                  </p:childTnLst>
                                </p:cTn>
                              </p:par>
                              <p:par>
                                <p:cTn id="27" presetID="6" presetClass="emph" presetSubtype="0" accel="100000" autoRev="1" fill="hold" nodeType="withEffect">
                                  <p:stCondLst>
                                    <p:cond delay="350"/>
                                  </p:stCondLst>
                                  <p:childTnLst>
                                    <p:animScale>
                                      <p:cBhvr>
                                        <p:cTn id="28" dur="500" fill="hold"/>
                                        <p:tgtEl>
                                          <p:spTgt spid="2"/>
                                        </p:tgtEl>
                                      </p:cBhvr>
                                      <p:by x="0" y="0"/>
                                    </p:animScale>
                                  </p:childTnLst>
                                </p:cTn>
                              </p:par>
                              <p:par>
                                <p:cTn id="29" presetID="1" presetClass="entr" presetSubtype="0" fill="hold" nodeType="withEffect">
                                  <p:stCondLst>
                                    <p:cond delay="850"/>
                                  </p:stCondLst>
                                  <p:childTnLst>
                                    <p:set>
                                      <p:cBhvr>
                                        <p:cTn id="30" dur="1" fill="hold">
                                          <p:stCondLst>
                                            <p:cond delay="0"/>
                                          </p:stCondLst>
                                        </p:cTn>
                                        <p:tgtEl>
                                          <p:spTgt spid="4"/>
                                        </p:tgtEl>
                                        <p:attrNameLst>
                                          <p:attrName>style.visibility</p:attrName>
                                        </p:attrNameLst>
                                      </p:cBhvr>
                                      <p:to>
                                        <p:strVal val="visible"/>
                                      </p:to>
                                    </p:set>
                                  </p:childTnLst>
                                </p:cTn>
                              </p:par>
                              <p:par>
                                <p:cTn id="31" presetID="6" presetClass="emph" presetSubtype="0" accel="100000" autoRev="1" fill="hold" nodeType="withEffect">
                                  <p:stCondLst>
                                    <p:cond delay="350"/>
                                  </p:stCondLst>
                                  <p:childTnLst>
                                    <p:animScale>
                                      <p:cBhvr>
                                        <p:cTn id="32" dur="500" fill="hold"/>
                                        <p:tgtEl>
                                          <p:spTgt spid="4"/>
                                        </p:tgtEl>
                                      </p:cBhvr>
                                      <p:by x="0" y="0"/>
                                    </p:animScale>
                                  </p:childTnLst>
                                </p:cTn>
                              </p:par>
                              <p:par>
                                <p:cTn id="33" presetID="1" presetClass="entr" presetSubtype="0" fill="hold" nodeType="withEffect">
                                  <p:stCondLst>
                                    <p:cond delay="850"/>
                                  </p:stCondLst>
                                  <p:childTnLst>
                                    <p:set>
                                      <p:cBhvr>
                                        <p:cTn id="34" dur="1" fill="hold">
                                          <p:stCondLst>
                                            <p:cond delay="0"/>
                                          </p:stCondLst>
                                        </p:cTn>
                                        <p:tgtEl>
                                          <p:spTgt spid="5"/>
                                        </p:tgtEl>
                                        <p:attrNameLst>
                                          <p:attrName>style.visibility</p:attrName>
                                        </p:attrNameLst>
                                      </p:cBhvr>
                                      <p:to>
                                        <p:strVal val="visible"/>
                                      </p:to>
                                    </p:set>
                                  </p:childTnLst>
                                </p:cTn>
                              </p:par>
                              <p:par>
                                <p:cTn id="35" presetID="6" presetClass="emph" presetSubtype="0" accel="100000" autoRev="1" fill="hold" nodeType="withEffect">
                                  <p:stCondLst>
                                    <p:cond delay="350"/>
                                  </p:stCondLst>
                                  <p:childTnLst>
                                    <p:animScale>
                                      <p:cBhvr>
                                        <p:cTn id="36" dur="500" fill="hold"/>
                                        <p:tgtEl>
                                          <p:spTgt spid="5"/>
                                        </p:tgtEl>
                                      </p:cBhvr>
                                      <p:by x="0" y="0"/>
                                    </p:animScale>
                                  </p:childTnLst>
                                </p:cTn>
                              </p:par>
                              <p:par>
                                <p:cTn id="37" presetID="1" presetClass="entr" presetSubtype="0" fill="hold" nodeType="withEffect">
                                  <p:stCondLst>
                                    <p:cond delay="1000"/>
                                  </p:stCondLst>
                                  <p:childTnLst>
                                    <p:set>
                                      <p:cBhvr>
                                        <p:cTn id="38" dur="1" fill="hold">
                                          <p:stCondLst>
                                            <p:cond delay="0"/>
                                          </p:stCondLst>
                                        </p:cTn>
                                        <p:tgtEl>
                                          <p:spTgt spid="6"/>
                                        </p:tgtEl>
                                        <p:attrNameLst>
                                          <p:attrName>style.visibility</p:attrName>
                                        </p:attrNameLst>
                                      </p:cBhvr>
                                      <p:to>
                                        <p:strVal val="visible"/>
                                      </p:to>
                                    </p:set>
                                  </p:childTnLst>
                                </p:cTn>
                              </p:par>
                              <p:par>
                                <p:cTn id="39" presetID="6" presetClass="emph" presetSubtype="0" accel="100000" autoRev="1" fill="hold" nodeType="withEffect">
                                  <p:stCondLst>
                                    <p:cond delay="500"/>
                                  </p:stCondLst>
                                  <p:childTnLst>
                                    <p:animScale>
                                      <p:cBhvr>
                                        <p:cTn id="40" dur="500" fill="hold"/>
                                        <p:tgtEl>
                                          <p:spTgt spid="6"/>
                                        </p:tgtEl>
                                      </p:cBhvr>
                                      <p:by x="0" y="0"/>
                                    </p:animScale>
                                  </p:childTnLst>
                                </p:cTn>
                              </p:par>
                              <p:par>
                                <p:cTn id="41" presetID="1" presetClass="entr" presetSubtype="0" fill="hold" nodeType="withEffect">
                                  <p:stCondLst>
                                    <p:cond delay="1000"/>
                                  </p:stCondLst>
                                  <p:childTnLst>
                                    <p:set>
                                      <p:cBhvr>
                                        <p:cTn id="42" dur="1" fill="hold">
                                          <p:stCondLst>
                                            <p:cond delay="0"/>
                                          </p:stCondLst>
                                        </p:cTn>
                                        <p:tgtEl>
                                          <p:spTgt spid="7"/>
                                        </p:tgtEl>
                                        <p:attrNameLst>
                                          <p:attrName>style.visibility</p:attrName>
                                        </p:attrNameLst>
                                      </p:cBhvr>
                                      <p:to>
                                        <p:strVal val="visible"/>
                                      </p:to>
                                    </p:set>
                                  </p:childTnLst>
                                </p:cTn>
                              </p:par>
                              <p:par>
                                <p:cTn id="43" presetID="6" presetClass="emph" presetSubtype="0" accel="100000" autoRev="1" fill="hold" nodeType="withEffect">
                                  <p:stCondLst>
                                    <p:cond delay="500"/>
                                  </p:stCondLst>
                                  <p:childTnLst>
                                    <p:animScale>
                                      <p:cBhvr>
                                        <p:cTn id="44" dur="500" fill="hold"/>
                                        <p:tgtEl>
                                          <p:spTgt spid="7"/>
                                        </p:tgtEl>
                                      </p:cBhvr>
                                      <p:by x="0" y="0"/>
                                    </p:animScale>
                                  </p:childTnLst>
                                </p:cTn>
                              </p:par>
                              <p:par>
                                <p:cTn id="45" presetID="1" presetClass="entr" presetSubtype="0" fill="hold" nodeType="withEffect">
                                  <p:stCondLst>
                                    <p:cond delay="1000"/>
                                  </p:stCondLst>
                                  <p:childTnLst>
                                    <p:set>
                                      <p:cBhvr>
                                        <p:cTn id="46" dur="1" fill="hold">
                                          <p:stCondLst>
                                            <p:cond delay="0"/>
                                          </p:stCondLst>
                                        </p:cTn>
                                        <p:tgtEl>
                                          <p:spTgt spid="9"/>
                                        </p:tgtEl>
                                        <p:attrNameLst>
                                          <p:attrName>style.visibility</p:attrName>
                                        </p:attrNameLst>
                                      </p:cBhvr>
                                      <p:to>
                                        <p:strVal val="visible"/>
                                      </p:to>
                                    </p:set>
                                  </p:childTnLst>
                                </p:cTn>
                              </p:par>
                              <p:par>
                                <p:cTn id="47" presetID="6" presetClass="emph" presetSubtype="0" accel="100000" autoRev="1" fill="hold" nodeType="withEffect">
                                  <p:stCondLst>
                                    <p:cond delay="500"/>
                                  </p:stCondLst>
                                  <p:childTnLst>
                                    <p:animScale>
                                      <p:cBhvr>
                                        <p:cTn id="48" dur="500" fill="hold"/>
                                        <p:tgtEl>
                                          <p:spTgt spid="9"/>
                                        </p:tgtEl>
                                      </p:cBhvr>
                                      <p:by x="0" y="0"/>
                                    </p:animScale>
                                  </p:childTnLst>
                                </p:cTn>
                              </p:par>
                              <p:par>
                                <p:cTn id="49" presetID="1" presetClass="entr" presetSubtype="0" fill="hold" nodeType="withEffect">
                                  <p:stCondLst>
                                    <p:cond delay="1150"/>
                                  </p:stCondLst>
                                  <p:childTnLst>
                                    <p:set>
                                      <p:cBhvr>
                                        <p:cTn id="50" dur="1" fill="hold">
                                          <p:stCondLst>
                                            <p:cond delay="0"/>
                                          </p:stCondLst>
                                        </p:cTn>
                                        <p:tgtEl>
                                          <p:spTgt spid="10"/>
                                        </p:tgtEl>
                                        <p:attrNameLst>
                                          <p:attrName>style.visibility</p:attrName>
                                        </p:attrNameLst>
                                      </p:cBhvr>
                                      <p:to>
                                        <p:strVal val="visible"/>
                                      </p:to>
                                    </p:set>
                                  </p:childTnLst>
                                </p:cTn>
                              </p:par>
                              <p:par>
                                <p:cTn id="51" presetID="6" presetClass="emph" presetSubtype="0" accel="100000" autoRev="1" fill="hold" nodeType="withEffect">
                                  <p:stCondLst>
                                    <p:cond delay="650"/>
                                  </p:stCondLst>
                                  <p:childTnLst>
                                    <p:animScale>
                                      <p:cBhvr>
                                        <p:cTn id="52" dur="500" fill="hold"/>
                                        <p:tgtEl>
                                          <p:spTgt spid="10"/>
                                        </p:tgtEl>
                                      </p:cBhvr>
                                      <p:by x="0" y="0"/>
                                    </p:animScale>
                                  </p:childTnLst>
                                </p:cTn>
                              </p:par>
                              <p:par>
                                <p:cTn id="53" presetID="1" presetClass="entr" presetSubtype="0" fill="hold" nodeType="withEffect">
                                  <p:stCondLst>
                                    <p:cond delay="1150"/>
                                  </p:stCondLst>
                                  <p:childTnLst>
                                    <p:set>
                                      <p:cBhvr>
                                        <p:cTn id="54" dur="1" fill="hold">
                                          <p:stCondLst>
                                            <p:cond delay="0"/>
                                          </p:stCondLst>
                                        </p:cTn>
                                        <p:tgtEl>
                                          <p:spTgt spid="11"/>
                                        </p:tgtEl>
                                        <p:attrNameLst>
                                          <p:attrName>style.visibility</p:attrName>
                                        </p:attrNameLst>
                                      </p:cBhvr>
                                      <p:to>
                                        <p:strVal val="visible"/>
                                      </p:to>
                                    </p:set>
                                  </p:childTnLst>
                                </p:cTn>
                              </p:par>
                              <p:par>
                                <p:cTn id="55" presetID="6" presetClass="emph" presetSubtype="0" accel="100000" autoRev="1" fill="hold" nodeType="withEffect">
                                  <p:stCondLst>
                                    <p:cond delay="650"/>
                                  </p:stCondLst>
                                  <p:childTnLst>
                                    <p:animScale>
                                      <p:cBhvr>
                                        <p:cTn id="56" dur="500" fill="hold"/>
                                        <p:tgtEl>
                                          <p:spTgt spid="11"/>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 grpId="1"/>
      <p:bldP spid="13" grpId="0" animBg="1"/>
      <p:bldP spid="13" grpId="1" animBg="1"/>
      <p:bldP spid="14" grpId="0" animBg="1"/>
      <p:bldP spid="14" grpId="1" animBg="1"/>
      <p:bldP spid="15" grpId="0" animBg="1"/>
      <p:bldP spid="15" grpId="1"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 y="1830837"/>
            <a:ext cx="12436475" cy="413156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w="0"/>
              <a:solidFill>
                <a:srgbClr val="000000"/>
              </a:solidFill>
              <a:effectLst>
                <a:outerShdw blurRad="38100" dist="19050" dir="2700000" algn="tl" rotWithShape="0">
                  <a:srgbClr val="000000">
                    <a:alpha val="40000"/>
                  </a:srgbClr>
                </a:outerShdw>
              </a:effectLst>
              <a:uLnTx/>
              <a:uFillTx/>
              <a:latin typeface="Segoe UI Light"/>
              <a:ea typeface="Segoe UI" pitchFamily="34" charset="0"/>
              <a:cs typeface="Segoe UI" pitchFamily="34" charset="0"/>
            </a:endParaRPr>
          </a:p>
        </p:txBody>
      </p:sp>
      <p:sp>
        <p:nvSpPr>
          <p:cNvPr id="3" name="TextBox 2"/>
          <p:cNvSpPr txBox="1"/>
          <p:nvPr/>
        </p:nvSpPr>
        <p:spPr>
          <a:xfrm>
            <a:off x="599545" y="3716297"/>
            <a:ext cx="3591456" cy="1264962"/>
          </a:xfrm>
          <a:prstGeom prst="rect">
            <a:avLst/>
          </a:prstGeom>
          <a:noFill/>
        </p:spPr>
        <p:txBody>
          <a:bodyPr wrap="square" lIns="182880" tIns="146304" rIns="182880" bIns="146304" rtlCol="0">
            <a:spAutoFit/>
          </a:bodyPr>
          <a:lstStyle/>
          <a:p>
            <a:pPr>
              <a:lnSpc>
                <a:spcPct val="90000"/>
              </a:lnSpc>
              <a:spcAft>
                <a:spcPts val="600"/>
              </a:spcAft>
            </a:pPr>
            <a:r>
              <a:rPr lang="en-US" sz="1400" dirty="0">
                <a:solidFill>
                  <a:schemeClr val="bg2">
                    <a:lumMod val="10000"/>
                  </a:schemeClr>
                </a:solidFill>
              </a:rPr>
              <a:t>Most business users and analysts in organizations will have access to self-service tools to prepare data for analysis as part of the shift to deploying modern BI platforms. </a:t>
            </a:r>
          </a:p>
        </p:txBody>
      </p:sp>
      <p:sp>
        <p:nvSpPr>
          <p:cNvPr id="4" name="TextBox 3"/>
          <p:cNvSpPr txBox="1"/>
          <p:nvPr/>
        </p:nvSpPr>
        <p:spPr>
          <a:xfrm>
            <a:off x="4601590" y="3726898"/>
            <a:ext cx="4006735" cy="1264962"/>
          </a:xfrm>
          <a:prstGeom prst="rect">
            <a:avLst/>
          </a:prstGeom>
          <a:noFill/>
        </p:spPr>
        <p:txBody>
          <a:bodyPr wrap="square" lIns="182880" tIns="146304" rIns="182880" bIns="146304" rtlCol="0">
            <a:spAutoFit/>
          </a:bodyPr>
          <a:lstStyle/>
          <a:p>
            <a:pPr>
              <a:lnSpc>
                <a:spcPct val="90000"/>
              </a:lnSpc>
              <a:spcAft>
                <a:spcPts val="600"/>
              </a:spcAft>
            </a:pPr>
            <a:r>
              <a:rPr lang="en-US" sz="1400" dirty="0">
                <a:solidFill>
                  <a:schemeClr val="bg2">
                    <a:lumMod val="10000"/>
                  </a:schemeClr>
                </a:solidFill>
              </a:rPr>
              <a:t>Most stand-alone self-service data preparation offerings will either have expanded into end-to-end analytical platforms or been integrated as features </a:t>
            </a:r>
            <a:br>
              <a:rPr lang="en-US" sz="1400" dirty="0">
                <a:solidFill>
                  <a:schemeClr val="bg2">
                    <a:lumMod val="10000"/>
                  </a:schemeClr>
                </a:solidFill>
              </a:rPr>
            </a:br>
            <a:r>
              <a:rPr lang="en-US" sz="1400" dirty="0">
                <a:solidFill>
                  <a:schemeClr val="bg2">
                    <a:lumMod val="10000"/>
                  </a:schemeClr>
                </a:solidFill>
              </a:rPr>
              <a:t>of existing analytics platforms. </a:t>
            </a:r>
          </a:p>
        </p:txBody>
      </p:sp>
      <p:sp>
        <p:nvSpPr>
          <p:cNvPr id="5" name="TextBox 4"/>
          <p:cNvSpPr txBox="1"/>
          <p:nvPr/>
        </p:nvSpPr>
        <p:spPr>
          <a:xfrm>
            <a:off x="8580696" y="3716297"/>
            <a:ext cx="3278796" cy="1652760"/>
          </a:xfrm>
          <a:prstGeom prst="rect">
            <a:avLst/>
          </a:prstGeom>
          <a:noFill/>
        </p:spPr>
        <p:txBody>
          <a:bodyPr wrap="square" lIns="182880" tIns="146304" rIns="182880" bIns="146304" rtlCol="0">
            <a:spAutoFit/>
          </a:bodyPr>
          <a:lstStyle/>
          <a:p>
            <a:pPr>
              <a:lnSpc>
                <a:spcPct val="90000"/>
              </a:lnSpc>
              <a:spcAft>
                <a:spcPts val="600"/>
              </a:spcAft>
            </a:pPr>
            <a:r>
              <a:rPr lang="en-US" sz="1400" dirty="0">
                <a:solidFill>
                  <a:schemeClr val="bg2">
                    <a:lumMod val="10000"/>
                  </a:schemeClr>
                </a:solidFill>
              </a:rPr>
              <a:t>Smart, governed, Hadoop-based, search-based and visual-based data discovery will converge in a single form of next-generation data discovery that will include self-service data preparation and natural-language generation. </a:t>
            </a:r>
          </a:p>
        </p:txBody>
      </p:sp>
      <p:sp>
        <p:nvSpPr>
          <p:cNvPr id="6" name="TextBox 5"/>
          <p:cNvSpPr txBox="1"/>
          <p:nvPr/>
        </p:nvSpPr>
        <p:spPr>
          <a:xfrm>
            <a:off x="7814598" y="6574410"/>
            <a:ext cx="7131686"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t>Source: https://www.gartner.com/doc/reprints?id=1-2XYY9ZR&amp;ct=160204&amp;st=sb</a:t>
            </a:r>
            <a:endParaRPr lang="en-US" sz="900" dirty="0">
              <a:gradFill>
                <a:gsLst>
                  <a:gs pos="2917">
                    <a:schemeClr val="tx1"/>
                  </a:gs>
                  <a:gs pos="30000">
                    <a:schemeClr val="tx1"/>
                  </a:gs>
                </a:gsLst>
                <a:lin ang="5400000" scaled="0"/>
              </a:gradFill>
            </a:endParaRPr>
          </a:p>
        </p:txBody>
      </p:sp>
      <p:cxnSp>
        <p:nvCxnSpPr>
          <p:cNvPr id="14" name="Straight Connector 13"/>
          <p:cNvCxnSpPr/>
          <p:nvPr/>
        </p:nvCxnSpPr>
        <p:spPr>
          <a:xfrm>
            <a:off x="9276799" y="3629706"/>
            <a:ext cx="1770743" cy="0"/>
          </a:xfrm>
          <a:prstGeom prst="line">
            <a:avLst/>
          </a:prstGeom>
          <a:ln w="9525">
            <a:solidFill>
              <a:schemeClr val="tx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p:nvPicPr>
        <p:blipFill>
          <a:blip r:embed="rId2"/>
          <a:stretch>
            <a:fillRect/>
          </a:stretch>
        </p:blipFill>
        <p:spPr>
          <a:xfrm>
            <a:off x="9821520" y="2717554"/>
            <a:ext cx="666842" cy="595727"/>
          </a:xfrm>
          <a:prstGeom prst="rect">
            <a:avLst/>
          </a:prstGeom>
        </p:spPr>
      </p:pic>
      <p:sp>
        <p:nvSpPr>
          <p:cNvPr id="22" name="Title 39"/>
          <p:cNvSpPr txBox="1">
            <a:spLocks/>
          </p:cNvSpPr>
          <p:nvPr/>
        </p:nvSpPr>
        <p:spPr>
          <a:xfrm>
            <a:off x="275163" y="297352"/>
            <a:ext cx="9559057" cy="1028187"/>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5400" spc="0" dirty="0">
                <a:solidFill>
                  <a:schemeClr val="tx2">
                    <a:lumMod val="10000"/>
                  </a:schemeClr>
                </a:solidFill>
              </a:rPr>
              <a:t>By 2018…</a:t>
            </a:r>
          </a:p>
        </p:txBody>
      </p:sp>
      <p:cxnSp>
        <p:nvCxnSpPr>
          <p:cNvPr id="23" name="Straight Connector 22"/>
          <p:cNvCxnSpPr/>
          <p:nvPr/>
        </p:nvCxnSpPr>
        <p:spPr>
          <a:xfrm>
            <a:off x="5358297" y="3629706"/>
            <a:ext cx="1770743" cy="0"/>
          </a:xfrm>
          <a:prstGeom prst="line">
            <a:avLst/>
          </a:prstGeom>
          <a:ln w="9525">
            <a:solidFill>
              <a:schemeClr val="tx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1243141" y="3629706"/>
            <a:ext cx="1770743" cy="0"/>
          </a:xfrm>
          <a:prstGeom prst="line">
            <a:avLst/>
          </a:prstGeom>
          <a:ln w="9525">
            <a:solidFill>
              <a:schemeClr val="tx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7" name="Picture 26"/>
          <p:cNvPicPr>
            <a:picLocks noChangeAspect="1"/>
          </p:cNvPicPr>
          <p:nvPr/>
        </p:nvPicPr>
        <p:blipFill>
          <a:blip r:embed="rId3"/>
          <a:stretch>
            <a:fillRect/>
          </a:stretch>
        </p:blipFill>
        <p:spPr>
          <a:xfrm>
            <a:off x="5902214" y="2645217"/>
            <a:ext cx="705206" cy="750400"/>
          </a:xfrm>
          <a:prstGeom prst="rect">
            <a:avLst/>
          </a:prstGeom>
        </p:spPr>
      </p:pic>
      <p:pic>
        <p:nvPicPr>
          <p:cNvPr id="29" name="Picture 28"/>
          <p:cNvPicPr>
            <a:picLocks noChangeAspect="1"/>
          </p:cNvPicPr>
          <p:nvPr/>
        </p:nvPicPr>
        <p:blipFill>
          <a:blip r:embed="rId4"/>
          <a:stretch>
            <a:fillRect/>
          </a:stretch>
        </p:blipFill>
        <p:spPr>
          <a:xfrm>
            <a:off x="1883530" y="2648036"/>
            <a:ext cx="620215" cy="693962"/>
          </a:xfrm>
          <a:prstGeom prst="rect">
            <a:avLst/>
          </a:prstGeom>
        </p:spPr>
      </p:pic>
    </p:spTree>
    <p:extLst>
      <p:ext uri="{BB962C8B-B14F-4D97-AF65-F5344CB8AC3E}">
        <p14:creationId xmlns:p14="http://schemas.microsoft.com/office/powerpoint/2010/main" val="17532683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ectangle 68"/>
          <p:cNvSpPr/>
          <p:nvPr/>
        </p:nvSpPr>
        <p:spPr>
          <a:xfrm>
            <a:off x="266370" y="6411619"/>
            <a:ext cx="11887199" cy="415322"/>
          </a:xfrm>
          <a:prstGeom prst="rect">
            <a:avLst/>
          </a:prstGeom>
        </p:spPr>
        <p:txBody>
          <a:bodyPr wrap="square" lIns="182880" rIns="182880">
            <a:spAutoFit/>
          </a:bodyPr>
          <a:lstStyle/>
          <a:p>
            <a:pPr defTabSz="895513"/>
            <a:r>
              <a:rPr lang="en-US" sz="685" i="1" dirty="0">
                <a:solidFill>
                  <a:srgbClr val="FFFFFF">
                    <a:lumMod val="75000"/>
                  </a:srgbClr>
                </a:solidFill>
              </a:rPr>
              <a:t>The above graphics were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 </a:t>
            </a:r>
            <a:endParaRPr lang="en-US" sz="685" dirty="0">
              <a:solidFill>
                <a:srgbClr val="FFFFFF">
                  <a:lumMod val="75000"/>
                </a:srgbClr>
              </a:solidFill>
            </a:endParaRPr>
          </a:p>
        </p:txBody>
      </p:sp>
      <p:sp>
        <p:nvSpPr>
          <p:cNvPr id="105" name="Rectangle 104"/>
          <p:cNvSpPr/>
          <p:nvPr/>
        </p:nvSpPr>
        <p:spPr bwMode="auto">
          <a:xfrm>
            <a:off x="659882" y="5432947"/>
            <a:ext cx="11099019" cy="130882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9" tIns="143366" rIns="179209" bIns="143366" numCol="1" spcCol="0" rtlCol="0" fromWordArt="0" anchor="t" anchorCtr="0" forceAA="0" compatLnSpc="1">
            <a:prstTxWarp prst="textNoShape">
              <a:avLst/>
            </a:prstTxWarp>
            <a:noAutofit/>
          </a:bodyPr>
          <a:lstStyle/>
          <a:p>
            <a:pPr marL="335951" indent="-335951" algn="ctr" defTabSz="913575" fontAlgn="base">
              <a:lnSpc>
                <a:spcPct val="90000"/>
              </a:lnSpc>
              <a:spcBef>
                <a:spcPct val="0"/>
              </a:spcBef>
              <a:spcAft>
                <a:spcPct val="0"/>
              </a:spcAft>
              <a:buFont typeface="Wingdings 3" panose="05040102010807070707" pitchFamily="18" charset="2"/>
              <a:buChar char="Æ"/>
            </a:pPr>
            <a:endParaRPr lang="en-US" sz="1960" b="1" dirty="0" err="1">
              <a:solidFill>
                <a:srgbClr val="FFFFFF"/>
              </a:solidFill>
              <a:latin typeface="Segoe UI Light"/>
              <a:ea typeface="Segoe UI" pitchFamily="34" charset="0"/>
              <a:cs typeface="Segoe UI" pitchFamily="34" charset="0"/>
            </a:endParaRPr>
          </a:p>
        </p:txBody>
      </p:sp>
      <p:cxnSp>
        <p:nvCxnSpPr>
          <p:cNvPr id="110" name="Straight Arrow Connector 109"/>
          <p:cNvCxnSpPr/>
          <p:nvPr/>
        </p:nvCxnSpPr>
        <p:spPr>
          <a:xfrm>
            <a:off x="307730" y="6293215"/>
            <a:ext cx="11845839" cy="31836"/>
          </a:xfrm>
          <a:prstGeom prst="straightConnector1">
            <a:avLst/>
          </a:prstGeom>
          <a:ln w="127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9" name="TextBox 108"/>
          <p:cNvSpPr txBox="1"/>
          <p:nvPr/>
        </p:nvSpPr>
        <p:spPr>
          <a:xfrm>
            <a:off x="3832249" y="6011862"/>
            <a:ext cx="4771977" cy="484923"/>
          </a:xfrm>
          <a:prstGeom prst="rect">
            <a:avLst/>
          </a:prstGeom>
          <a:solidFill>
            <a:schemeClr val="bg1"/>
          </a:solidFill>
        </p:spPr>
        <p:txBody>
          <a:bodyPr wrap="square" lIns="179233" tIns="143387" rIns="179233" bIns="143387" rtlCol="0" anchor="ctr" anchorCtr="0">
            <a:noAutofit/>
          </a:bodyPr>
          <a:lstStyle/>
          <a:p>
            <a:pPr algn="ctr" defTabSz="913154" fontAlgn="base">
              <a:spcBef>
                <a:spcPct val="0"/>
              </a:spcBef>
              <a:spcAft>
                <a:spcPts val="587"/>
              </a:spcAft>
            </a:pPr>
            <a:r>
              <a:rPr lang="en-US" sz="2400" dirty="0">
                <a:solidFill>
                  <a:schemeClr val="tx2">
                    <a:lumMod val="10000"/>
                  </a:schemeClr>
                </a:solidFill>
                <a:latin typeface="Segoe UI Semibold" panose="020B0702040204020203" pitchFamily="34" charset="0"/>
                <a:ea typeface="Segoe UI Black" panose="020B0A02040204020203" pitchFamily="34" charset="0"/>
                <a:cs typeface="Segoe UI Semibold" panose="020B0702040204020203" pitchFamily="34" charset="0"/>
              </a:rPr>
              <a:t>The most complete BI solution</a:t>
            </a:r>
          </a:p>
        </p:txBody>
      </p:sp>
      <p:sp>
        <p:nvSpPr>
          <p:cNvPr id="19" name="TextBox 18"/>
          <p:cNvSpPr txBox="1"/>
          <p:nvPr/>
        </p:nvSpPr>
        <p:spPr>
          <a:xfrm>
            <a:off x="264879" y="1238250"/>
            <a:ext cx="3913632" cy="914400"/>
          </a:xfrm>
          <a:prstGeom prst="rect">
            <a:avLst/>
          </a:prstGeom>
          <a:solidFill>
            <a:srgbClr val="F2C811"/>
          </a:solidFill>
          <a:ln>
            <a:solidFill>
              <a:srgbClr val="F2C811"/>
            </a:solidFill>
          </a:ln>
        </p:spPr>
        <p:txBody>
          <a:bodyPr wrap="square" lIns="134405" tIns="134405" rIns="0" bIns="143346" rtlCol="0" anchor="ctr">
            <a:no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algn="ctr" defTabSz="913070" fontAlgn="base">
              <a:spcBef>
                <a:spcPct val="0"/>
              </a:spcBef>
              <a:spcAft>
                <a:spcPct val="0"/>
              </a:spcAft>
            </a:pPr>
            <a:r>
              <a:rPr lang="en-US" sz="2800" spc="0" dirty="0">
                <a:ln>
                  <a:solidFill>
                    <a:srgbClr val="FFFFFF">
                      <a:alpha val="0"/>
                    </a:srgbClr>
                  </a:solidFill>
                </a:ln>
                <a:solidFill>
                  <a:schemeClr val="tx2">
                    <a:lumMod val="10000"/>
                  </a:schemeClr>
                </a:solidFill>
                <a:ea typeface="Segoe UI" pitchFamily="34" charset="0"/>
                <a:cs typeface="Segoe UI" pitchFamily="34" charset="0"/>
              </a:rPr>
              <a:t>Trusted platform</a:t>
            </a:r>
          </a:p>
        </p:txBody>
      </p:sp>
      <p:sp>
        <p:nvSpPr>
          <p:cNvPr id="25" name="TextBox 24"/>
          <p:cNvSpPr txBox="1"/>
          <p:nvPr/>
        </p:nvSpPr>
        <p:spPr>
          <a:xfrm>
            <a:off x="4238347" y="1239816"/>
            <a:ext cx="3913632" cy="914400"/>
          </a:xfrm>
          <a:prstGeom prst="rect">
            <a:avLst/>
          </a:prstGeom>
          <a:solidFill>
            <a:srgbClr val="F2C811"/>
          </a:solidFill>
        </p:spPr>
        <p:txBody>
          <a:bodyPr wrap="square" lIns="134405" tIns="134405" rIns="179182" bIns="143346" rtlCol="0" anchor="ctr">
            <a:noAutofit/>
          </a:bodyPr>
          <a:lstStyle/>
          <a:p>
            <a:pPr algn="ctr" defTabSz="913612" fontAlgn="base">
              <a:lnSpc>
                <a:spcPct val="90000"/>
              </a:lnSpc>
              <a:spcBef>
                <a:spcPct val="0"/>
              </a:spcBef>
              <a:spcAft>
                <a:spcPct val="0"/>
              </a:spcAft>
            </a:pPr>
            <a:r>
              <a:rPr lang="en-US" sz="2800" dirty="0">
                <a:ln>
                  <a:solidFill>
                    <a:srgbClr val="FFFFFF">
                      <a:alpha val="0"/>
                    </a:srgbClr>
                  </a:solidFill>
                </a:ln>
                <a:solidFill>
                  <a:schemeClr val="tx2">
                    <a:lumMod val="10000"/>
                  </a:schemeClr>
                </a:solidFill>
                <a:latin typeface="Segoe UI Light"/>
                <a:cs typeface="Segoe UI" pitchFamily="34" charset="0"/>
              </a:rPr>
              <a:t>Powerful self-service</a:t>
            </a:r>
            <a:endParaRPr lang="en-US" sz="2800" dirty="0">
              <a:solidFill>
                <a:schemeClr val="tx2">
                  <a:lumMod val="10000"/>
                </a:schemeClr>
              </a:solidFill>
              <a:latin typeface="Segoe UI Light"/>
            </a:endParaRPr>
          </a:p>
        </p:txBody>
      </p:sp>
      <p:sp>
        <p:nvSpPr>
          <p:cNvPr id="39" name="TextBox 38"/>
          <p:cNvSpPr txBox="1"/>
          <p:nvPr/>
        </p:nvSpPr>
        <p:spPr>
          <a:xfrm>
            <a:off x="8212074" y="1239816"/>
            <a:ext cx="3949763" cy="914400"/>
          </a:xfrm>
          <a:prstGeom prst="rect">
            <a:avLst/>
          </a:prstGeom>
          <a:solidFill>
            <a:srgbClr val="F2C811"/>
          </a:solidFill>
        </p:spPr>
        <p:txBody>
          <a:bodyPr wrap="square" lIns="134405" tIns="134405" rIns="179182" bIns="143346" rtlCol="0" anchor="ctr">
            <a:noAutofit/>
          </a:bodyPr>
          <a:lstStyle/>
          <a:p>
            <a:pPr algn="ctr" defTabSz="913612" fontAlgn="base">
              <a:lnSpc>
                <a:spcPct val="90000"/>
              </a:lnSpc>
              <a:spcBef>
                <a:spcPct val="0"/>
              </a:spcBef>
              <a:spcAft>
                <a:spcPct val="0"/>
              </a:spcAft>
            </a:pPr>
            <a:r>
              <a:rPr lang="en-US" sz="2800" dirty="0">
                <a:ln>
                  <a:solidFill>
                    <a:srgbClr val="FFFFFF">
                      <a:alpha val="0"/>
                    </a:srgbClr>
                  </a:solidFill>
                </a:ln>
                <a:solidFill>
                  <a:schemeClr val="tx2">
                    <a:lumMod val="10000"/>
                  </a:schemeClr>
                </a:solidFill>
                <a:latin typeface="Segoe UI Light"/>
                <a:cs typeface="Segoe UI" pitchFamily="34" charset="0"/>
              </a:rPr>
              <a:t>Faster insights</a:t>
            </a:r>
          </a:p>
        </p:txBody>
      </p:sp>
      <p:sp>
        <p:nvSpPr>
          <p:cNvPr id="3" name="Title 2"/>
          <p:cNvSpPr>
            <a:spLocks noGrp="1"/>
          </p:cNvSpPr>
          <p:nvPr>
            <p:ph type="title"/>
          </p:nvPr>
        </p:nvSpPr>
        <p:spPr/>
        <p:txBody>
          <a:bodyPr/>
          <a:lstStyle/>
          <a:p>
            <a:r>
              <a:rPr lang="en-US" sz="5400" dirty="0">
                <a:solidFill>
                  <a:srgbClr val="505050"/>
                </a:solidFill>
              </a:rPr>
              <a:t>Microsoft business intelligence &amp; analytics</a:t>
            </a:r>
          </a:p>
        </p:txBody>
      </p:sp>
      <p:sp>
        <p:nvSpPr>
          <p:cNvPr id="11" name="TextBox 10"/>
          <p:cNvSpPr txBox="1"/>
          <p:nvPr/>
        </p:nvSpPr>
        <p:spPr>
          <a:xfrm>
            <a:off x="6020954" y="4135688"/>
            <a:ext cx="738475" cy="399002"/>
          </a:xfrm>
          <a:prstGeom prst="rect">
            <a:avLst/>
          </a:prstGeom>
          <a:noFill/>
        </p:spPr>
        <p:txBody>
          <a:bodyPr wrap="square" lIns="179209" tIns="143366" rIns="179209" bIns="143366" rtlCol="0">
            <a:noAutofit/>
          </a:bodyPr>
          <a:lstStyle/>
          <a:p>
            <a:pPr defTabSz="912979" fontAlgn="base">
              <a:lnSpc>
                <a:spcPct val="90000"/>
              </a:lnSpc>
              <a:spcBef>
                <a:spcPct val="0"/>
              </a:spcBef>
              <a:spcAft>
                <a:spcPts val="587"/>
              </a:spcAft>
            </a:pPr>
            <a:r>
              <a:rPr lang="en-US" sz="4702" dirty="0">
                <a:solidFill>
                  <a:srgbClr val="FFFFFF"/>
                </a:solidFill>
              </a:rPr>
              <a:t>$</a:t>
            </a:r>
          </a:p>
        </p:txBody>
      </p:sp>
      <p:grpSp>
        <p:nvGrpSpPr>
          <p:cNvPr id="29" name="Group 28"/>
          <p:cNvGrpSpPr/>
          <p:nvPr/>
        </p:nvGrpSpPr>
        <p:grpSpPr>
          <a:xfrm>
            <a:off x="220051" y="2109299"/>
            <a:ext cx="4023499" cy="3512629"/>
            <a:chOff x="220051" y="2109299"/>
            <a:chExt cx="4023499" cy="3512629"/>
          </a:xfrm>
        </p:grpSpPr>
        <p:sp>
          <p:nvSpPr>
            <p:cNvPr id="108" name="TextBox 107"/>
            <p:cNvSpPr txBox="1"/>
            <p:nvPr/>
          </p:nvSpPr>
          <p:spPr>
            <a:xfrm>
              <a:off x="277738" y="2213390"/>
              <a:ext cx="3913632" cy="3408538"/>
            </a:xfrm>
            <a:prstGeom prst="rect">
              <a:avLst/>
            </a:prstGeom>
            <a:solidFill>
              <a:schemeClr val="bg1">
                <a:lumMod val="95000"/>
              </a:schemeClr>
            </a:solidFill>
          </p:spPr>
          <p:txBody>
            <a:bodyPr wrap="square" lIns="182880" tIns="146304" rIns="274320" bIns="146222" rtlCol="0">
              <a:noAutofit/>
            </a:bodyPr>
            <a:lstStyle/>
            <a:p>
              <a:pPr marL="89587" defTabSz="913070" fontAlgn="base">
                <a:spcBef>
                  <a:spcPts val="587"/>
                </a:spcBef>
                <a:spcAft>
                  <a:spcPct val="0"/>
                </a:spcAft>
              </a:pPr>
              <a:endParaRPr lang="en-US" sz="1960" dirty="0">
                <a:ln>
                  <a:solidFill>
                    <a:srgbClr val="FFFFFF">
                      <a:alpha val="0"/>
                    </a:srgbClr>
                  </a:solidFill>
                </a:ln>
                <a:solidFill>
                  <a:srgbClr val="5E5E5E"/>
                </a:solidFill>
                <a:ea typeface="Segoe UI Black" panose="020B0A02040204020203" pitchFamily="34" charset="0"/>
                <a:cs typeface="Segoe UI Black" panose="020B0A02040204020203" pitchFamily="34" charset="0"/>
              </a:endParaRPr>
            </a:p>
          </p:txBody>
        </p:sp>
        <p:sp>
          <p:nvSpPr>
            <p:cNvPr id="21" name="Rectangle 20"/>
            <p:cNvSpPr/>
            <p:nvPr/>
          </p:nvSpPr>
          <p:spPr bwMode="auto">
            <a:xfrm>
              <a:off x="381856" y="2632604"/>
              <a:ext cx="3662586" cy="29008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TextBox 54"/>
            <p:cNvSpPr txBox="1"/>
            <p:nvPr/>
          </p:nvSpPr>
          <p:spPr>
            <a:xfrm>
              <a:off x="220051" y="2109299"/>
              <a:ext cx="3913633" cy="514115"/>
            </a:xfrm>
            <a:prstGeom prst="rect">
              <a:avLst/>
            </a:prstGeom>
            <a:noFill/>
          </p:spPr>
          <p:txBody>
            <a:bodyPr wrap="square" lIns="91440" tIns="146304" rIns="182880" bIns="146222" rtlCol="0">
              <a:noAutofit/>
            </a:bodyPr>
            <a:lstStyle/>
            <a:p>
              <a:pPr marL="89587" defTabSz="913070" fontAlgn="base">
                <a:spcBef>
                  <a:spcPts val="587"/>
                </a:spcBef>
                <a:spcAft>
                  <a:spcPts val="587"/>
                </a:spcAft>
              </a:pPr>
              <a:r>
                <a:rPr lang="en-US" sz="2000" dirty="0">
                  <a:ln>
                    <a:solidFill>
                      <a:srgbClr val="FFFFFF">
                        <a:alpha val="0"/>
                      </a:srgbClr>
                    </a:solidFill>
                  </a:ln>
                  <a:solidFill>
                    <a:srgbClr val="5E5E5E"/>
                  </a:solidFill>
                  <a:ea typeface="Segoe UI Black" panose="020B0A02040204020203" pitchFamily="34" charset="0"/>
                  <a:cs typeface="Segoe UI Black" panose="020B0A02040204020203" pitchFamily="34" charset="0"/>
                </a:rPr>
                <a:t>Industry leader</a:t>
              </a:r>
              <a:endParaRPr lang="en-US" sz="2000" dirty="0">
                <a:ln>
                  <a:solidFill>
                    <a:srgbClr val="FFFFFF">
                      <a:alpha val="0"/>
                    </a:srgbClr>
                  </a:solidFill>
                </a:ln>
                <a:solidFill>
                  <a:srgbClr val="5E5E5E"/>
                </a:solidFill>
                <a:ea typeface="Segoe UI" pitchFamily="34" charset="0"/>
                <a:cs typeface="Segoe UI" panose="020B0502040204020203" pitchFamily="34" charset="0"/>
              </a:endParaRPr>
            </a:p>
          </p:txBody>
        </p:sp>
        <p:sp>
          <p:nvSpPr>
            <p:cNvPr id="60" name="TextBox 59"/>
            <p:cNvSpPr txBox="1"/>
            <p:nvPr/>
          </p:nvSpPr>
          <p:spPr>
            <a:xfrm>
              <a:off x="282404" y="5028729"/>
              <a:ext cx="3961146" cy="492583"/>
            </a:xfrm>
            <a:prstGeom prst="rect">
              <a:avLst/>
            </a:prstGeom>
            <a:noFill/>
          </p:spPr>
          <p:txBody>
            <a:bodyPr wrap="square" lIns="179233" tIns="143387" rIns="179233" bIns="143387" rtlCol="0">
              <a:noAutofit/>
            </a:bodyPr>
            <a:lstStyle/>
            <a:p>
              <a:pPr defTabSz="913963">
                <a:lnSpc>
                  <a:spcPct val="90000"/>
                </a:lnSpc>
                <a:spcAft>
                  <a:spcPts val="587"/>
                </a:spcAft>
              </a:pPr>
              <a:r>
                <a:rPr lang="en-US" sz="1000" dirty="0">
                  <a:solidFill>
                    <a:schemeClr val="bg1">
                      <a:lumMod val="75000"/>
                    </a:schemeClr>
                  </a:solidFill>
                </a:rPr>
                <a:t>Gartner Magic Quadrant for Business Intelligence &amp; Analytics Platforms, February 2016</a:t>
              </a:r>
            </a:p>
          </p:txBody>
        </p:sp>
        <p:pic>
          <p:nvPicPr>
            <p:cNvPr id="20" name="Picture 19"/>
            <p:cNvPicPr>
              <a:picLocks noChangeAspect="1"/>
            </p:cNvPicPr>
            <p:nvPr/>
          </p:nvPicPr>
          <p:blipFill>
            <a:blip r:embed="rId3"/>
            <a:stretch>
              <a:fillRect/>
            </a:stretch>
          </p:blipFill>
          <p:spPr>
            <a:xfrm>
              <a:off x="375868" y="2709982"/>
              <a:ext cx="3662586" cy="2320550"/>
            </a:xfrm>
            <a:prstGeom prst="rect">
              <a:avLst/>
            </a:prstGeom>
          </p:spPr>
        </p:pic>
      </p:grpSp>
      <p:grpSp>
        <p:nvGrpSpPr>
          <p:cNvPr id="28" name="Group 27"/>
          <p:cNvGrpSpPr/>
          <p:nvPr/>
        </p:nvGrpSpPr>
        <p:grpSpPr>
          <a:xfrm>
            <a:off x="4193778" y="2121513"/>
            <a:ext cx="3958202" cy="3494270"/>
            <a:chOff x="4193778" y="2121513"/>
            <a:chExt cx="3958202" cy="3494270"/>
          </a:xfrm>
        </p:grpSpPr>
        <p:sp>
          <p:nvSpPr>
            <p:cNvPr id="83" name="TextBox 82"/>
            <p:cNvSpPr txBox="1"/>
            <p:nvPr/>
          </p:nvSpPr>
          <p:spPr>
            <a:xfrm>
              <a:off x="4238348" y="2207245"/>
              <a:ext cx="3913632" cy="3408538"/>
            </a:xfrm>
            <a:prstGeom prst="rect">
              <a:avLst/>
            </a:prstGeom>
            <a:solidFill>
              <a:schemeClr val="bg1">
                <a:lumMod val="95000"/>
              </a:schemeClr>
            </a:solidFill>
          </p:spPr>
          <p:txBody>
            <a:bodyPr wrap="square" lIns="182880" tIns="146304" rIns="274320" bIns="146222" rtlCol="0">
              <a:noAutofit/>
            </a:bodyPr>
            <a:lstStyle/>
            <a:p>
              <a:pPr marL="89587" defTabSz="913070" fontAlgn="base">
                <a:spcBef>
                  <a:spcPts val="587"/>
                </a:spcBef>
                <a:spcAft>
                  <a:spcPct val="0"/>
                </a:spcAft>
              </a:pPr>
              <a:endParaRPr lang="en-US" sz="1960" dirty="0">
                <a:ln>
                  <a:solidFill>
                    <a:srgbClr val="FFFFFF">
                      <a:alpha val="0"/>
                    </a:srgbClr>
                  </a:solidFill>
                </a:ln>
                <a:solidFill>
                  <a:srgbClr val="5E5E5E"/>
                </a:solidFill>
                <a:ea typeface="Segoe UI Black" panose="020B0A02040204020203" pitchFamily="34" charset="0"/>
                <a:cs typeface="Segoe UI Black" panose="020B0A02040204020203" pitchFamily="34" charset="0"/>
              </a:endParaRPr>
            </a:p>
          </p:txBody>
        </p:sp>
        <p:grpSp>
          <p:nvGrpSpPr>
            <p:cNvPr id="65" name="Group 64"/>
            <p:cNvGrpSpPr>
              <a:grpSpLocks noChangeAspect="1"/>
            </p:cNvGrpSpPr>
            <p:nvPr/>
          </p:nvGrpSpPr>
          <p:grpSpPr>
            <a:xfrm>
              <a:off x="5011277" y="3148437"/>
              <a:ext cx="2396463" cy="2040489"/>
              <a:chOff x="5549969" y="2598569"/>
              <a:chExt cx="1558593" cy="1815489"/>
            </a:xfrm>
          </p:grpSpPr>
          <p:grpSp>
            <p:nvGrpSpPr>
              <p:cNvPr id="66" name="Group 65"/>
              <p:cNvGrpSpPr/>
              <p:nvPr/>
            </p:nvGrpSpPr>
            <p:grpSpPr>
              <a:xfrm>
                <a:off x="5549969" y="3672282"/>
                <a:ext cx="594554" cy="741776"/>
                <a:chOff x="5529649" y="3752292"/>
                <a:chExt cx="594554" cy="741776"/>
              </a:xfrm>
            </p:grpSpPr>
            <p:sp>
              <p:nvSpPr>
                <p:cNvPr id="79" name="TextBox 78"/>
                <p:cNvSpPr txBox="1"/>
                <p:nvPr/>
              </p:nvSpPr>
              <p:spPr>
                <a:xfrm>
                  <a:off x="5529649" y="4369418"/>
                  <a:ext cx="594554" cy="124650"/>
                </a:xfrm>
                <a:prstGeom prst="rect">
                  <a:avLst/>
                </a:prstGeom>
                <a:noFill/>
              </p:spPr>
              <p:txBody>
                <a:bodyPr wrap="square" lIns="0" tIns="0" rIns="0" bIns="0" rtlCol="0" anchor="ctr">
                  <a:spAutoFit/>
                </a:bodyPr>
                <a:lstStyle/>
                <a:p>
                  <a:pPr algn="ctr" defTabSz="931147">
                    <a:lnSpc>
                      <a:spcPct val="90000"/>
                    </a:lnSpc>
                    <a:spcAft>
                      <a:spcPts val="600"/>
                    </a:spcAft>
                  </a:pPr>
                  <a:r>
                    <a:rPr lang="en-US" sz="1000" dirty="0">
                      <a:solidFill>
                        <a:schemeClr val="tx2">
                          <a:lumMod val="10000"/>
                        </a:schemeClr>
                      </a:solidFill>
                      <a:cs typeface="Segoe UI" panose="020B0502040204020203" pitchFamily="34" charset="0"/>
                    </a:rPr>
                    <a:t>Microsoft</a:t>
                  </a:r>
                </a:p>
              </p:txBody>
            </p:sp>
            <p:grpSp>
              <p:nvGrpSpPr>
                <p:cNvPr id="80" name="Group 79"/>
                <p:cNvGrpSpPr/>
                <p:nvPr/>
              </p:nvGrpSpPr>
              <p:grpSpPr>
                <a:xfrm>
                  <a:off x="5621223" y="3752292"/>
                  <a:ext cx="354746" cy="558920"/>
                  <a:chOff x="5621223" y="3748224"/>
                  <a:chExt cx="354746" cy="558920"/>
                </a:xfrm>
              </p:grpSpPr>
              <p:sp>
                <p:nvSpPr>
                  <p:cNvPr id="81" name="Rectangle 80"/>
                  <p:cNvSpPr/>
                  <p:nvPr/>
                </p:nvSpPr>
                <p:spPr bwMode="auto">
                  <a:xfrm rot="10800000" flipV="1">
                    <a:off x="5667681" y="3939109"/>
                    <a:ext cx="308288" cy="368035"/>
                  </a:xfrm>
                  <a:prstGeom prst="rect">
                    <a:avLst/>
                  </a:prstGeom>
                  <a:solidFill>
                    <a:srgbClr val="0070C0"/>
                  </a:solidFill>
                  <a:ln w="1270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342636" indent="-342636" algn="ctr" defTabSz="931756">
                      <a:lnSpc>
                        <a:spcPct val="90000"/>
                      </a:lnSpc>
                      <a:buFont typeface="Wingdings 3" panose="05040102010807070707" pitchFamily="18" charset="2"/>
                      <a:buChar char="Æ"/>
                    </a:pPr>
                    <a:endParaRPr lang="en-US" sz="2000" b="1" dirty="0" err="1">
                      <a:solidFill>
                        <a:srgbClr val="FFFFFF"/>
                      </a:solidFill>
                      <a:ea typeface="Segoe UI" panose="020B0502040204020203" pitchFamily="34" charset="0"/>
                      <a:cs typeface="Segoe UI" panose="020B0502040204020203" pitchFamily="34" charset="0"/>
                    </a:endParaRPr>
                  </a:p>
                </p:txBody>
              </p:sp>
              <p:sp>
                <p:nvSpPr>
                  <p:cNvPr id="82" name="TextBox 81"/>
                  <p:cNvSpPr txBox="1"/>
                  <p:nvPr/>
                </p:nvSpPr>
                <p:spPr>
                  <a:xfrm>
                    <a:off x="5621223" y="3748224"/>
                    <a:ext cx="342706" cy="131442"/>
                  </a:xfrm>
                  <a:prstGeom prst="rect">
                    <a:avLst/>
                  </a:prstGeom>
                  <a:noFill/>
                </p:spPr>
                <p:txBody>
                  <a:bodyPr wrap="square" lIns="0" tIns="0" rIns="0" bIns="0" rtlCol="0">
                    <a:spAutoFit/>
                  </a:bodyPr>
                  <a:lstStyle/>
                  <a:p>
                    <a:pPr algn="ctr" defTabSz="931147">
                      <a:lnSpc>
                        <a:spcPct val="90000"/>
                      </a:lnSpc>
                      <a:spcAft>
                        <a:spcPts val="600"/>
                      </a:spcAft>
                    </a:pPr>
                    <a:r>
                      <a:rPr lang="en-US" sz="1046" dirty="0">
                        <a:gradFill>
                          <a:gsLst>
                            <a:gs pos="67257">
                              <a:srgbClr val="797A7D">
                                <a:lumMod val="50000"/>
                              </a:srgbClr>
                            </a:gs>
                            <a:gs pos="30000">
                              <a:srgbClr val="797A7D">
                                <a:lumMod val="50000"/>
                              </a:srgbClr>
                            </a:gs>
                          </a:gsLst>
                        </a:gradFill>
                        <a:cs typeface="Segoe UI" panose="020B0502040204020203" pitchFamily="34" charset="0"/>
                      </a:rPr>
                      <a:t>$120</a:t>
                    </a:r>
                  </a:p>
                </p:txBody>
              </p:sp>
            </p:grpSp>
          </p:grpSp>
          <p:grpSp>
            <p:nvGrpSpPr>
              <p:cNvPr id="67" name="Group 66"/>
              <p:cNvGrpSpPr/>
              <p:nvPr/>
            </p:nvGrpSpPr>
            <p:grpSpPr>
              <a:xfrm>
                <a:off x="6111463" y="3319869"/>
                <a:ext cx="524981" cy="1094189"/>
                <a:chOff x="6198712" y="3399879"/>
                <a:chExt cx="524981" cy="1094189"/>
              </a:xfrm>
            </p:grpSpPr>
            <p:sp>
              <p:nvSpPr>
                <p:cNvPr id="75" name="TextBox 74"/>
                <p:cNvSpPr txBox="1"/>
                <p:nvPr/>
              </p:nvSpPr>
              <p:spPr>
                <a:xfrm>
                  <a:off x="6198712" y="4369418"/>
                  <a:ext cx="524981" cy="124650"/>
                </a:xfrm>
                <a:prstGeom prst="rect">
                  <a:avLst/>
                </a:prstGeom>
                <a:noFill/>
              </p:spPr>
              <p:txBody>
                <a:bodyPr wrap="square" lIns="0" tIns="0" rIns="0" bIns="0" rtlCol="0" anchor="ctr">
                  <a:spAutoFit/>
                </a:bodyPr>
                <a:lstStyle/>
                <a:p>
                  <a:pPr algn="ctr" defTabSz="931147">
                    <a:lnSpc>
                      <a:spcPct val="90000"/>
                    </a:lnSpc>
                    <a:spcAft>
                      <a:spcPts val="600"/>
                    </a:spcAft>
                  </a:pPr>
                  <a:r>
                    <a:rPr lang="en-US" sz="1000" dirty="0" err="1">
                      <a:gradFill>
                        <a:gsLst>
                          <a:gs pos="67257">
                            <a:srgbClr val="797A7D">
                              <a:lumMod val="50000"/>
                            </a:srgbClr>
                          </a:gs>
                          <a:gs pos="30000">
                            <a:srgbClr val="797A7D">
                              <a:lumMod val="50000"/>
                            </a:srgbClr>
                          </a:gs>
                        </a:gsLst>
                      </a:gradFill>
                      <a:cs typeface="Segoe UI" panose="020B0502040204020203" pitchFamily="34" charset="0"/>
                    </a:rPr>
                    <a:t>Qlik</a:t>
                  </a:r>
                  <a:endParaRPr lang="en-US" sz="1000" dirty="0">
                    <a:gradFill>
                      <a:gsLst>
                        <a:gs pos="67257">
                          <a:srgbClr val="797A7D">
                            <a:lumMod val="50000"/>
                          </a:srgbClr>
                        </a:gs>
                        <a:gs pos="30000">
                          <a:srgbClr val="797A7D">
                            <a:lumMod val="50000"/>
                          </a:srgbClr>
                        </a:gs>
                      </a:gsLst>
                    </a:gradFill>
                    <a:cs typeface="Segoe UI" panose="020B0502040204020203" pitchFamily="34" charset="0"/>
                  </a:endParaRPr>
                </a:p>
              </p:txBody>
            </p:sp>
            <p:grpSp>
              <p:nvGrpSpPr>
                <p:cNvPr id="76" name="Group 75"/>
                <p:cNvGrpSpPr/>
                <p:nvPr/>
              </p:nvGrpSpPr>
              <p:grpSpPr>
                <a:xfrm>
                  <a:off x="6277717" y="3399879"/>
                  <a:ext cx="342708" cy="911334"/>
                  <a:chOff x="6277717" y="3407819"/>
                  <a:chExt cx="342708" cy="911334"/>
                </a:xfrm>
              </p:grpSpPr>
              <p:sp>
                <p:nvSpPr>
                  <p:cNvPr id="77" name="Rectangle 76"/>
                  <p:cNvSpPr/>
                  <p:nvPr/>
                </p:nvSpPr>
                <p:spPr bwMode="auto">
                  <a:xfrm rot="10800000" flipV="1">
                    <a:off x="6301959" y="3564909"/>
                    <a:ext cx="308288" cy="754244"/>
                  </a:xfrm>
                  <a:prstGeom prst="rect">
                    <a:avLst/>
                  </a:prstGeom>
                  <a:solidFill>
                    <a:srgbClr val="353535"/>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342636" indent="-342636" algn="ctr" defTabSz="931756">
                      <a:lnSpc>
                        <a:spcPct val="90000"/>
                      </a:lnSpc>
                      <a:buFont typeface="Wingdings 3" panose="05040102010807070707" pitchFamily="18" charset="2"/>
                      <a:buChar char="Æ"/>
                    </a:pPr>
                    <a:endParaRPr lang="en-US" sz="2000" b="1" dirty="0" err="1">
                      <a:solidFill>
                        <a:srgbClr val="F2C811"/>
                      </a:solidFill>
                      <a:ea typeface="Segoe UI" panose="020B0502040204020203" pitchFamily="34" charset="0"/>
                      <a:cs typeface="Segoe UI" panose="020B0502040204020203" pitchFamily="34" charset="0"/>
                    </a:endParaRPr>
                  </a:p>
                </p:txBody>
              </p:sp>
              <p:sp>
                <p:nvSpPr>
                  <p:cNvPr id="78" name="TextBox 77"/>
                  <p:cNvSpPr txBox="1"/>
                  <p:nvPr/>
                </p:nvSpPr>
                <p:spPr>
                  <a:xfrm>
                    <a:off x="6277717" y="3407819"/>
                    <a:ext cx="342708" cy="131442"/>
                  </a:xfrm>
                  <a:prstGeom prst="rect">
                    <a:avLst/>
                  </a:prstGeom>
                  <a:noFill/>
                </p:spPr>
                <p:txBody>
                  <a:bodyPr wrap="square" lIns="0" tIns="0" rIns="0" bIns="0" rtlCol="0">
                    <a:spAutoFit/>
                  </a:bodyPr>
                  <a:lstStyle/>
                  <a:p>
                    <a:pPr algn="ctr" defTabSz="931147">
                      <a:lnSpc>
                        <a:spcPct val="90000"/>
                      </a:lnSpc>
                      <a:spcAft>
                        <a:spcPts val="600"/>
                      </a:spcAft>
                    </a:pPr>
                    <a:r>
                      <a:rPr lang="en-US" sz="1046" dirty="0">
                        <a:gradFill>
                          <a:gsLst>
                            <a:gs pos="67257">
                              <a:srgbClr val="797A7D">
                                <a:lumMod val="50000"/>
                              </a:srgbClr>
                            </a:gs>
                            <a:gs pos="30000">
                              <a:srgbClr val="797A7D">
                                <a:lumMod val="50000"/>
                              </a:srgbClr>
                            </a:gs>
                          </a:gsLst>
                        </a:gradFill>
                        <a:cs typeface="Segoe UI" panose="020B0502040204020203" pitchFamily="34" charset="0"/>
                      </a:rPr>
                      <a:t>$240</a:t>
                    </a:r>
                  </a:p>
                </p:txBody>
              </p:sp>
            </p:grpSp>
          </p:grpSp>
          <p:grpSp>
            <p:nvGrpSpPr>
              <p:cNvPr id="68" name="Group 67"/>
              <p:cNvGrpSpPr/>
              <p:nvPr/>
            </p:nvGrpSpPr>
            <p:grpSpPr>
              <a:xfrm>
                <a:off x="6681267" y="2598569"/>
                <a:ext cx="427295" cy="1815489"/>
                <a:chOff x="6801041" y="2678579"/>
                <a:chExt cx="427295" cy="1815489"/>
              </a:xfrm>
            </p:grpSpPr>
            <p:sp>
              <p:nvSpPr>
                <p:cNvPr id="70" name="TextBox 69"/>
                <p:cNvSpPr txBox="1"/>
                <p:nvPr/>
              </p:nvSpPr>
              <p:spPr>
                <a:xfrm>
                  <a:off x="6806143" y="4369418"/>
                  <a:ext cx="422193" cy="124650"/>
                </a:xfrm>
                <a:prstGeom prst="rect">
                  <a:avLst/>
                </a:prstGeom>
                <a:noFill/>
              </p:spPr>
              <p:txBody>
                <a:bodyPr wrap="square" lIns="0" tIns="0" rIns="0" bIns="0" rtlCol="0" anchor="ctr">
                  <a:spAutoFit/>
                </a:bodyPr>
                <a:lstStyle/>
                <a:p>
                  <a:pPr algn="ctr" defTabSz="931147">
                    <a:lnSpc>
                      <a:spcPct val="90000"/>
                    </a:lnSpc>
                    <a:spcAft>
                      <a:spcPts val="600"/>
                    </a:spcAft>
                  </a:pPr>
                  <a:r>
                    <a:rPr lang="en-US" sz="1000" dirty="0">
                      <a:solidFill>
                        <a:srgbClr val="505050">
                          <a:lumMod val="75000"/>
                        </a:srgbClr>
                      </a:solidFill>
                      <a:cs typeface="Segoe UI" panose="020B0502040204020203" pitchFamily="34" charset="0"/>
                    </a:rPr>
                    <a:t>Tableau</a:t>
                  </a:r>
                </a:p>
              </p:txBody>
            </p:sp>
            <p:grpSp>
              <p:nvGrpSpPr>
                <p:cNvPr id="71" name="Group 70"/>
                <p:cNvGrpSpPr/>
                <p:nvPr/>
              </p:nvGrpSpPr>
              <p:grpSpPr>
                <a:xfrm>
                  <a:off x="6801041" y="2678579"/>
                  <a:ext cx="422193" cy="1632633"/>
                  <a:chOff x="6801041" y="2672852"/>
                  <a:chExt cx="422193" cy="1632633"/>
                </a:xfrm>
              </p:grpSpPr>
              <p:sp>
                <p:nvSpPr>
                  <p:cNvPr id="73" name="Rectangle 72"/>
                  <p:cNvSpPr/>
                  <p:nvPr/>
                </p:nvSpPr>
                <p:spPr bwMode="auto">
                  <a:xfrm rot="10800000" flipV="1">
                    <a:off x="6857994" y="2931906"/>
                    <a:ext cx="308286" cy="1373579"/>
                  </a:xfrm>
                  <a:prstGeom prst="rect">
                    <a:avLst/>
                  </a:prstGeom>
                  <a:solidFill>
                    <a:srgbClr val="35353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342636" indent="-342636" algn="ctr" defTabSz="931756">
                      <a:lnSpc>
                        <a:spcPct val="90000"/>
                      </a:lnSpc>
                      <a:buFont typeface="Wingdings 3" panose="05040102010807070707" pitchFamily="18" charset="2"/>
                      <a:buChar char="Æ"/>
                    </a:pPr>
                    <a:endParaRPr lang="en-US" sz="2000" b="1" dirty="0" err="1">
                      <a:solidFill>
                        <a:srgbClr val="F2C811"/>
                      </a:solidFill>
                      <a:ea typeface="Segoe UI" panose="020B0502040204020203" pitchFamily="34" charset="0"/>
                      <a:cs typeface="Segoe UI" panose="020B0502040204020203" pitchFamily="34" charset="0"/>
                    </a:endParaRPr>
                  </a:p>
                </p:txBody>
              </p:sp>
              <p:sp>
                <p:nvSpPr>
                  <p:cNvPr id="74" name="TextBox 73"/>
                  <p:cNvSpPr txBox="1"/>
                  <p:nvPr/>
                </p:nvSpPr>
                <p:spPr>
                  <a:xfrm>
                    <a:off x="6801041" y="2672852"/>
                    <a:ext cx="422193" cy="131442"/>
                  </a:xfrm>
                  <a:prstGeom prst="rect">
                    <a:avLst/>
                  </a:prstGeom>
                  <a:noFill/>
                </p:spPr>
                <p:txBody>
                  <a:bodyPr wrap="square" lIns="0" tIns="0" rIns="0" bIns="0" rtlCol="0">
                    <a:spAutoFit/>
                  </a:bodyPr>
                  <a:lstStyle/>
                  <a:p>
                    <a:pPr algn="ctr" defTabSz="931147">
                      <a:lnSpc>
                        <a:spcPct val="90000"/>
                      </a:lnSpc>
                      <a:spcAft>
                        <a:spcPts val="600"/>
                      </a:spcAft>
                    </a:pPr>
                    <a:r>
                      <a:rPr lang="en-US" sz="1046" dirty="0">
                        <a:gradFill>
                          <a:gsLst>
                            <a:gs pos="67257">
                              <a:srgbClr val="797A7D">
                                <a:lumMod val="50000"/>
                              </a:srgbClr>
                            </a:gs>
                            <a:gs pos="30000">
                              <a:srgbClr val="797A7D">
                                <a:lumMod val="50000"/>
                              </a:srgbClr>
                            </a:gs>
                          </a:gsLst>
                        </a:gradFill>
                        <a:cs typeface="Segoe UI" panose="020B0502040204020203" pitchFamily="34" charset="0"/>
                      </a:rPr>
                      <a:t>$500</a:t>
                    </a:r>
                  </a:p>
                </p:txBody>
              </p:sp>
            </p:grpSp>
          </p:grpSp>
        </p:grpSp>
        <p:sp>
          <p:nvSpPr>
            <p:cNvPr id="84" name="TextBox 83"/>
            <p:cNvSpPr txBox="1"/>
            <p:nvPr/>
          </p:nvSpPr>
          <p:spPr>
            <a:xfrm>
              <a:off x="4267039" y="5332353"/>
              <a:ext cx="3884939" cy="201120"/>
            </a:xfrm>
            <a:prstGeom prst="rect">
              <a:avLst/>
            </a:prstGeom>
            <a:noFill/>
          </p:spPr>
          <p:txBody>
            <a:bodyPr wrap="square" lIns="182776" tIns="0" rIns="182776" bIns="45713" rtlCol="0" anchor="ctr">
              <a:spAutoFit/>
            </a:bodyPr>
            <a:lstStyle/>
            <a:p>
              <a:pPr algn="ctr" defTabSz="913963">
                <a:lnSpc>
                  <a:spcPct val="90000"/>
                </a:lnSpc>
                <a:spcAft>
                  <a:spcPts val="587"/>
                </a:spcAft>
              </a:pPr>
              <a:r>
                <a:rPr lang="en-US" sz="1077" dirty="0">
                  <a:gradFill>
                    <a:gsLst>
                      <a:gs pos="67257">
                        <a:srgbClr val="797A7D">
                          <a:lumMod val="50000"/>
                        </a:srgbClr>
                      </a:gs>
                      <a:gs pos="30000">
                        <a:srgbClr val="797A7D">
                          <a:lumMod val="50000"/>
                        </a:srgbClr>
                      </a:gs>
                    </a:gsLst>
                  </a:gradFill>
                </a:rPr>
                <a:t>Per user / year</a:t>
              </a:r>
            </a:p>
          </p:txBody>
        </p:sp>
        <p:cxnSp>
          <p:nvCxnSpPr>
            <p:cNvPr id="8" name="Straight Connector 7"/>
            <p:cNvCxnSpPr/>
            <p:nvPr/>
          </p:nvCxnSpPr>
          <p:spPr>
            <a:xfrm>
              <a:off x="5117394" y="5222923"/>
              <a:ext cx="2184229" cy="0"/>
            </a:xfrm>
            <a:prstGeom prst="line">
              <a:avLst/>
            </a:prstGeom>
            <a:ln w="3175">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1" name="TextBox 120"/>
            <p:cNvSpPr txBox="1"/>
            <p:nvPr/>
          </p:nvSpPr>
          <p:spPr>
            <a:xfrm>
              <a:off x="4193778" y="2121513"/>
              <a:ext cx="3913633" cy="941192"/>
            </a:xfrm>
            <a:prstGeom prst="rect">
              <a:avLst/>
            </a:prstGeom>
            <a:noFill/>
          </p:spPr>
          <p:txBody>
            <a:bodyPr wrap="square" lIns="91440" tIns="146304" rIns="182880" bIns="146222" rtlCol="0">
              <a:noAutofit/>
            </a:bodyPr>
            <a:lstStyle/>
            <a:p>
              <a:pPr marL="89587" defTabSz="913070" fontAlgn="base">
                <a:spcBef>
                  <a:spcPts val="587"/>
                </a:spcBef>
                <a:spcAft>
                  <a:spcPts val="587"/>
                </a:spcAft>
              </a:pPr>
              <a:r>
                <a:rPr lang="en-US" sz="2000" dirty="0">
                  <a:ln>
                    <a:solidFill>
                      <a:srgbClr val="FFFFFF">
                        <a:alpha val="0"/>
                      </a:srgbClr>
                    </a:solidFill>
                  </a:ln>
                  <a:solidFill>
                    <a:srgbClr val="5E5E5E"/>
                  </a:solidFill>
                  <a:ea typeface="Segoe UI Black" panose="020B0A02040204020203" pitchFamily="34" charset="0"/>
                  <a:cs typeface="Segoe UI Black" panose="020B0A02040204020203" pitchFamily="34" charset="0"/>
                </a:rPr>
                <a:t>At a fraction of the cost</a:t>
              </a:r>
              <a:endParaRPr lang="en-US" sz="2000" dirty="0">
                <a:ln>
                  <a:solidFill>
                    <a:srgbClr val="FFFFFF">
                      <a:alpha val="0"/>
                    </a:srgbClr>
                  </a:solidFill>
                </a:ln>
                <a:solidFill>
                  <a:srgbClr val="5E5E5E"/>
                </a:solidFill>
                <a:ea typeface="Segoe UI" pitchFamily="34" charset="0"/>
                <a:cs typeface="Segoe UI" panose="020B0502040204020203" pitchFamily="34" charset="0"/>
              </a:endParaRPr>
            </a:p>
          </p:txBody>
        </p:sp>
      </p:grpSp>
      <p:grpSp>
        <p:nvGrpSpPr>
          <p:cNvPr id="30" name="Group 29"/>
          <p:cNvGrpSpPr/>
          <p:nvPr/>
        </p:nvGrpSpPr>
        <p:grpSpPr>
          <a:xfrm>
            <a:off x="8228741" y="2205567"/>
            <a:ext cx="6297509" cy="3408538"/>
            <a:chOff x="8228741" y="2181183"/>
            <a:chExt cx="6297509" cy="3408538"/>
          </a:xfrm>
        </p:grpSpPr>
        <p:sp>
          <p:nvSpPr>
            <p:cNvPr id="120" name="TextBox 119"/>
            <p:cNvSpPr txBox="1"/>
            <p:nvPr/>
          </p:nvSpPr>
          <p:spPr>
            <a:xfrm>
              <a:off x="8228741" y="2181183"/>
              <a:ext cx="3913632" cy="3408538"/>
            </a:xfrm>
            <a:prstGeom prst="rect">
              <a:avLst/>
            </a:prstGeom>
            <a:solidFill>
              <a:schemeClr val="bg1">
                <a:lumMod val="95000"/>
              </a:schemeClr>
            </a:solidFill>
          </p:spPr>
          <p:txBody>
            <a:bodyPr wrap="square" lIns="182880" tIns="146304" rIns="274320" bIns="146222" rtlCol="0">
              <a:noAutofit/>
            </a:bodyPr>
            <a:lstStyle/>
            <a:p>
              <a:pPr marL="89587" defTabSz="913070" fontAlgn="base">
                <a:spcBef>
                  <a:spcPts val="587"/>
                </a:spcBef>
                <a:spcAft>
                  <a:spcPct val="0"/>
                </a:spcAft>
              </a:pPr>
              <a:endParaRPr lang="en-US" dirty="0"/>
            </a:p>
          </p:txBody>
        </p:sp>
        <p:grpSp>
          <p:nvGrpSpPr>
            <p:cNvPr id="26" name="Group 25"/>
            <p:cNvGrpSpPr/>
            <p:nvPr/>
          </p:nvGrpSpPr>
          <p:grpSpPr>
            <a:xfrm>
              <a:off x="8268170" y="2240784"/>
              <a:ext cx="6258080" cy="2807875"/>
              <a:chOff x="8268170" y="2240784"/>
              <a:chExt cx="6258080" cy="2807875"/>
            </a:xfrm>
          </p:grpSpPr>
          <p:pic>
            <p:nvPicPr>
              <p:cNvPr id="103" name="Picture 102"/>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8268170" y="3403524"/>
                <a:ext cx="3786811" cy="1645135"/>
              </a:xfrm>
              <a:prstGeom prst="rect">
                <a:avLst/>
              </a:prstGeom>
            </p:spPr>
          </p:pic>
          <p:sp>
            <p:nvSpPr>
              <p:cNvPr id="24" name="Rectangle 23"/>
              <p:cNvSpPr/>
              <p:nvPr/>
            </p:nvSpPr>
            <p:spPr>
              <a:xfrm>
                <a:off x="8309600" y="2240784"/>
                <a:ext cx="6216650" cy="646331"/>
              </a:xfrm>
              <a:prstGeom prst="rect">
                <a:avLst/>
              </a:prstGeom>
            </p:spPr>
            <p:txBody>
              <a:bodyPr>
                <a:spAutoFit/>
              </a:bodyPr>
              <a:lstStyle/>
              <a:p>
                <a:pPr marL="89604" defTabSz="913245" fontAlgn="base">
                  <a:spcBef>
                    <a:spcPts val="587"/>
                  </a:spcBef>
                  <a:spcAft>
                    <a:spcPct val="0"/>
                  </a:spcAft>
                </a:pPr>
                <a:r>
                  <a:rPr lang="en-US" dirty="0"/>
                  <a:t>5 seconds to get started, </a:t>
                </a:r>
                <a:br>
                  <a:rPr lang="en-US" dirty="0"/>
                </a:br>
                <a:r>
                  <a:rPr lang="en-US" dirty="0"/>
                  <a:t>5 minutes to WOW!</a:t>
                </a:r>
              </a:p>
            </p:txBody>
          </p:sp>
        </p:grpSp>
      </p:grpSp>
    </p:spTree>
    <p:extLst>
      <p:ext uri="{BB962C8B-B14F-4D97-AF65-F5344CB8AC3E}">
        <p14:creationId xmlns:p14="http://schemas.microsoft.com/office/powerpoint/2010/main" val="14712268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29"/>
                                        </p:tgtEl>
                                        <p:attrNameLst>
                                          <p:attrName>style.visibility</p:attrName>
                                        </p:attrNameLst>
                                      </p:cBhvr>
                                      <p:to>
                                        <p:strVal val="visible"/>
                                      </p:to>
                                    </p:set>
                                    <p:anim calcmode="lin" valueType="num">
                                      <p:cBhvr additive="base">
                                        <p:cTn id="7" dur="500" fill="hold"/>
                                        <p:tgtEl>
                                          <p:spTgt spid="29"/>
                                        </p:tgtEl>
                                        <p:attrNameLst>
                                          <p:attrName>ppt_x</p:attrName>
                                        </p:attrNameLst>
                                      </p:cBhvr>
                                      <p:tavLst>
                                        <p:tav tm="0">
                                          <p:val>
                                            <p:strVal val="0-#ppt_w/2"/>
                                          </p:val>
                                        </p:tav>
                                        <p:tav tm="100000">
                                          <p:val>
                                            <p:strVal val="#ppt_x"/>
                                          </p:val>
                                        </p:tav>
                                      </p:tavLst>
                                    </p:anim>
                                    <p:anim calcmode="lin" valueType="num">
                                      <p:cBhvr additive="base">
                                        <p:cTn id="8" dur="500" fill="hold"/>
                                        <p:tgtEl>
                                          <p:spTgt spid="2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fill="hold" nodeType="afterEffect">
                                  <p:stCondLst>
                                    <p:cond delay="0"/>
                                  </p:stCondLst>
                                  <p:childTnLst>
                                    <p:set>
                                      <p:cBhvr>
                                        <p:cTn id="11" dur="1" fill="hold">
                                          <p:stCondLst>
                                            <p:cond delay="0"/>
                                          </p:stCondLst>
                                        </p:cTn>
                                        <p:tgtEl>
                                          <p:spTgt spid="28"/>
                                        </p:tgtEl>
                                        <p:attrNameLst>
                                          <p:attrName>style.visibility</p:attrName>
                                        </p:attrNameLst>
                                      </p:cBhvr>
                                      <p:to>
                                        <p:strVal val="visible"/>
                                      </p:to>
                                    </p:set>
                                    <p:anim calcmode="lin" valueType="num">
                                      <p:cBhvr additive="base">
                                        <p:cTn id="12" dur="500" fill="hold"/>
                                        <p:tgtEl>
                                          <p:spTgt spid="28"/>
                                        </p:tgtEl>
                                        <p:attrNameLst>
                                          <p:attrName>ppt_x</p:attrName>
                                        </p:attrNameLst>
                                      </p:cBhvr>
                                      <p:tavLst>
                                        <p:tav tm="0">
                                          <p:val>
                                            <p:strVal val="1+#ppt_w/2"/>
                                          </p:val>
                                        </p:tav>
                                        <p:tav tm="100000">
                                          <p:val>
                                            <p:strVal val="#ppt_x"/>
                                          </p:val>
                                        </p:tav>
                                      </p:tavLst>
                                    </p:anim>
                                    <p:anim calcmode="lin" valueType="num">
                                      <p:cBhvr additive="base">
                                        <p:cTn id="13" dur="500" fill="hold"/>
                                        <p:tgtEl>
                                          <p:spTgt spid="28"/>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fill="hold" nodeType="afterEffect">
                                  <p:stCondLst>
                                    <p:cond delay="0"/>
                                  </p:stCondLst>
                                  <p:childTnLst>
                                    <p:set>
                                      <p:cBhvr>
                                        <p:cTn id="16" dur="1" fill="hold">
                                          <p:stCondLst>
                                            <p:cond delay="0"/>
                                          </p:stCondLst>
                                        </p:cTn>
                                        <p:tgtEl>
                                          <p:spTgt spid="30"/>
                                        </p:tgtEl>
                                        <p:attrNameLst>
                                          <p:attrName>style.visibility</p:attrName>
                                        </p:attrNameLst>
                                      </p:cBhvr>
                                      <p:to>
                                        <p:strVal val="visible"/>
                                      </p:to>
                                    </p:set>
                                    <p:anim calcmode="lin" valueType="num">
                                      <p:cBhvr additive="base">
                                        <p:cTn id="17" dur="500" fill="hold"/>
                                        <p:tgtEl>
                                          <p:spTgt spid="30"/>
                                        </p:tgtEl>
                                        <p:attrNameLst>
                                          <p:attrName>ppt_x</p:attrName>
                                        </p:attrNameLst>
                                      </p:cBhvr>
                                      <p:tavLst>
                                        <p:tav tm="0">
                                          <p:val>
                                            <p:strVal val="1+#ppt_w/2"/>
                                          </p:val>
                                        </p:tav>
                                        <p:tav tm="100000">
                                          <p:val>
                                            <p:strVal val="#ppt_x"/>
                                          </p:val>
                                        </p:tav>
                                      </p:tavLst>
                                    </p:anim>
                                    <p:anim calcmode="lin" valueType="num">
                                      <p:cBhvr additive="base">
                                        <p:cTn id="18" dur="500" fill="hold"/>
                                        <p:tgtEl>
                                          <p:spTgt spid="30"/>
                                        </p:tgtEl>
                                        <p:attrNameLst>
                                          <p:attrName>ppt_y</p:attrName>
                                        </p:attrNameLst>
                                      </p:cBhvr>
                                      <p:tavLst>
                                        <p:tav tm="0">
                                          <p:val>
                                            <p:strVal val="#ppt_y"/>
                                          </p:val>
                                        </p:tav>
                                        <p:tav tm="100000">
                                          <p:val>
                                            <p:strVal val="#ppt_y"/>
                                          </p:val>
                                        </p:tav>
                                      </p:tavLst>
                                    </p:anim>
                                  </p:childTnLst>
                                </p:cTn>
                              </p:par>
                              <p:par>
                                <p:cTn id="19" presetID="10" presetClass="entr" presetSubtype="0" fill="hold" grpId="0" nodeType="withEffect">
                                  <p:stCondLst>
                                    <p:cond delay="1100"/>
                                  </p:stCondLst>
                                  <p:childTnLst>
                                    <p:set>
                                      <p:cBhvr>
                                        <p:cTn id="20" dur="1" fill="hold">
                                          <p:stCondLst>
                                            <p:cond delay="0"/>
                                          </p:stCondLst>
                                        </p:cTn>
                                        <p:tgtEl>
                                          <p:spTgt spid="39"/>
                                        </p:tgtEl>
                                        <p:attrNameLst>
                                          <p:attrName>style.visibility</p:attrName>
                                        </p:attrNameLst>
                                      </p:cBhvr>
                                      <p:to>
                                        <p:strVal val="visible"/>
                                      </p:to>
                                    </p:set>
                                    <p:animEffect transition="in" filter="fade">
                                      <p:cBhvr>
                                        <p:cTn id="21" dur="500"/>
                                        <p:tgtEl>
                                          <p:spTgt spid="39"/>
                                        </p:tgtEl>
                                      </p:cBhvr>
                                    </p:animEffect>
                                  </p:childTnLst>
                                </p:cTn>
                              </p:par>
                              <p:par>
                                <p:cTn id="22" presetID="42" presetClass="path" presetSubtype="0" decel="100000" fill="hold" grpId="1" nodeType="withEffect">
                                  <p:stCondLst>
                                    <p:cond delay="1100"/>
                                  </p:stCondLst>
                                  <p:childTnLst>
                                    <p:animMotion origin="layout" path="M -1.77687E-6 -3.69496E-6 L -1.77687E-6 0.04472 " pathEditMode="relative" rAng="0" ptsTypes="AA">
                                      <p:cBhvr>
                                        <p:cTn id="23" dur="500" spd="-100000" fill="hold"/>
                                        <p:tgtEl>
                                          <p:spTgt spid="39"/>
                                        </p:tgtEl>
                                        <p:attrNameLst>
                                          <p:attrName>ppt_x</p:attrName>
                                          <p:attrName>ppt_y</p:attrName>
                                        </p:attrNameLst>
                                      </p:cBhvr>
                                      <p:rCtr x="0" y="2224"/>
                                    </p:animMotion>
                                  </p:childTnLst>
                                </p:cTn>
                              </p:par>
                              <p:par>
                                <p:cTn id="24" presetID="10" presetClass="entr" presetSubtype="0" fill="hold" grpId="0" nodeType="withEffect">
                                  <p:stCondLst>
                                    <p:cond delay="1000"/>
                                  </p:stCondLst>
                                  <p:childTnLst>
                                    <p:set>
                                      <p:cBhvr>
                                        <p:cTn id="25" dur="1" fill="hold">
                                          <p:stCondLst>
                                            <p:cond delay="0"/>
                                          </p:stCondLst>
                                        </p:cTn>
                                        <p:tgtEl>
                                          <p:spTgt spid="25"/>
                                        </p:tgtEl>
                                        <p:attrNameLst>
                                          <p:attrName>style.visibility</p:attrName>
                                        </p:attrNameLst>
                                      </p:cBhvr>
                                      <p:to>
                                        <p:strVal val="visible"/>
                                      </p:to>
                                    </p:set>
                                    <p:animEffect transition="in" filter="fade">
                                      <p:cBhvr>
                                        <p:cTn id="26" dur="500"/>
                                        <p:tgtEl>
                                          <p:spTgt spid="25"/>
                                        </p:tgtEl>
                                      </p:cBhvr>
                                    </p:animEffect>
                                  </p:childTnLst>
                                </p:cTn>
                              </p:par>
                              <p:par>
                                <p:cTn id="27" presetID="42" presetClass="path" presetSubtype="0" decel="100000" fill="hold" grpId="1" nodeType="withEffect">
                                  <p:stCondLst>
                                    <p:cond delay="1000"/>
                                  </p:stCondLst>
                                  <p:childTnLst>
                                    <p:animMotion origin="layout" path="M 4.73066E-6 -3.69496E-6 L 4.73066E-6 0.04472 " pathEditMode="relative" rAng="0" ptsTypes="AA">
                                      <p:cBhvr>
                                        <p:cTn id="28" dur="500" spd="-100000" fill="hold"/>
                                        <p:tgtEl>
                                          <p:spTgt spid="25"/>
                                        </p:tgtEl>
                                        <p:attrNameLst>
                                          <p:attrName>ppt_x</p:attrName>
                                          <p:attrName>ppt_y</p:attrName>
                                        </p:attrNameLst>
                                      </p:cBhvr>
                                      <p:rCtr x="0" y="2224"/>
                                    </p:animMotion>
                                  </p:childTnLst>
                                </p:cTn>
                              </p:par>
                              <p:par>
                                <p:cTn id="29" presetID="10" presetClass="entr" presetSubtype="0" fill="hold" grpId="0" nodeType="withEffect">
                                  <p:stCondLst>
                                    <p:cond delay="90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500"/>
                                        <p:tgtEl>
                                          <p:spTgt spid="19"/>
                                        </p:tgtEl>
                                      </p:cBhvr>
                                    </p:animEffect>
                                  </p:childTnLst>
                                </p:cTn>
                              </p:par>
                              <p:par>
                                <p:cTn id="32" presetID="42" presetClass="path" presetSubtype="0" decel="100000" fill="hold" grpId="1" nodeType="withEffect">
                                  <p:stCondLst>
                                    <p:cond delay="900"/>
                                  </p:stCondLst>
                                  <p:childTnLst>
                                    <p:animMotion origin="layout" path="M -5.46336E-7 3.26827E-6 L -5.46336E-7 0.04471 " pathEditMode="relative" rAng="0" ptsTypes="AA">
                                      <p:cBhvr>
                                        <p:cTn id="33" dur="500" spd="-100000" fill="hold"/>
                                        <p:tgtEl>
                                          <p:spTgt spid="19"/>
                                        </p:tgtEl>
                                        <p:attrNameLst>
                                          <p:attrName>ppt_x</p:attrName>
                                          <p:attrName>ppt_y</p:attrName>
                                        </p:attrNameLst>
                                      </p:cBhvr>
                                      <p:rCtr x="0" y="2224"/>
                                    </p:animMotion>
                                  </p:childTnLst>
                                </p:cTn>
                              </p:par>
                            </p:childTnLst>
                          </p:cTn>
                        </p:par>
                        <p:par>
                          <p:cTn id="34" fill="hold">
                            <p:stCondLst>
                              <p:cond delay="2600"/>
                            </p:stCondLst>
                            <p:childTnLst>
                              <p:par>
                                <p:cTn id="35" presetID="10" presetClass="entr" presetSubtype="0" fill="hold" grpId="0" nodeType="afterEffect">
                                  <p:stCondLst>
                                    <p:cond delay="0"/>
                                  </p:stCondLst>
                                  <p:childTnLst>
                                    <p:set>
                                      <p:cBhvr>
                                        <p:cTn id="36" dur="1" fill="hold">
                                          <p:stCondLst>
                                            <p:cond delay="0"/>
                                          </p:stCondLst>
                                        </p:cTn>
                                        <p:tgtEl>
                                          <p:spTgt spid="109"/>
                                        </p:tgtEl>
                                        <p:attrNameLst>
                                          <p:attrName>style.visibility</p:attrName>
                                        </p:attrNameLst>
                                      </p:cBhvr>
                                      <p:to>
                                        <p:strVal val="visible"/>
                                      </p:to>
                                    </p:set>
                                    <p:animEffect transition="in" filter="fade">
                                      <p:cBhvr>
                                        <p:cTn id="37" dur="500"/>
                                        <p:tgtEl>
                                          <p:spTgt spid="109"/>
                                        </p:tgtEl>
                                      </p:cBhvr>
                                    </p:animEffect>
                                  </p:childTnLst>
                                </p:cTn>
                              </p:par>
                              <p:par>
                                <p:cTn id="38" presetID="16" presetClass="entr" presetSubtype="37" fill="hold" nodeType="withEffect">
                                  <p:stCondLst>
                                    <p:cond delay="500"/>
                                  </p:stCondLst>
                                  <p:childTnLst>
                                    <p:set>
                                      <p:cBhvr>
                                        <p:cTn id="39" dur="1" fill="hold">
                                          <p:stCondLst>
                                            <p:cond delay="0"/>
                                          </p:stCondLst>
                                        </p:cTn>
                                        <p:tgtEl>
                                          <p:spTgt spid="110"/>
                                        </p:tgtEl>
                                        <p:attrNameLst>
                                          <p:attrName>style.visibility</p:attrName>
                                        </p:attrNameLst>
                                      </p:cBhvr>
                                      <p:to>
                                        <p:strVal val="visible"/>
                                      </p:to>
                                    </p:set>
                                    <p:animEffect transition="in" filter="barn(outVertical)">
                                      <p:cBhvr>
                                        <p:cTn id="40" dur="750"/>
                                        <p:tgtEl>
                                          <p:spTgt spid="1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 grpId="0" animBg="1"/>
      <p:bldP spid="19" grpId="0" animBg="1"/>
      <p:bldP spid="19" grpId="1" animBg="1"/>
      <p:bldP spid="25" grpId="0" animBg="1"/>
      <p:bldP spid="25" grpId="1" animBg="1"/>
      <p:bldP spid="39" grpId="0" animBg="1"/>
      <p:bldP spid="39" grpId="1"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3649234" y="3357190"/>
            <a:ext cx="2123727" cy="849421"/>
          </a:xfrm>
          <a:prstGeom prst="rect">
            <a:avLst/>
          </a:prstGeom>
          <a:noFill/>
        </p:spPr>
        <p:txBody>
          <a:bodyPr wrap="square" lIns="0" tIns="146283" rIns="182854" bIns="146283" rtlCol="0">
            <a:spAutoFit/>
          </a:bodyPr>
          <a:lstStyle/>
          <a:p>
            <a:pPr>
              <a:lnSpc>
                <a:spcPct val="90000"/>
              </a:lnSpc>
              <a:spcAft>
                <a:spcPts val="600"/>
              </a:spcAft>
            </a:pPr>
            <a:r>
              <a:rPr lang="en-US" sz="2000" dirty="0">
                <a:solidFill>
                  <a:schemeClr val="tx1">
                    <a:lumMod val="50000"/>
                  </a:schemeClr>
                </a:solidFill>
                <a:latin typeface="+mj-lt"/>
              </a:rPr>
              <a:t>Enable new revenue streams</a:t>
            </a:r>
          </a:p>
        </p:txBody>
      </p:sp>
      <p:grpSp>
        <p:nvGrpSpPr>
          <p:cNvPr id="45" name="Group 44"/>
          <p:cNvGrpSpPr/>
          <p:nvPr/>
        </p:nvGrpSpPr>
        <p:grpSpPr>
          <a:xfrm>
            <a:off x="3615745" y="4227970"/>
            <a:ext cx="2190705" cy="1730546"/>
            <a:chOff x="2680698" y="4227970"/>
            <a:chExt cx="2190705" cy="1730546"/>
          </a:xfrm>
        </p:grpSpPr>
        <p:sp>
          <p:nvSpPr>
            <p:cNvPr id="20" name="Rectangle 19"/>
            <p:cNvSpPr/>
            <p:nvPr/>
          </p:nvSpPr>
          <p:spPr bwMode="auto">
            <a:xfrm>
              <a:off x="2683342" y="4358090"/>
              <a:ext cx="2053749" cy="16004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4" rIns="0" bIns="45714" numCol="1" spcCol="0" rtlCol="0" fromWordArt="0" anchor="t" anchorCtr="0" forceAA="0" compatLnSpc="1">
              <a:prstTxWarp prst="textNoShape">
                <a:avLst/>
              </a:prstTxWarp>
              <a:spAutoFit/>
            </a:bodyPr>
            <a:lstStyle/>
            <a:p>
              <a:pPr defTabSz="931978" fontAlgn="base">
                <a:spcBef>
                  <a:spcPts val="1199"/>
                </a:spcBef>
                <a:buClr>
                  <a:srgbClr val="C00000"/>
                </a:buClr>
              </a:pPr>
              <a:r>
                <a:rPr lang="en-IN" sz="1400" dirty="0">
                  <a:solidFill>
                    <a:srgbClr val="505050"/>
                  </a:solidFill>
                  <a:latin typeface="Segoe UI" panose="020B0502040204020203" pitchFamily="34" charset="0"/>
                  <a:ea typeface="Segoe UI" panose="020B0502040204020203" pitchFamily="34" charset="0"/>
                  <a:cs typeface="Segoe UI" panose="020B0502040204020203" pitchFamily="34" charset="0"/>
                </a:rPr>
                <a:t>Cross-sell with managed services: increase ARPU by selling licenses, provisioning, contracting, billing, and supporting to enable new revenue streams</a:t>
              </a:r>
            </a:p>
          </p:txBody>
        </p:sp>
        <p:cxnSp>
          <p:nvCxnSpPr>
            <p:cNvPr id="70" name="Straight Connector 69"/>
            <p:cNvCxnSpPr/>
            <p:nvPr/>
          </p:nvCxnSpPr>
          <p:spPr>
            <a:xfrm>
              <a:off x="2680698" y="4227970"/>
              <a:ext cx="2190705" cy="0"/>
            </a:xfrm>
            <a:prstGeom prst="line">
              <a:avLst/>
            </a:prstGeom>
            <a:ln w="12700">
              <a:solidFill>
                <a:srgbClr val="F2C81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0" name="TextBox 9"/>
          <p:cNvSpPr txBox="1"/>
          <p:nvPr/>
        </p:nvSpPr>
        <p:spPr>
          <a:xfrm>
            <a:off x="9678544" y="3388416"/>
            <a:ext cx="2123727" cy="849421"/>
          </a:xfrm>
          <a:prstGeom prst="rect">
            <a:avLst/>
          </a:prstGeom>
          <a:noFill/>
        </p:spPr>
        <p:txBody>
          <a:bodyPr wrap="square" lIns="0" tIns="146283" rIns="182854" bIns="146283" rtlCol="0">
            <a:spAutoFit/>
          </a:bodyPr>
          <a:lstStyle/>
          <a:p>
            <a:pPr>
              <a:lnSpc>
                <a:spcPct val="90000"/>
              </a:lnSpc>
              <a:spcAft>
                <a:spcPts val="600"/>
              </a:spcAft>
            </a:pPr>
            <a:r>
              <a:rPr lang="en-US" sz="2000" dirty="0">
                <a:solidFill>
                  <a:schemeClr val="tx1">
                    <a:lumMod val="50000"/>
                  </a:schemeClr>
                </a:solidFill>
                <a:latin typeface="+mj-lt"/>
              </a:rPr>
              <a:t>Expand </a:t>
            </a:r>
            <a:br>
              <a:rPr lang="en-US" sz="2000" dirty="0">
                <a:solidFill>
                  <a:schemeClr val="tx1">
                    <a:lumMod val="50000"/>
                  </a:schemeClr>
                </a:solidFill>
                <a:latin typeface="+mj-lt"/>
              </a:rPr>
            </a:br>
            <a:r>
              <a:rPr lang="en-US" sz="2000" dirty="0">
                <a:solidFill>
                  <a:schemeClr val="tx1">
                    <a:lumMod val="50000"/>
                  </a:schemeClr>
                </a:solidFill>
                <a:latin typeface="+mj-lt"/>
              </a:rPr>
              <a:t>your reach</a:t>
            </a:r>
          </a:p>
        </p:txBody>
      </p:sp>
      <p:grpSp>
        <p:nvGrpSpPr>
          <p:cNvPr id="24" name="Group 23"/>
          <p:cNvGrpSpPr/>
          <p:nvPr/>
        </p:nvGrpSpPr>
        <p:grpSpPr>
          <a:xfrm>
            <a:off x="9590903" y="4227970"/>
            <a:ext cx="2299008" cy="1515102"/>
            <a:chOff x="9965489" y="4227970"/>
            <a:chExt cx="2299008" cy="1515102"/>
          </a:xfrm>
        </p:grpSpPr>
        <p:sp>
          <p:nvSpPr>
            <p:cNvPr id="23" name="Rectangle 22"/>
            <p:cNvSpPr/>
            <p:nvPr/>
          </p:nvSpPr>
          <p:spPr bwMode="auto">
            <a:xfrm>
              <a:off x="9968132" y="4358090"/>
              <a:ext cx="2296365" cy="13849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4" rIns="0" bIns="45714" numCol="1" spcCol="0" rtlCol="0" fromWordArt="0" anchor="t" anchorCtr="0" forceAA="0" compatLnSpc="1">
              <a:prstTxWarp prst="textNoShape">
                <a:avLst/>
              </a:prstTxWarp>
              <a:spAutoFit/>
            </a:bodyPr>
            <a:lstStyle/>
            <a:p>
              <a:pPr defTabSz="931978" fontAlgn="base">
                <a:spcBef>
                  <a:spcPts val="1199"/>
                </a:spcBef>
                <a:buClr>
                  <a:srgbClr val="C00000"/>
                </a:buClr>
              </a:pPr>
              <a:r>
                <a:rPr lang="en-IN" sz="1400" dirty="0">
                  <a:solidFill>
                    <a:srgbClr val="505050"/>
                  </a:solidFill>
                  <a:latin typeface="Segoe UI" panose="020B0502040204020203" pitchFamily="34" charset="0"/>
                  <a:ea typeface="Segoe UI" panose="020B0502040204020203" pitchFamily="34" charset="0"/>
                  <a:cs typeface="Segoe UI" panose="020B0502040204020203" pitchFamily="34" charset="0"/>
                </a:rPr>
                <a:t>Expand existing reach by offering value added services, enabling and providing easy analytics </a:t>
              </a:r>
              <a:br>
                <a:rPr lang="en-IN" sz="1400" dirty="0">
                  <a:solidFill>
                    <a:srgbClr val="505050"/>
                  </a:solidFill>
                  <a:latin typeface="Segoe UI" panose="020B0502040204020203" pitchFamily="34" charset="0"/>
                  <a:ea typeface="Segoe UI" panose="020B0502040204020203" pitchFamily="34" charset="0"/>
                  <a:cs typeface="Segoe UI" panose="020B0502040204020203" pitchFamily="34" charset="0"/>
                </a:rPr>
              </a:br>
              <a:r>
                <a:rPr lang="en-IN" sz="1400" dirty="0">
                  <a:solidFill>
                    <a:srgbClr val="505050"/>
                  </a:solidFill>
                  <a:latin typeface="Segoe UI" panose="020B0502040204020203" pitchFamily="34" charset="0"/>
                  <a:ea typeface="Segoe UI" panose="020B0502040204020203" pitchFamily="34" charset="0"/>
                  <a:cs typeface="Segoe UI" panose="020B0502040204020203" pitchFamily="34" charset="0"/>
                </a:rPr>
                <a:t>and reporting for </a:t>
              </a:r>
              <a:br>
                <a:rPr lang="en-IN" sz="1400" dirty="0">
                  <a:solidFill>
                    <a:srgbClr val="505050"/>
                  </a:solidFill>
                  <a:latin typeface="Segoe UI" panose="020B0502040204020203" pitchFamily="34" charset="0"/>
                  <a:ea typeface="Segoe UI" panose="020B0502040204020203" pitchFamily="34" charset="0"/>
                  <a:cs typeface="Segoe UI" panose="020B0502040204020203" pitchFamily="34" charset="0"/>
                </a:rPr>
              </a:br>
              <a:r>
                <a:rPr lang="en-IN" sz="1400" dirty="0">
                  <a:solidFill>
                    <a:srgbClr val="505050"/>
                  </a:solidFill>
                  <a:latin typeface="Segoe UI" panose="020B0502040204020203" pitchFamily="34" charset="0"/>
                  <a:ea typeface="Segoe UI" panose="020B0502040204020203" pitchFamily="34" charset="0"/>
                  <a:cs typeface="Segoe UI" panose="020B0502040204020203" pitchFamily="34" charset="0"/>
                </a:rPr>
                <a:t>BI scenarios</a:t>
              </a:r>
            </a:p>
          </p:txBody>
        </p:sp>
        <p:cxnSp>
          <p:nvCxnSpPr>
            <p:cNvPr id="73" name="Straight Connector 72"/>
            <p:cNvCxnSpPr/>
            <p:nvPr/>
          </p:nvCxnSpPr>
          <p:spPr>
            <a:xfrm>
              <a:off x="9965489" y="4227970"/>
              <a:ext cx="2190705" cy="0"/>
            </a:xfrm>
            <a:prstGeom prst="line">
              <a:avLst/>
            </a:prstGeom>
            <a:ln w="12700">
              <a:solidFill>
                <a:srgbClr val="F2C81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9" name="TextBox 8"/>
          <p:cNvSpPr txBox="1"/>
          <p:nvPr/>
        </p:nvSpPr>
        <p:spPr>
          <a:xfrm>
            <a:off x="6559419" y="3351560"/>
            <a:ext cx="2123727" cy="849421"/>
          </a:xfrm>
          <a:prstGeom prst="rect">
            <a:avLst/>
          </a:prstGeom>
          <a:noFill/>
        </p:spPr>
        <p:txBody>
          <a:bodyPr wrap="square" lIns="0" tIns="146283" rIns="182854" bIns="146283" rtlCol="0">
            <a:spAutoFit/>
          </a:bodyPr>
          <a:lstStyle/>
          <a:p>
            <a:pPr>
              <a:lnSpc>
                <a:spcPct val="90000"/>
              </a:lnSpc>
              <a:spcAft>
                <a:spcPts val="600"/>
              </a:spcAft>
            </a:pPr>
            <a:r>
              <a:rPr lang="en-US" sz="2000" dirty="0">
                <a:solidFill>
                  <a:schemeClr val="tx1">
                    <a:lumMod val="50000"/>
                  </a:schemeClr>
                </a:solidFill>
                <a:latin typeface="+mj-lt"/>
              </a:rPr>
              <a:t>Differentiate </a:t>
            </a:r>
            <a:br>
              <a:rPr lang="en-US" sz="2000" dirty="0">
                <a:solidFill>
                  <a:schemeClr val="tx1">
                    <a:lumMod val="50000"/>
                  </a:schemeClr>
                </a:solidFill>
                <a:latin typeface="+mj-lt"/>
              </a:rPr>
            </a:br>
            <a:r>
              <a:rPr lang="en-US" sz="2000" dirty="0">
                <a:solidFill>
                  <a:srgbClr val="353535"/>
                </a:solidFill>
                <a:latin typeface="+mj-lt"/>
              </a:rPr>
              <a:t>data</a:t>
            </a:r>
            <a:r>
              <a:rPr lang="en-US" sz="2000" dirty="0">
                <a:solidFill>
                  <a:schemeClr val="tx1">
                    <a:lumMod val="50000"/>
                  </a:schemeClr>
                </a:solidFill>
                <a:latin typeface="+mj-lt"/>
              </a:rPr>
              <a:t> solutions</a:t>
            </a:r>
          </a:p>
        </p:txBody>
      </p:sp>
      <p:grpSp>
        <p:nvGrpSpPr>
          <p:cNvPr id="26" name="Group 25"/>
          <p:cNvGrpSpPr/>
          <p:nvPr/>
        </p:nvGrpSpPr>
        <p:grpSpPr>
          <a:xfrm>
            <a:off x="6556776" y="4227970"/>
            <a:ext cx="2600616" cy="1730546"/>
            <a:chOff x="7530876" y="4227970"/>
            <a:chExt cx="2600616" cy="1730546"/>
          </a:xfrm>
          <a:noFill/>
        </p:grpSpPr>
        <p:sp>
          <p:nvSpPr>
            <p:cNvPr id="22" name="Rectangle 21"/>
            <p:cNvSpPr/>
            <p:nvPr/>
          </p:nvSpPr>
          <p:spPr bwMode="auto">
            <a:xfrm>
              <a:off x="7533519" y="4358090"/>
              <a:ext cx="2597973" cy="160042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4" rIns="0" bIns="45714" numCol="1" spcCol="0" rtlCol="0" fromWordArt="0" anchor="t" anchorCtr="0" forceAA="0" compatLnSpc="1">
              <a:prstTxWarp prst="textNoShape">
                <a:avLst/>
              </a:prstTxWarp>
              <a:spAutoFit/>
            </a:bodyPr>
            <a:lstStyle/>
            <a:p>
              <a:pPr defTabSz="931978" fontAlgn="base">
                <a:spcBef>
                  <a:spcPts val="1199"/>
                </a:spcBef>
                <a:buClr>
                  <a:srgbClr val="C00000"/>
                </a:buClr>
              </a:pPr>
              <a:r>
                <a:rPr lang="en-IN" sz="1400" dirty="0">
                  <a:solidFill>
                    <a:srgbClr val="505050"/>
                  </a:solidFill>
                  <a:latin typeface="Segoe UI" panose="020B0502040204020203" pitchFamily="34" charset="0"/>
                  <a:ea typeface="Segoe UI" panose="020B0502040204020203" pitchFamily="34" charset="0"/>
                  <a:cs typeface="Segoe UI" panose="020B0502040204020203" pitchFamily="34" charset="0"/>
                </a:rPr>
                <a:t>Unlock your customer’s data insights by building rich, live dashboards, and exploring data via interactive visualizations, turning BI into business insights that allow your customers to connect to their data </a:t>
              </a:r>
            </a:p>
          </p:txBody>
        </p:sp>
        <p:cxnSp>
          <p:nvCxnSpPr>
            <p:cNvPr id="74" name="Straight Connector 73"/>
            <p:cNvCxnSpPr/>
            <p:nvPr/>
          </p:nvCxnSpPr>
          <p:spPr>
            <a:xfrm>
              <a:off x="7530876" y="4227970"/>
              <a:ext cx="2190705" cy="0"/>
            </a:xfrm>
            <a:prstGeom prst="line">
              <a:avLst/>
            </a:prstGeom>
            <a:grpFill/>
            <a:ln w="12700">
              <a:solidFill>
                <a:srgbClr val="F2C81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6" name="TextBox 5"/>
          <p:cNvSpPr txBox="1"/>
          <p:nvPr/>
        </p:nvSpPr>
        <p:spPr>
          <a:xfrm>
            <a:off x="722696" y="3357190"/>
            <a:ext cx="2328179" cy="849421"/>
          </a:xfrm>
          <a:prstGeom prst="rect">
            <a:avLst/>
          </a:prstGeom>
          <a:noFill/>
        </p:spPr>
        <p:txBody>
          <a:bodyPr wrap="square" lIns="0" tIns="146283" rIns="182854" bIns="146283" rtlCol="0">
            <a:spAutoFit/>
          </a:bodyPr>
          <a:lstStyle/>
          <a:p>
            <a:pPr>
              <a:lnSpc>
                <a:spcPct val="90000"/>
              </a:lnSpc>
              <a:spcAft>
                <a:spcPts val="600"/>
              </a:spcAft>
            </a:pPr>
            <a:r>
              <a:rPr lang="en-US" sz="2000" dirty="0">
                <a:solidFill>
                  <a:schemeClr val="tx1">
                    <a:lumMod val="50000"/>
                  </a:schemeClr>
                </a:solidFill>
                <a:latin typeface="+mj-lt"/>
              </a:rPr>
              <a:t>Add</a:t>
            </a:r>
            <a:r>
              <a:rPr lang="en-US" sz="2000" dirty="0">
                <a:solidFill>
                  <a:srgbClr val="F2C811"/>
                </a:solidFill>
                <a:latin typeface="+mj-lt"/>
              </a:rPr>
              <a:t> </a:t>
            </a:r>
            <a:r>
              <a:rPr lang="en-US" sz="2000" dirty="0">
                <a:solidFill>
                  <a:srgbClr val="353535"/>
                </a:solidFill>
                <a:latin typeface="+mj-lt"/>
              </a:rPr>
              <a:t>BI</a:t>
            </a:r>
            <a:r>
              <a:rPr lang="en-US" sz="2000" dirty="0">
                <a:solidFill>
                  <a:srgbClr val="F2C811"/>
                </a:solidFill>
                <a:latin typeface="+mj-lt"/>
              </a:rPr>
              <a:t> </a:t>
            </a:r>
            <a:br>
              <a:rPr lang="en-US" sz="2000" dirty="0">
                <a:solidFill>
                  <a:srgbClr val="F2C811"/>
                </a:solidFill>
                <a:latin typeface="+mj-lt"/>
              </a:rPr>
            </a:br>
            <a:r>
              <a:rPr lang="en-US" sz="2000" dirty="0">
                <a:solidFill>
                  <a:schemeClr val="tx1">
                    <a:lumMod val="50000"/>
                  </a:schemeClr>
                </a:solidFill>
                <a:latin typeface="+mj-lt"/>
              </a:rPr>
              <a:t>capabilities</a:t>
            </a:r>
          </a:p>
        </p:txBody>
      </p:sp>
      <p:grpSp>
        <p:nvGrpSpPr>
          <p:cNvPr id="77" name="Group 76"/>
          <p:cNvGrpSpPr/>
          <p:nvPr/>
        </p:nvGrpSpPr>
        <p:grpSpPr>
          <a:xfrm>
            <a:off x="765090" y="4227970"/>
            <a:ext cx="2475522" cy="1515102"/>
            <a:chOff x="7530876" y="4227970"/>
            <a:chExt cx="2475522" cy="1515102"/>
          </a:xfrm>
          <a:noFill/>
        </p:grpSpPr>
        <p:sp>
          <p:nvSpPr>
            <p:cNvPr id="83" name="Rectangle 82"/>
            <p:cNvSpPr/>
            <p:nvPr/>
          </p:nvSpPr>
          <p:spPr bwMode="auto">
            <a:xfrm>
              <a:off x="7533520" y="4358090"/>
              <a:ext cx="2472878" cy="138498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4" rIns="0" bIns="45714" numCol="1" spcCol="0" rtlCol="0" fromWordArt="0" anchor="t" anchorCtr="0" forceAA="0" compatLnSpc="1">
              <a:prstTxWarp prst="textNoShape">
                <a:avLst/>
              </a:prstTxWarp>
              <a:spAutoFit/>
            </a:bodyPr>
            <a:lstStyle/>
            <a:p>
              <a:pPr defTabSz="931978" fontAlgn="base">
                <a:spcBef>
                  <a:spcPts val="1199"/>
                </a:spcBef>
                <a:buClr>
                  <a:srgbClr val="C00000"/>
                </a:buClr>
              </a:pPr>
              <a:r>
                <a:rPr lang="en-US" sz="1400" dirty="0">
                  <a:solidFill>
                    <a:srgbClr val="505050"/>
                  </a:solidFill>
                  <a:latin typeface="Segoe UI" panose="020B0502040204020203" pitchFamily="34" charset="0"/>
                  <a:ea typeface="Segoe UI" pitchFamily="34" charset="0"/>
                  <a:cs typeface="Segoe UI" panose="020B0502040204020203" pitchFamily="34" charset="0"/>
                </a:rPr>
                <a:t>Enable and provide easy analytics and reporting for Business Intelligence scenarios and stay connected to your data all the time with mobile applications</a:t>
              </a:r>
              <a:endParaRPr lang="en-IN" sz="1400" dirty="0">
                <a:solidFill>
                  <a:srgbClr val="505050"/>
                </a:solidFill>
                <a:latin typeface="Segoe UI" panose="020B0502040204020203" pitchFamily="34" charset="0"/>
                <a:ea typeface="Segoe UI" pitchFamily="34" charset="0"/>
                <a:cs typeface="Segoe UI" panose="020B0502040204020203" pitchFamily="34" charset="0"/>
              </a:endParaRPr>
            </a:p>
          </p:txBody>
        </p:sp>
        <p:cxnSp>
          <p:nvCxnSpPr>
            <p:cNvPr id="84" name="Straight Connector 83"/>
            <p:cNvCxnSpPr/>
            <p:nvPr/>
          </p:nvCxnSpPr>
          <p:spPr>
            <a:xfrm>
              <a:off x="7530876" y="4227970"/>
              <a:ext cx="2190705" cy="0"/>
            </a:xfrm>
            <a:prstGeom prst="line">
              <a:avLst/>
            </a:prstGeom>
            <a:grpFill/>
            <a:ln w="12700">
              <a:solidFill>
                <a:srgbClr val="F2C81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79" name="Rectangle 78"/>
          <p:cNvSpPr/>
          <p:nvPr/>
        </p:nvSpPr>
        <p:spPr bwMode="auto">
          <a:xfrm>
            <a:off x="0" y="6440061"/>
            <a:ext cx="12436475" cy="554464"/>
          </a:xfrm>
          <a:prstGeom prst="rect">
            <a:avLst/>
          </a:prstGeom>
          <a:solidFill>
            <a:schemeClr val="bg2">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 name="Title 39"/>
          <p:cNvSpPr txBox="1">
            <a:spLocks/>
          </p:cNvSpPr>
          <p:nvPr/>
        </p:nvSpPr>
        <p:spPr>
          <a:xfrm>
            <a:off x="202593" y="297352"/>
            <a:ext cx="11527108" cy="1028187"/>
          </a:xfrm>
          <a:prstGeom prst="rect">
            <a:avLst/>
          </a:prstGeom>
        </p:spPr>
        <p:txBody>
          <a:bodyPr vert="horz" wrap="square" lIns="146304" tIns="91440" rIns="146304" bIns="91440" rtlCol="0" anchor="t">
            <a:noAutofit/>
          </a:bodyPr>
          <a:lstStyle>
            <a:lvl1pPr algn="l" defTabSz="932681"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r>
              <a:rPr lang="en-US" sz="4500" spc="0" dirty="0">
                <a:solidFill>
                  <a:schemeClr val="tx2">
                    <a:lumMod val="10000"/>
                  </a:schemeClr>
                </a:solidFill>
              </a:rPr>
              <a:t>Opportunities for Managed Services Providers</a:t>
            </a:r>
          </a:p>
        </p:txBody>
      </p:sp>
      <p:sp>
        <p:nvSpPr>
          <p:cNvPr id="28" name="Rectangle 27"/>
          <p:cNvSpPr/>
          <p:nvPr/>
        </p:nvSpPr>
        <p:spPr>
          <a:xfrm>
            <a:off x="275163" y="1176326"/>
            <a:ext cx="7762445" cy="523220"/>
          </a:xfrm>
          <a:prstGeom prst="rect">
            <a:avLst/>
          </a:prstGeom>
          <a:noFill/>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0846" fontAlgn="base">
              <a:spcBef>
                <a:spcPct val="0"/>
              </a:spcBef>
              <a:spcAft>
                <a:spcPct val="0"/>
              </a:spcAft>
            </a:pPr>
            <a:r>
              <a:rPr lang="en-US" sz="2800" dirty="0">
                <a:solidFill>
                  <a:schemeClr val="tx2">
                    <a:lumMod val="10000"/>
                  </a:schemeClr>
                </a:solidFill>
                <a:latin typeface="Segoe UI Light"/>
              </a:rPr>
              <a:t>Using Power BI</a:t>
            </a:r>
          </a:p>
        </p:txBody>
      </p:sp>
      <p:pic>
        <p:nvPicPr>
          <p:cNvPr id="4" name="Picture 3"/>
          <p:cNvPicPr>
            <a:picLocks noChangeAspect="1"/>
          </p:cNvPicPr>
          <p:nvPr/>
        </p:nvPicPr>
        <p:blipFill>
          <a:blip r:embed="rId3"/>
          <a:stretch>
            <a:fillRect/>
          </a:stretch>
        </p:blipFill>
        <p:spPr>
          <a:xfrm>
            <a:off x="4205471" y="2396535"/>
            <a:ext cx="1011252" cy="639544"/>
          </a:xfrm>
          <a:prstGeom prst="rect">
            <a:avLst/>
          </a:prstGeom>
        </p:spPr>
      </p:pic>
      <p:pic>
        <p:nvPicPr>
          <p:cNvPr id="14" name="Picture 13"/>
          <p:cNvPicPr>
            <a:picLocks noChangeAspect="1"/>
          </p:cNvPicPr>
          <p:nvPr/>
        </p:nvPicPr>
        <p:blipFill>
          <a:blip r:embed="rId4"/>
          <a:stretch>
            <a:fillRect/>
          </a:stretch>
        </p:blipFill>
        <p:spPr>
          <a:xfrm>
            <a:off x="10130497" y="2310251"/>
            <a:ext cx="1111515" cy="797284"/>
          </a:xfrm>
          <a:prstGeom prst="rect">
            <a:avLst/>
          </a:prstGeom>
        </p:spPr>
      </p:pic>
      <p:pic>
        <p:nvPicPr>
          <p:cNvPr id="16" name="Picture 15"/>
          <p:cNvPicPr>
            <a:picLocks noChangeAspect="1"/>
          </p:cNvPicPr>
          <p:nvPr/>
        </p:nvPicPr>
        <p:blipFill>
          <a:blip r:embed="rId5"/>
          <a:stretch>
            <a:fillRect/>
          </a:stretch>
        </p:blipFill>
        <p:spPr>
          <a:xfrm>
            <a:off x="7203582" y="2396534"/>
            <a:ext cx="995055" cy="632283"/>
          </a:xfrm>
          <a:prstGeom prst="rect">
            <a:avLst/>
          </a:prstGeom>
        </p:spPr>
      </p:pic>
      <p:pic>
        <p:nvPicPr>
          <p:cNvPr id="18" name="Picture 17"/>
          <p:cNvPicPr>
            <a:picLocks noChangeAspect="1"/>
          </p:cNvPicPr>
          <p:nvPr/>
        </p:nvPicPr>
        <p:blipFill>
          <a:blip r:embed="rId6"/>
          <a:stretch>
            <a:fillRect/>
          </a:stretch>
        </p:blipFill>
        <p:spPr>
          <a:xfrm>
            <a:off x="1403957" y="2396534"/>
            <a:ext cx="965656" cy="610708"/>
          </a:xfrm>
          <a:prstGeom prst="rect">
            <a:avLst/>
          </a:prstGeom>
        </p:spPr>
      </p:pic>
    </p:spTree>
    <p:extLst>
      <p:ext uri="{BB962C8B-B14F-4D97-AF65-F5344CB8AC3E}">
        <p14:creationId xmlns:p14="http://schemas.microsoft.com/office/powerpoint/2010/main" val="405834418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F2C81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638" y="2335509"/>
            <a:ext cx="11887200" cy="2323508"/>
          </a:xfrm>
        </p:spPr>
        <p:txBody>
          <a:bodyPr/>
          <a:lstStyle/>
          <a:p>
            <a:pPr>
              <a:lnSpc>
                <a:spcPct val="100000"/>
              </a:lnSpc>
            </a:pPr>
            <a:r>
              <a:rPr lang="en-US" sz="6000" dirty="0">
                <a:solidFill>
                  <a:schemeClr val="tx2">
                    <a:lumMod val="10000"/>
                  </a:schemeClr>
                </a:solidFill>
              </a:rPr>
              <a:t>Visualize your business</a:t>
            </a:r>
            <a:br>
              <a:rPr lang="en-US" dirty="0">
                <a:solidFill>
                  <a:srgbClr val="505050"/>
                </a:solidFill>
              </a:rPr>
            </a:br>
            <a:endParaRPr lang="en-US" sz="3200" dirty="0">
              <a:solidFill>
                <a:srgbClr val="505050"/>
              </a:solidFill>
              <a:latin typeface="+mn-lt"/>
            </a:endParaRPr>
          </a:p>
        </p:txBody>
      </p:sp>
      <p:sp>
        <p:nvSpPr>
          <p:cNvPr id="2" name="Rectangle 1"/>
          <p:cNvSpPr/>
          <p:nvPr/>
        </p:nvSpPr>
        <p:spPr>
          <a:xfrm>
            <a:off x="359307" y="3356517"/>
            <a:ext cx="9580559" cy="954107"/>
          </a:xfrm>
          <a:prstGeom prst="rect">
            <a:avLst/>
          </a:prstGeom>
        </p:spPr>
        <p:txBody>
          <a:bodyPr wrap="square">
            <a:spAutoFit/>
          </a:bodyPr>
          <a:lstStyle/>
          <a:p>
            <a:r>
              <a:rPr lang="en-US" sz="2800" dirty="0">
                <a:solidFill>
                  <a:schemeClr val="tx2">
                    <a:lumMod val="10000"/>
                  </a:schemeClr>
                </a:solidFill>
                <a:latin typeface="+mj-lt"/>
              </a:rPr>
              <a:t>With Power BI capabilities empowered by the </a:t>
            </a:r>
            <a:br>
              <a:rPr lang="en-US" sz="2800" dirty="0">
                <a:solidFill>
                  <a:schemeClr val="tx2">
                    <a:lumMod val="10000"/>
                  </a:schemeClr>
                </a:solidFill>
                <a:latin typeface="+mj-lt"/>
              </a:rPr>
            </a:br>
            <a:r>
              <a:rPr lang="en-US" sz="2800" dirty="0">
                <a:solidFill>
                  <a:schemeClr val="tx2">
                    <a:lumMod val="10000"/>
                  </a:schemeClr>
                </a:solidFill>
                <a:latin typeface="+mj-lt"/>
              </a:rPr>
              <a:t>Cloud Solution Provider (CSP) program</a:t>
            </a:r>
          </a:p>
        </p:txBody>
      </p:sp>
    </p:spTree>
    <p:extLst>
      <p:ext uri="{BB962C8B-B14F-4D97-AF65-F5344CB8AC3E}">
        <p14:creationId xmlns:p14="http://schemas.microsoft.com/office/powerpoint/2010/main" val="296065130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heme/theme1.xml><?xml version="1.0" encoding="utf-8"?>
<a:theme xmlns:a="http://schemas.openxmlformats.org/drawingml/2006/main" name="1_5-30551_TR19_BO_CT_Template">
  <a:themeElements>
    <a:clrScheme name="TR19 - BO">
      <a:dk1>
        <a:srgbClr val="505050"/>
      </a:dk1>
      <a:lt1>
        <a:srgbClr val="FFFFFF"/>
      </a:lt1>
      <a:dk2>
        <a:srgbClr val="0072C6"/>
      </a:dk2>
      <a:lt2>
        <a:srgbClr val="D2D2D2"/>
      </a:lt2>
      <a:accent1>
        <a:srgbClr val="DC3C00"/>
      </a:accent1>
      <a:accent2>
        <a:srgbClr val="0072C6"/>
      </a:accent2>
      <a:accent3>
        <a:srgbClr val="7FBA00"/>
      </a:accent3>
      <a:accent4>
        <a:srgbClr val="FCD116"/>
      </a:accent4>
      <a:accent5>
        <a:srgbClr val="68217A"/>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bwMode="auto">
        <a:solidFill>
          <a:schemeClr val="tx2"/>
        </a:solidFill>
        <a:ln w="9525">
          <a:noFill/>
          <a:miter lim="800000"/>
          <a:headEnd/>
          <a:tailEnd/>
        </a:ln>
      </a:spPr>
      <a:bodyPr lIns="0" tIns="0" rIns="0" bIns="0"/>
      <a:lstStyle>
        <a:defPPr marL="238007" indent="-149215">
          <a:spcBef>
            <a:spcPts val="1224"/>
          </a:spcBef>
          <a:spcAft>
            <a:spcPts val="612"/>
          </a:spcAft>
          <a:buClr>
            <a:srgbClr val="0095D3">
              <a:lumMod val="75000"/>
            </a:srgbClr>
          </a:buClr>
          <a:buSzPct val="115000"/>
          <a:buFont typeface="Wingdings" pitchFamily="2" charset="2"/>
          <a:buChar char="§"/>
          <a:defRPr sz="1632" kern="0" dirty="0" smtClean="0">
            <a:solidFill>
              <a:srgbClr val="002060"/>
            </a:solidFill>
            <a:latin typeface="Arial" pitchFamily="34" charset="0"/>
            <a:ea typeface="ＭＳ Ｐゴシック"/>
            <a:cs typeface="Arial" pitchFamily="34" charset="0"/>
          </a:defRPr>
        </a:defPPr>
      </a:lstStyle>
    </a:txDef>
  </a:objectDefaults>
  <a:extraClrSchemeLst/>
  <a:extLst>
    <a:ext uri="{05A4C25C-085E-4340-85A3-A5531E510DB2}">
      <thm15:themeFamily xmlns:thm15="http://schemas.microsoft.com/office/thememl/2012/main" name="dcim304_daga" id="{39E060DE-CB36-411B-AE16-8A209A19592A}" vid="{0D6E81C4-E76B-4314-A814-5F0189D9B1F7}"/>
    </a:ext>
  </a:extLst>
</a:theme>
</file>

<file path=ppt/theme/theme10.xml><?xml version="1.0" encoding="utf-8"?>
<a:theme xmlns:a="http://schemas.openxmlformats.org/drawingml/2006/main" name="2_3-30680_Worldwide Partner Conference 2015 ">
  <a:themeElements>
    <a:clrScheme name="Custom 2">
      <a:dk1>
        <a:srgbClr val="505050"/>
      </a:dk1>
      <a:lt1>
        <a:srgbClr val="FFFFFF"/>
      </a:lt1>
      <a:dk2>
        <a:srgbClr val="008272"/>
      </a:dk2>
      <a:lt2>
        <a:srgbClr val="D2D2D2"/>
      </a:lt2>
      <a:accent1>
        <a:srgbClr val="FF8C00"/>
      </a:accent1>
      <a:accent2>
        <a:srgbClr val="004B50"/>
      </a:accent2>
      <a:accent3>
        <a:srgbClr val="008272"/>
      </a:accent3>
      <a:accent4>
        <a:srgbClr val="505050"/>
      </a:accent4>
      <a:accent5>
        <a:srgbClr val="737373"/>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orldwide_Partner_Conference_Template.potx" id="{8FB49EC0-2A0D-4F34-8931-56B239D0E325}" vid="{5F253718-F1D7-4EF8-9084-8B94E6CEAB70}"/>
    </a:ext>
  </a:extLst>
</a:theme>
</file>

<file path=ppt/theme/theme11.xml><?xml version="1.0" encoding="utf-8"?>
<a:theme xmlns:a="http://schemas.openxmlformats.org/drawingml/2006/main" name="5_MSVID_White_16x9_2012-08-18">
  <a:themeElements>
    <a:clrScheme name="Custom 1">
      <a:dk1>
        <a:srgbClr val="00188F"/>
      </a:dk1>
      <a:lt1>
        <a:srgbClr val="FFFFFF"/>
      </a:lt1>
      <a:dk2>
        <a:srgbClr val="505050"/>
      </a:dk2>
      <a:lt2>
        <a:srgbClr val="D2D2D2"/>
      </a:lt2>
      <a:accent1>
        <a:srgbClr val="0072C6"/>
      </a:accent1>
      <a:accent2>
        <a:srgbClr val="00BCF2"/>
      </a:accent2>
      <a:accent3>
        <a:srgbClr val="00B294"/>
      </a:accent3>
      <a:accent4>
        <a:srgbClr val="00188F"/>
      </a:accent4>
      <a:accent5>
        <a:srgbClr val="008272"/>
      </a:accent5>
      <a:accent6>
        <a:srgbClr val="002050"/>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theme>
</file>

<file path=ppt/theme/theme12.xml><?xml version="1.0" encoding="utf-8"?>
<a:theme xmlns:a="http://schemas.openxmlformats.org/drawingml/2006/main" name="3_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Power BI Overview _BRK2568" id="{07B3E290-5A9F-466B-B48F-03423F871227}" vid="{2FDE698B-BE5B-4706-AA82-1865D512E0D0}"/>
    </a:ext>
  </a:extLst>
</a:theme>
</file>

<file path=ppt/theme/theme13.xml><?xml version="1.0" encoding="utf-8"?>
<a:theme xmlns:a="http://schemas.openxmlformats.org/drawingml/2006/main" name="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14.xml><?xml version="1.0" encoding="utf-8"?>
<a:theme xmlns:a="http://schemas.openxmlformats.org/drawingml/2006/main" name="SQL Server 14_DRAFT_04222013_ab">
  <a:themeElements>
    <a:clrScheme name="Custom 14">
      <a:dk1>
        <a:srgbClr val="505050"/>
      </a:dk1>
      <a:lt1>
        <a:srgbClr val="FFFFFF"/>
      </a:lt1>
      <a:dk2>
        <a:srgbClr val="505050"/>
      </a:dk2>
      <a:lt2>
        <a:srgbClr val="969696"/>
      </a:lt2>
      <a:accent1>
        <a:srgbClr val="00187B"/>
      </a:accent1>
      <a:accent2>
        <a:srgbClr val="7FBA00"/>
      </a:accent2>
      <a:accent3>
        <a:srgbClr val="FF8C00"/>
      </a:accent3>
      <a:accent4>
        <a:srgbClr val="00BCF2"/>
      </a:accent4>
      <a:accent5>
        <a:srgbClr val="E81123"/>
      </a:accent5>
      <a:accent6>
        <a:srgbClr val="FFB900"/>
      </a:accent6>
      <a:hlink>
        <a:srgbClr val="00187B"/>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lumMod val="75000"/>
          </a:schemeClr>
        </a:solidFill>
        <a:ln w="3175">
          <a:noFill/>
          <a:headEnd type="none" w="med" len="med"/>
          <a:tailEnd type="none" w="med" len="med"/>
        </a:ln>
      </a:spPr>
      <a:bodyPr vert="horz" wrap="square" lIns="91440" tIns="46637" rIns="0" bIns="46637" numCol="1" rtlCol="0" anchor="ctr" anchorCtr="0" compatLnSpc="1">
        <a:prstTxWarp prst="textNoShape">
          <a:avLst/>
        </a:prstTxWarp>
      </a:bodyPr>
      <a:lstStyle>
        <a:defPPr marL="342900" indent="-342900" defTabSz="932472" fontAlgn="base">
          <a:spcBef>
            <a:spcPct val="0"/>
          </a:spcBef>
          <a:spcAft>
            <a:spcPct val="0"/>
          </a:spcAft>
          <a:buFont typeface="Arial" pitchFamily="34" charset="0"/>
          <a:buChar char="•"/>
          <a:defRPr sz="2000" dirty="0" smtClean="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External_Template_16x9" id="{2FE55D51-FEBC-4A42-A4CB-0C1E7CD67338}" vid="{6B9A7899-6FE2-4C34-8CB1-94B9A5D7B2AB}"/>
    </a:ext>
  </a:extLst>
</a:theme>
</file>

<file path=ppt/theme/theme15.xml><?xml version="1.0" encoding="utf-8"?>
<a:theme xmlns:a="http://schemas.openxmlformats.org/drawingml/2006/main" name="3_2-30808_Data_Driven_Template_Light">
  <a:themeElements>
    <a:clrScheme name="Data Driven 030516">
      <a:dk1>
        <a:srgbClr val="505050"/>
      </a:dk1>
      <a:lt1>
        <a:srgbClr val="FFFFFF"/>
      </a:lt1>
      <a:dk2>
        <a:srgbClr val="002050"/>
      </a:dk2>
      <a:lt2>
        <a:srgbClr val="F8F8F8"/>
      </a:lt2>
      <a:accent1>
        <a:srgbClr val="0078D7"/>
      </a:accent1>
      <a:accent2>
        <a:srgbClr val="00188F"/>
      </a:accent2>
      <a:accent3>
        <a:srgbClr val="5C2D91"/>
      </a:accent3>
      <a:accent4>
        <a:srgbClr val="FFB900"/>
      </a:accent4>
      <a:accent5>
        <a:srgbClr val="505050"/>
      </a:accent5>
      <a:accent6>
        <a:srgbClr val="D2D2D2"/>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SQL_2016_Data_Driven_16x9_Template" id="{83D633D7-FE72-47F9-A595-1316B5BD767B}" vid="{CE2982C4-13A9-4D08-A1EE-035B59E1D482}"/>
    </a:ext>
  </a:extLst>
</a:theme>
</file>

<file path=ppt/theme/theme16.xml><?xml version="1.0" encoding="utf-8"?>
<a:theme xmlns:a="http://schemas.openxmlformats.org/drawingml/2006/main" name="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4F09737C-ADEF-4314-AB56-4A518DF7B933}" vid="{87A94877-8473-4FD7-A13A-DB9D3F7775DC}"/>
    </a:ext>
  </a:extLst>
</a:theme>
</file>

<file path=ppt/theme/theme17.xml><?xml version="1.0" encoding="utf-8"?>
<a:theme xmlns:a="http://schemas.openxmlformats.org/drawingml/2006/main" name="2_Transform the Datacenter">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9469EE65-A5BE-40EC-8EF5-1BBAFC029094}"/>
    </a:ext>
  </a:extLst>
</a:theme>
</file>

<file path=ppt/theme/theme18.xml><?xml version="1.0" encoding="utf-8"?>
<a:theme xmlns:a="http://schemas.openxmlformats.org/drawingml/2006/main" name="STB Product Families 2013">
  <a:themeElements>
    <a:clrScheme name="Custom 4">
      <a:dk1>
        <a:srgbClr val="000000"/>
      </a:dk1>
      <a:lt1>
        <a:srgbClr val="FFFFFF"/>
      </a:lt1>
      <a:dk2>
        <a:srgbClr val="505050"/>
      </a:dk2>
      <a:lt2>
        <a:srgbClr val="D2D2D2"/>
      </a:lt2>
      <a:accent1>
        <a:srgbClr val="DC3C00"/>
      </a:accent1>
      <a:accent2>
        <a:srgbClr val="FF8C00"/>
      </a:accent2>
      <a:accent3>
        <a:srgbClr val="0072C6"/>
      </a:accent3>
      <a:accent4>
        <a:srgbClr val="008272"/>
      </a:accent4>
      <a:accent5>
        <a:srgbClr val="68217A"/>
      </a:accent5>
      <a:accent6>
        <a:srgbClr val="00BCF2"/>
      </a:accent6>
      <a:hlink>
        <a:srgbClr val="D2D2D2"/>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2" id="{8DAB7D18-9A9C-442A-B50E-F6F6DCC92343}" vid="{626FD01B-D220-44C7-964F-5ACF063E0159}"/>
    </a:ext>
  </a:extLst>
</a:theme>
</file>

<file path=ppt/theme/theme19.xml><?xml version="1.0" encoding="utf-8"?>
<a:theme xmlns:a="http://schemas.openxmlformats.org/drawingml/2006/main" name="4_3-30680_Worldwide Partner Conference 2015 ">
  <a:themeElements>
    <a:clrScheme name="Custom 2">
      <a:dk1>
        <a:srgbClr val="505050"/>
      </a:dk1>
      <a:lt1>
        <a:srgbClr val="FFFFFF"/>
      </a:lt1>
      <a:dk2>
        <a:srgbClr val="008272"/>
      </a:dk2>
      <a:lt2>
        <a:srgbClr val="D2D2D2"/>
      </a:lt2>
      <a:accent1>
        <a:srgbClr val="FF8C00"/>
      </a:accent1>
      <a:accent2>
        <a:srgbClr val="004B50"/>
      </a:accent2>
      <a:accent3>
        <a:srgbClr val="008272"/>
      </a:accent3>
      <a:accent4>
        <a:srgbClr val="505050"/>
      </a:accent4>
      <a:accent5>
        <a:srgbClr val="737373"/>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orldwide_Partner_Conference_Template.potx" id="{8FB49EC0-2A0D-4F34-8931-56B239D0E325}" vid="{5F253718-F1D7-4EF8-9084-8B94E6CEAB70}"/>
    </a:ext>
  </a:extLst>
</a:theme>
</file>

<file path=ppt/theme/theme2.xml><?xml version="1.0" encoding="utf-8"?>
<a:theme xmlns:a="http://schemas.openxmlformats.org/drawingml/2006/main" name="1_MSVID_White_16x9_2012-08-18">
  <a:themeElements>
    <a:clrScheme name="Product Brand- white with magenta accents">
      <a:dk1>
        <a:srgbClr val="505050"/>
      </a:dk1>
      <a:lt1>
        <a:srgbClr val="FFFFFF"/>
      </a:lt1>
      <a:dk2>
        <a:srgbClr val="0072C6"/>
      </a:dk2>
      <a:lt2>
        <a:srgbClr val="D2D2D2"/>
      </a:lt2>
      <a:accent1>
        <a:srgbClr val="0072C6"/>
      </a:accent1>
      <a:accent2>
        <a:srgbClr val="68217A"/>
      </a:accent2>
      <a:accent3>
        <a:srgbClr val="008272"/>
      </a:accent3>
      <a:accent4>
        <a:srgbClr val="B4009E"/>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0.xml><?xml version="1.0" encoding="utf-8"?>
<a:theme xmlns:a="http://schemas.openxmlformats.org/drawingml/2006/main" name="3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21.xml><?xml version="1.0" encoding="utf-8"?>
<a:theme xmlns:a="http://schemas.openxmlformats.org/drawingml/2006/main" name="4_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Power BI Overview _BRK2568" id="{07B3E290-5A9F-466B-B48F-03423F871227}" vid="{2FDE698B-BE5B-4706-AA82-1865D512E0D0}"/>
    </a:ext>
  </a:extLst>
</a:theme>
</file>

<file path=ppt/theme/theme22.xml><?xml version="1.0" encoding="utf-8"?>
<a:theme xmlns:a="http://schemas.openxmlformats.org/drawingml/2006/main" name="1_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marL="342900" indent="-342900" defTabSz="932472" fontAlgn="base">
          <a:lnSpc>
            <a:spcPct val="90000"/>
          </a:lnSpc>
          <a:spcBef>
            <a:spcPct val="0"/>
          </a:spcBef>
          <a:spcAft>
            <a:spcPct val="0"/>
          </a:spcAft>
          <a:buFont typeface="Wingdings 3" panose="05040102010807070707" pitchFamily="18" charset="2"/>
          <a:buChar char="Æ"/>
          <a:defRPr sz="2000" b="1" dirty="0" err="1"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marL="342900" indent="-342900">
          <a:lnSpc>
            <a:spcPct val="90000"/>
          </a:lnSpc>
          <a:spcAft>
            <a:spcPts val="600"/>
          </a:spcAft>
          <a:buFont typeface="Wingdings 3" panose="05040102010807070707" pitchFamily="18" charset="2"/>
          <a:buChar char="Æ"/>
          <a:defRPr sz="2400" dirty="0" err="1" smtClean="0">
            <a:gradFill>
              <a:gsLst>
                <a:gs pos="2917">
                  <a:schemeClr val="tx1"/>
                </a:gs>
                <a:gs pos="30000">
                  <a:schemeClr val="tx1"/>
                </a:gs>
              </a:gsLst>
              <a:lin ang="5400000" scaled="0"/>
            </a:gradFill>
          </a:defRPr>
        </a:defPPr>
      </a:lstStyle>
    </a:txDef>
  </a:objectDefaults>
  <a:extraClrSchemeLst/>
</a:theme>
</file>

<file path=ppt/theme/theme2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Server and Cloud 2013">
  <a:themeElements>
    <a:clrScheme name="Custom 7">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3.potx" id="{E6C7328A-7432-4964-ABFD-DFF5D441CE7B}" vid="{837F8EB0-5AAA-4548-B4B7-BF228168AD07}"/>
    </a:ext>
  </a:extLst>
</a:theme>
</file>

<file path=ppt/theme/theme4.xml><?xml version="1.0" encoding="utf-8"?>
<a:theme xmlns:a="http://schemas.openxmlformats.org/drawingml/2006/main" name="Transform the Datacenter">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9469EE65-A5BE-40EC-8EF5-1BBAFC029094}"/>
    </a:ext>
  </a:extLst>
</a:theme>
</file>

<file path=ppt/theme/theme5.xml><?xml version="1.0" encoding="utf-8"?>
<a:theme xmlns:a="http://schemas.openxmlformats.org/drawingml/2006/main" name="2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6.xml><?xml version="1.0" encoding="utf-8"?>
<a:theme xmlns:a="http://schemas.openxmlformats.org/drawingml/2006/main" name="1_Transform the Datacenter">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9469EE65-A5BE-40EC-8EF5-1BBAFC029094}"/>
    </a:ext>
  </a:extLst>
</a:theme>
</file>

<file path=ppt/theme/theme7.xml><?xml version="1.0" encoding="utf-8"?>
<a:theme xmlns:a="http://schemas.openxmlformats.org/drawingml/2006/main" name="3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8.xml><?xml version="1.0" encoding="utf-8"?>
<a:theme xmlns:a="http://schemas.openxmlformats.org/drawingml/2006/main" name="6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D91B42AD9A20A49A979483C958982FA" ma:contentTypeVersion="11" ma:contentTypeDescription="Create a new document." ma:contentTypeScope="" ma:versionID="3845ac6cc033c115561b295ba7c8b8e7">
  <xsd:schema xmlns:xsd="http://www.w3.org/2001/XMLSchema" xmlns:xs="http://www.w3.org/2001/XMLSchema" xmlns:p="http://schemas.microsoft.com/office/2006/metadata/properties" xmlns:ns2="641614ef-a29a-40a6-9b4f-3d8bfb729c43" xmlns:ns3="29e3d480-733e-44d5-a6f7-9ba0f34f3326" targetNamespace="http://schemas.microsoft.com/office/2006/metadata/properties" ma:root="true" ma:fieldsID="c4e360371a409cc68a5259f84dd76649" ns2:_="" ns3:_="">
    <xsd:import namespace="641614ef-a29a-40a6-9b4f-3d8bfb729c43"/>
    <xsd:import namespace="29e3d480-733e-44d5-a6f7-9ba0f34f3326"/>
    <xsd:element name="properties">
      <xsd:complexType>
        <xsd:sequence>
          <xsd:element name="documentManagement">
            <xsd:complexType>
              <xsd:all>
                <xsd:element ref="ns2:SharedWithUsers" minOccurs="0"/>
                <xsd:element ref="ns2:SharedWithDetails" minOccurs="0"/>
                <xsd:element ref="ns3:Page"/>
                <xsd:element ref="ns3:Tab_x0020_Section"/>
                <xsd:element ref="ns3:Level_x0020_2"/>
                <xsd:element ref="ns3:Level_x0020_3"/>
                <xsd:element ref="ns3:_x0071_b98" minOccurs="0"/>
                <xsd:element ref="ns3:_x006c_x54"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41614ef-a29a-40a6-9b4f-3d8bfb729c43"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6" nillable="true" ma:displayName="Last Shared By User" ma:description="" ma:internalName="LastSharedByUser" ma:readOnly="true">
      <xsd:simpleType>
        <xsd:restriction base="dms:Note">
          <xsd:maxLength value="255"/>
        </xsd:restriction>
      </xsd:simpleType>
    </xsd:element>
    <xsd:element name="LastSharedByTime" ma:index="17"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9e3d480-733e-44d5-a6f7-9ba0f34f3326" elementFormDefault="qualified">
    <xsd:import namespace="http://schemas.microsoft.com/office/2006/documentManagement/types"/>
    <xsd:import namespace="http://schemas.microsoft.com/office/infopath/2007/PartnerControls"/>
    <xsd:element name="Page" ma:index="10" ma:displayName="Page" ma:default="Elevate" ma:description="Which page will this document appear on" ma:format="RadioButtons" ma:internalName="Page">
      <xsd:simpleType>
        <xsd:restriction base="dms:Choice">
          <xsd:enumeration value="Elevate"/>
          <xsd:enumeration value="Engage"/>
          <xsd:enumeration value="Enroll"/>
        </xsd:restriction>
      </xsd:simpleType>
    </xsd:element>
    <xsd:element name="Tab_x0020_Section" ma:index="11" ma:displayName="Section" ma:default="Product Knowledge" ma:description="Subcategory for top level sections of each page" ma:format="RadioButtons" ma:internalName="Tab_x0020_Section">
      <xsd:simpleType>
        <xsd:restriction base="dms:Choice">
          <xsd:enumeration value="Product Knowledge"/>
          <xsd:enumeration value="Business Foundation"/>
          <xsd:enumeration value="Technical Foundation"/>
          <xsd:enumeration value="Profitability Roadmaps"/>
          <xsd:enumeration value="Marketing Campaigns"/>
          <xsd:enumeration value="Sales Tools"/>
          <xsd:enumeration value="Learn More About CSP"/>
        </xsd:restriction>
      </xsd:simpleType>
    </xsd:element>
    <xsd:element name="Level_x0020_2" ma:index="12" ma:displayName="Level 1" ma:default="Azure" ma:description="Subcategories for tabs" ma:format="RadioButtons" ma:internalName="Level_x0020_2">
      <xsd:simpleType>
        <xsd:restriction base="dms:Choice">
          <xsd:enumeration value="Azure"/>
          <xsd:enumeration value="Enterprise Mobility Suite"/>
          <xsd:enumeration value="Dynamics CRM Online"/>
          <xsd:enumeration value="Intune"/>
          <xsd:enumeration value="Office 365"/>
          <xsd:enumeration value="How to Build a Cloud Business Model"/>
          <xsd:enumeration value="How to Differentiate Your Business"/>
          <xsd:enumeration value="How to Transform Your Business"/>
          <xsd:enumeration value="How to Build a Cloud Financial Model"/>
          <xsd:enumeration value="How to Drive Profits"/>
          <xsd:enumeration value="Code and APIs"/>
          <xsd:enumeration value="How to Implement"/>
          <xsd:enumeration value="Power BI"/>
          <xsd:enumeration value="Windows 10 Enterprise E3"/>
          <xsd:enumeration value="NONE"/>
        </xsd:restriction>
      </xsd:simpleType>
    </xsd:element>
    <xsd:element name="Level_x0020_3" ma:index="13" ma:displayName="Level 2" ma:default="How to Get Started" ma:description="Subcategory for topics under each tab section" ma:format="RadioButtons" ma:internalName="Level_x0020_3">
      <xsd:simpleType>
        <xsd:restriction base="dms:Choice">
          <xsd:enumeration value="How to Get Started"/>
          <xsd:enumeration value="How to Make Money"/>
          <xsd:enumeration value="How to Implement"/>
          <xsd:enumeration value="How to Sell"/>
          <xsd:enumeration value="Cloud Transformation Series"/>
          <xsd:enumeration value="Business Continuity and Disaster Recovery"/>
          <xsd:enumeration value="Dev Ops"/>
          <xsd:enumeration value="Infrastructure-as-a-Service"/>
          <xsd:enumeration value="Enterprise Mobility Management"/>
          <xsd:enumeration value="NONE"/>
        </xsd:restriction>
      </xsd:simpleType>
    </xsd:element>
    <xsd:element name="_x0071_b98" ma:index="14" nillable="true" ma:displayName="Filename" ma:internalName="_x0071_b98">
      <xsd:simpleType>
        <xsd:restriction base="dms:Text"/>
      </xsd:simpleType>
    </xsd:element>
    <xsd:element name="_x006c_x54" ma:index="15" nillable="true" ma:displayName="URL" ma:internalName="_x006c_x54">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x006c_x54 xmlns="29e3d480-733e-44d5-a6f7-9ba0f34f3326">https://corecsp.sharepoint.com/_layouts/15/guestaccess.aspx?guestaccesstoken=bM5ZPd9nX9oZVP%2fhUUwBHhcHccOl1jwPwBihqW08oUw%3d&amp;docid=00c258ce0550a49d6b6dde8bf208f3cbe&amp;rev=1</_x006c_x54>
    <Level_x0020_2 xmlns="29e3d480-733e-44d5-a6f7-9ba0f34f3326">Power BI</Level_x0020_2>
    <Level_x0020_3 xmlns="29e3d480-733e-44d5-a6f7-9ba0f34f3326">How to Get Started</Level_x0020_3>
    <_x0071_b98 xmlns="29e3d480-733e-44d5-a6f7-9ba0f34f3326">Embrace Hybrid Cloud with Power BI in CSP</_x0071_b98>
    <Page xmlns="29e3d480-733e-44d5-a6f7-9ba0f34f3326">Elevate</Page>
    <Tab_x0020_Section xmlns="29e3d480-733e-44d5-a6f7-9ba0f34f3326">Product Knowledge</Tab_x0020_Section>
  </documentManagement>
</p:properties>
</file>

<file path=customXml/itemProps1.xml><?xml version="1.0" encoding="utf-8"?>
<ds:datastoreItem xmlns:ds="http://schemas.openxmlformats.org/officeDocument/2006/customXml" ds:itemID="{CF4A35ED-37F8-4E06-9BE3-96FBD4D03593}"/>
</file>

<file path=customXml/itemProps2.xml><?xml version="1.0" encoding="utf-8"?>
<ds:datastoreItem xmlns:ds="http://schemas.openxmlformats.org/officeDocument/2006/customXml" ds:itemID="{F72CFB24-B905-4E61-BBA0-072FD7A5A911}">
  <ds:schemaRefs>
    <ds:schemaRef ds:uri="http://schemas.microsoft.com/sharepoint/v3/contenttype/forms"/>
  </ds:schemaRefs>
</ds:datastoreItem>
</file>

<file path=customXml/itemProps3.xml><?xml version="1.0" encoding="utf-8"?>
<ds:datastoreItem xmlns:ds="http://schemas.openxmlformats.org/officeDocument/2006/customXml" ds:itemID="{48700BEA-970A-473C-AD97-DCDCCF9CF843}">
  <ds:schemaRefs>
    <ds:schemaRef ds:uri="http://schemas.microsoft.com/office/infopath/2007/PartnerControls"/>
    <ds:schemaRef ds:uri="http://schemas.microsoft.com/office/2006/documentManagement/types"/>
    <ds:schemaRef ds:uri="http://purl.org/dc/elements/1.1/"/>
    <ds:schemaRef ds:uri="http://purl.org/dc/terms/"/>
    <ds:schemaRef ds:uri="http://schemas.openxmlformats.org/package/2006/metadata/core-properties"/>
    <ds:schemaRef ds:uri="http://purl.org/dc/dcmitype/"/>
    <ds:schemaRef ds:uri="cdb0bdc2-6baa-483a-84de-d1434f216ba7"/>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Cloud and Enterprise Products Template July 2013</Template>
  <TotalTime>0</TotalTime>
  <Words>12001</Words>
  <Application>Microsoft Office PowerPoint</Application>
  <PresentationFormat>Custom</PresentationFormat>
  <Paragraphs>978</Paragraphs>
  <Slides>46</Slides>
  <Notes>39</Notes>
  <HiddenSlides>0</HiddenSlides>
  <MMClips>0</MMClips>
  <ScaleCrop>false</ScaleCrop>
  <HeadingPairs>
    <vt:vector size="8" baseType="variant">
      <vt:variant>
        <vt:lpstr>Fonts Used</vt:lpstr>
      </vt:variant>
      <vt:variant>
        <vt:i4>19</vt:i4>
      </vt:variant>
      <vt:variant>
        <vt:lpstr>Theme</vt:lpstr>
      </vt:variant>
      <vt:variant>
        <vt:i4>22</vt:i4>
      </vt:variant>
      <vt:variant>
        <vt:lpstr>Embedded OLE Servers</vt:lpstr>
      </vt:variant>
      <vt:variant>
        <vt:i4>1</vt:i4>
      </vt:variant>
      <vt:variant>
        <vt:lpstr>Slide Titles</vt:lpstr>
      </vt:variant>
      <vt:variant>
        <vt:i4>46</vt:i4>
      </vt:variant>
    </vt:vector>
  </HeadingPairs>
  <TitlesOfParts>
    <vt:vector size="88" baseType="lpstr">
      <vt:lpstr>ＭＳ Ｐゴシック</vt:lpstr>
      <vt:lpstr>ＭＳ Ｐゴシック</vt:lpstr>
      <vt:lpstr>Arial</vt:lpstr>
      <vt:lpstr>Arial Black</vt:lpstr>
      <vt:lpstr>Calibri</vt:lpstr>
      <vt:lpstr>Calibri Light</vt:lpstr>
      <vt:lpstr>Consolas</vt:lpstr>
      <vt:lpstr>Courier New</vt:lpstr>
      <vt:lpstr>Ryo Display PlusN B</vt:lpstr>
      <vt:lpstr>Segoe Pro</vt:lpstr>
      <vt:lpstr>Segoe Semibold</vt:lpstr>
      <vt:lpstr>Segoe UI</vt:lpstr>
      <vt:lpstr>Segoe UI Black</vt:lpstr>
      <vt:lpstr>Segoe UI Light</vt:lpstr>
      <vt:lpstr>Segoe UI Semibold</vt:lpstr>
      <vt:lpstr>Segoe UI Semilight</vt:lpstr>
      <vt:lpstr>Times New Roman</vt:lpstr>
      <vt:lpstr>Wingdings</vt:lpstr>
      <vt:lpstr>Wingdings 3</vt:lpstr>
      <vt:lpstr>1_5-30551_TR19_BO_CT_Template</vt:lpstr>
      <vt:lpstr>1_MSVID_White_16x9_2012-08-18</vt:lpstr>
      <vt:lpstr>1_Server and Cloud 2013</vt:lpstr>
      <vt:lpstr>Transform the Datacenter</vt:lpstr>
      <vt:lpstr>2_Server and Cloud 2013</vt:lpstr>
      <vt:lpstr>1_Transform the Datacenter</vt:lpstr>
      <vt:lpstr>3_Server and Cloud 2013</vt:lpstr>
      <vt:lpstr>6_Server and Cloud 2013</vt:lpstr>
      <vt:lpstr>Office Theme</vt:lpstr>
      <vt:lpstr>2_3-30680_Worldwide Partner Conference 2015 </vt:lpstr>
      <vt:lpstr>5_MSVID_White_16x9_2012-08-18</vt:lpstr>
      <vt:lpstr>3_WHITE TEMPLATE</vt:lpstr>
      <vt:lpstr>STB Conversations 2013</vt:lpstr>
      <vt:lpstr>SQL Server 14_DRAFT_04222013_ab</vt:lpstr>
      <vt:lpstr>3_2-30808_Data_Driven_Template_Light</vt:lpstr>
      <vt:lpstr>WHITE TEMPLATE</vt:lpstr>
      <vt:lpstr>2_Transform the Datacenter</vt:lpstr>
      <vt:lpstr>STB Product Families 2013</vt:lpstr>
      <vt:lpstr>4_3-30680_Worldwide Partner Conference 2015 </vt:lpstr>
      <vt:lpstr>3_LIGHT COLOR TEMPLATE</vt:lpstr>
      <vt:lpstr>4_WHITE TEMPLATE</vt:lpstr>
      <vt:lpstr>1_STB Conversations 2013</vt:lpstr>
      <vt:lpstr>think-cell Slide</vt:lpstr>
      <vt:lpstr>PowerPoint Presentation</vt:lpstr>
      <vt:lpstr>PowerPoint Presentation</vt:lpstr>
      <vt:lpstr>Microsoft vision for new era</vt:lpstr>
      <vt:lpstr>PowerPoint Presentation</vt:lpstr>
      <vt:lpstr>PowerPoint Presentation</vt:lpstr>
      <vt:lpstr>PowerPoint Presentation</vt:lpstr>
      <vt:lpstr>Microsoft business intelligence &amp; analytics</vt:lpstr>
      <vt:lpstr>PowerPoint Presentation</vt:lpstr>
      <vt:lpstr>Visualize your business </vt:lpstr>
      <vt:lpstr>Leverage Power BI capabilities</vt:lpstr>
      <vt:lpstr>Get the most out of data</vt:lpstr>
      <vt:lpstr>Unlock new opportunities</vt:lpstr>
      <vt:lpstr>Increase profitability</vt:lpstr>
      <vt:lpstr>What is Power BI? </vt:lpstr>
      <vt:lpstr>PowerPoint Presentation</vt:lpstr>
      <vt:lpstr>PowerPoint Presentation</vt:lpstr>
      <vt:lpstr>PowerPoint Presentation</vt:lpstr>
      <vt:lpstr>PowerPoint Presentation</vt:lpstr>
      <vt:lpstr>The Value of CSP for Power BI</vt:lpstr>
      <vt:lpstr>Life cycle of a Power BI engagement without CSP</vt:lpstr>
      <vt:lpstr>Life cycle of a Power BI engagement with CSP</vt:lpstr>
      <vt:lpstr>PowerPoint Presentation</vt:lpstr>
      <vt:lpstr>Power BI in action</vt:lpstr>
      <vt:lpstr>PowerPoint Presentation</vt:lpstr>
      <vt:lpstr>PowerPoint Presentation</vt:lpstr>
      <vt:lpstr>PowerPoint Presentation</vt:lpstr>
      <vt:lpstr>PowerPoint Presentation</vt:lpstr>
      <vt:lpstr>Summary</vt:lpstr>
      <vt:lpstr>Next steps</vt:lpstr>
      <vt:lpstr>PowerPoint Presentation</vt:lpstr>
      <vt:lpstr>Appendix</vt:lpstr>
      <vt:lpstr>The opportunity is bigger than you may think </vt:lpstr>
      <vt:lpstr>PowerPoint Presentation</vt:lpstr>
      <vt:lpstr>Customer IT budget allocations in 2015*</vt:lpstr>
      <vt:lpstr>Customers demand the cloud</vt:lpstr>
      <vt:lpstr>Power BI : enables customers  to capture data dividend </vt:lpstr>
      <vt:lpstr>Cloud Solution Provider Program</vt:lpstr>
      <vt:lpstr>PowerPoint Presentation</vt:lpstr>
      <vt:lpstr>PowerPoint Presentation</vt:lpstr>
      <vt:lpstr>PowerPoint Presentation</vt:lpstr>
      <vt:lpstr>PowerPoint Presentation</vt:lpstr>
      <vt:lpstr>Customers can see all data in a single pane of glass Live dashboards and interactive reports</vt:lpstr>
      <vt:lpstr>Customers can stay  connected from any device</vt:lpstr>
      <vt:lpstr>Power BI: Experience your data Any data, any way, anywhere</vt:lpstr>
      <vt:lpstr>Connect live to hosted data Live query and scheduled data refresh</vt:lpstr>
      <vt:lpstr>Power BI integrated with Hosted Databases</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mbrace Hybrid Cloud with Power BI in CSP</dc:title>
  <dc:creator/>
  <cp:keywords/>
  <cp:lastModifiedBy/>
  <cp:revision>1</cp:revision>
  <dcterms:created xsi:type="dcterms:W3CDTF">2014-05-22T21:34:44Z</dcterms:created>
  <dcterms:modified xsi:type="dcterms:W3CDTF">2016-06-10T18:09: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DocVizMetadataToken">
    <vt:lpwstr>300x173x1</vt:lpwstr>
  </property>
  <property fmtid="{D5CDD505-2E9C-101B-9397-08002B2CF9AE}" pid="4" name="DocVizPreviewMetadata_Count">
    <vt:i4>21</vt:i4>
  </property>
  <property fmtid="{D5CDD505-2E9C-101B-9397-08002B2CF9AE}" pid="5" name="DocVizPreviewMetadata_0">
    <vt:lpwstr>300x173x1</vt:lpwstr>
  </property>
  <property fmtid="{D5CDD505-2E9C-101B-9397-08002B2CF9AE}" pid="6" name="ContentTypeId">
    <vt:lpwstr>0x0101009D91B42AD9A20A49A979483C958982FA</vt:lpwstr>
  </property>
  <property fmtid="{D5CDD505-2E9C-101B-9397-08002B2CF9AE}" pid="7" name="Tfs.IsStoryboard">
    <vt:bool>true</vt:bool>
  </property>
  <property fmtid="{D5CDD505-2E9C-101B-9397-08002B2CF9AE}" pid="8" name="Tfs.LastKnownPath">
    <vt:lpwstr>https://terawe.sharepoint.com/projects/Hosting/Shared%20Documents/Hybrid-SQL14/Deliverables/Hybrid%20Scenarios%20for%20Azure%20-%20%20Level%20100%20FINAL.pptx</vt:lpwstr>
  </property>
</Properties>
</file>